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9.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0.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94" r:id="rId5"/>
    <p:sldMasterId id="2147483712" r:id="rId6"/>
    <p:sldMasterId id="2147483736" r:id="rId7"/>
    <p:sldMasterId id="2147483742" r:id="rId8"/>
    <p:sldMasterId id="2147483750" r:id="rId9"/>
    <p:sldMasterId id="2147483775" r:id="rId10"/>
    <p:sldMasterId id="2147483789" r:id="rId11"/>
    <p:sldMasterId id="2147483822" r:id="rId12"/>
    <p:sldMasterId id="2147483862" r:id="rId13"/>
    <p:sldMasterId id="2147483867" r:id="rId14"/>
  </p:sldMasterIdLst>
  <p:notesMasterIdLst>
    <p:notesMasterId r:id="rId47"/>
  </p:notesMasterIdLst>
  <p:sldIdLst>
    <p:sldId id="292" r:id="rId15"/>
    <p:sldId id="1827" r:id="rId16"/>
    <p:sldId id="1834" r:id="rId17"/>
    <p:sldId id="1839" r:id="rId18"/>
    <p:sldId id="1884" r:id="rId19"/>
    <p:sldId id="1623" r:id="rId20"/>
    <p:sldId id="1624" r:id="rId21"/>
    <p:sldId id="1694" r:id="rId22"/>
    <p:sldId id="1940" r:id="rId23"/>
    <p:sldId id="1705" r:id="rId24"/>
    <p:sldId id="1569" r:id="rId25"/>
    <p:sldId id="1556" r:id="rId26"/>
    <p:sldId id="1939" r:id="rId27"/>
    <p:sldId id="327" r:id="rId28"/>
    <p:sldId id="357" r:id="rId29"/>
    <p:sldId id="400" r:id="rId30"/>
    <p:sldId id="422" r:id="rId31"/>
    <p:sldId id="1601" r:id="rId32"/>
    <p:sldId id="329" r:id="rId33"/>
    <p:sldId id="1907" r:id="rId34"/>
    <p:sldId id="1709" r:id="rId35"/>
    <p:sldId id="1711" r:id="rId36"/>
    <p:sldId id="1908" r:id="rId37"/>
    <p:sldId id="1937" r:id="rId38"/>
    <p:sldId id="1910" r:id="rId39"/>
    <p:sldId id="1936" r:id="rId40"/>
    <p:sldId id="1825" r:id="rId41"/>
    <p:sldId id="1938" r:id="rId42"/>
    <p:sldId id="1678" r:id="rId43"/>
    <p:sldId id="1712" r:id="rId44"/>
    <p:sldId id="1941" r:id="rId45"/>
    <p:sldId id="1516"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71C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500E71-C55A-4703-8CE1-5BCA7DDB3929}" v="2" dt="2019-01-24T18:57:38.5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4416" autoAdjust="0"/>
  </p:normalViewPr>
  <p:slideViewPr>
    <p:cSldViewPr snapToGrid="0">
      <p:cViewPr varScale="1">
        <p:scale>
          <a:sx n="55" d="100"/>
          <a:sy n="55" d="100"/>
        </p:scale>
        <p:origin x="1714"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ugo Melendez" userId="52c4064a-c7a7-46a7-877a-08f1097d5a79" providerId="ADAL" clId="{D17075E7-D95B-4667-968C-83062BA17061}"/>
    <pc:docChg chg="addSld modSld">
      <pc:chgData name="Hugo Melendez" userId="52c4064a-c7a7-46a7-877a-08f1097d5a79" providerId="ADAL" clId="{D17075E7-D95B-4667-968C-83062BA17061}" dt="2018-11-23T14:56:47.993" v="53"/>
      <pc:docMkLst>
        <pc:docMk/>
      </pc:docMkLst>
      <pc:sldChg chg="modSp">
        <pc:chgData name="Hugo Melendez" userId="52c4064a-c7a7-46a7-877a-08f1097d5a79" providerId="ADAL" clId="{D17075E7-D95B-4667-968C-83062BA17061}" dt="2018-11-23T14:50:05.072" v="52" actId="14100"/>
        <pc:sldMkLst>
          <pc:docMk/>
          <pc:sldMk cId="3578365388" sldId="292"/>
        </pc:sldMkLst>
        <pc:spChg chg="mod">
          <ac:chgData name="Hugo Melendez" userId="52c4064a-c7a7-46a7-877a-08f1097d5a79" providerId="ADAL" clId="{D17075E7-D95B-4667-968C-83062BA17061}" dt="2018-11-23T14:50:05.072" v="52" actId="14100"/>
          <ac:spMkLst>
            <pc:docMk/>
            <pc:sldMk cId="3578365388" sldId="292"/>
            <ac:spMk id="11" creationId="{1BD88ED4-8643-4257-8ADC-A29A8CF25608}"/>
          </ac:spMkLst>
        </pc:spChg>
      </pc:sldChg>
      <pc:sldChg chg="add">
        <pc:chgData name="Hugo Melendez" userId="52c4064a-c7a7-46a7-877a-08f1097d5a79" providerId="ADAL" clId="{D17075E7-D95B-4667-968C-83062BA17061}" dt="2018-11-23T14:56:47.993" v="53"/>
        <pc:sldMkLst>
          <pc:docMk/>
          <pc:sldMk cId="736255738" sldId="477"/>
        </pc:sldMkLst>
      </pc:sldChg>
    </pc:docChg>
  </pc:docChgLst>
  <pc:docChgLst>
    <pc:chgData name="Hugo Melendez" userId="52c4064a-c7a7-46a7-877a-08f1097d5a79" providerId="ADAL" clId="{CC500E71-C55A-4703-8CE1-5BCA7DDB3929}"/>
    <pc:docChg chg="delSld modSld">
      <pc:chgData name="Hugo Melendez" userId="52c4064a-c7a7-46a7-877a-08f1097d5a79" providerId="ADAL" clId="{CC500E71-C55A-4703-8CE1-5BCA7DDB3929}" dt="2019-01-24T20:34:28.127" v="2" actId="2696"/>
      <pc:docMkLst>
        <pc:docMk/>
      </pc:docMkLst>
      <pc:sldChg chg="del modTransition">
        <pc:chgData name="Hugo Melendez" userId="52c4064a-c7a7-46a7-877a-08f1097d5a79" providerId="ADAL" clId="{CC500E71-C55A-4703-8CE1-5BCA7DDB3929}" dt="2019-01-24T20:34:28.125" v="1" actId="2696"/>
        <pc:sldMkLst>
          <pc:docMk/>
          <pc:sldMk cId="736255738" sldId="477"/>
        </pc:sldMkLst>
      </pc:sldChg>
      <pc:sldMasterChg chg="delSldLayout">
        <pc:chgData name="Hugo Melendez" userId="52c4064a-c7a7-46a7-877a-08f1097d5a79" providerId="ADAL" clId="{CC500E71-C55A-4703-8CE1-5BCA7DDB3929}" dt="2019-01-24T20:34:28.127" v="2" actId="2696"/>
        <pc:sldMasterMkLst>
          <pc:docMk/>
          <pc:sldMasterMk cId="2131365501" sldId="2147483862"/>
        </pc:sldMasterMkLst>
        <pc:sldLayoutChg chg="del">
          <pc:chgData name="Hugo Melendez" userId="52c4064a-c7a7-46a7-877a-08f1097d5a79" providerId="ADAL" clId="{CC500E71-C55A-4703-8CE1-5BCA7DDB3929}" dt="2019-01-24T20:34:28.127" v="2" actId="2696"/>
          <pc:sldLayoutMkLst>
            <pc:docMk/>
            <pc:sldMasterMk cId="2131365501" sldId="2147483862"/>
            <pc:sldLayoutMk cId="1014367806" sldId="2147483895"/>
          </pc:sldLayoutMkLst>
        </pc:sldLayoutChg>
      </pc:sldMasterChg>
    </pc:docChg>
  </pc:docChgLst>
</pc:chgInfo>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B3D90E-D859-4609-AF30-00125BAD44D0}" type="datetimeFigureOut">
              <a:rPr lang="en-US" smtClean="0"/>
              <a:t>1/2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079B3-4A98-4DE4-833D-3742B8321B4C}" type="slidenum">
              <a:rPr lang="en-US" smtClean="0"/>
              <a:t>‹#›</a:t>
            </a:fld>
            <a:endParaRPr lang="en-US"/>
          </a:p>
        </p:txBody>
      </p:sp>
    </p:spTree>
    <p:extLst>
      <p:ext uri="{BB962C8B-B14F-4D97-AF65-F5344CB8AC3E}">
        <p14:creationId xmlns:p14="http://schemas.microsoft.com/office/powerpoint/2010/main" val="1671490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3820403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
        <p:nvSpPr>
          <p:cNvPr id="10" name="Date Placeholder 9"/>
          <p:cNvSpPr>
            <a:spLocks noGrp="1"/>
          </p:cNvSpPr>
          <p:nvPr>
            <p:ph type="dt" idx="13"/>
          </p:nvPr>
        </p:nvSpPr>
        <p:spPr/>
        <p:txBody>
          <a:bodyPr/>
          <a:lstStyle/>
          <a:p>
            <a:fld id="{5A70A388-5CB4-42F2-85B9-1AE1F63398FA}" type="datetime8">
              <a:rPr lang="en-US" smtClean="0"/>
              <a:t>1/24/2019 12:56 PM</a:t>
            </a:fld>
            <a:endParaRPr lang="en-US"/>
          </a:p>
        </p:txBody>
      </p:sp>
      <p:sp>
        <p:nvSpPr>
          <p:cNvPr id="12" name="Header Placeholder 11"/>
          <p:cNvSpPr>
            <a:spLocks noGrp="1"/>
          </p:cNvSpPr>
          <p:nvPr>
            <p:ph type="hdr" sz="quarter" idx="15"/>
          </p:nvPr>
        </p:nvSpPr>
        <p:spPr/>
        <p:txBody>
          <a:bodyPr/>
          <a:lstStyle/>
          <a:p>
            <a:endParaRPr lang="en-US"/>
          </a:p>
        </p:txBody>
      </p:sp>
      <p:sp>
        <p:nvSpPr>
          <p:cNvPr id="5" name="Footer Placeholder 4"/>
          <p:cNvSpPr>
            <a:spLocks noGrp="1"/>
          </p:cNvSpPr>
          <p:nvPr>
            <p:ph type="ftr" sz="quarter" idx="16"/>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8457838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2079B3-4A98-4DE4-833D-3742B8321B4C}" type="slidenum">
              <a:rPr lang="en-US" smtClean="0"/>
              <a:t>13</a:t>
            </a:fld>
            <a:endParaRPr lang="en-US"/>
          </a:p>
        </p:txBody>
      </p:sp>
    </p:spTree>
    <p:extLst>
      <p:ext uri="{BB962C8B-B14F-4D97-AF65-F5344CB8AC3E}">
        <p14:creationId xmlns:p14="http://schemas.microsoft.com/office/powerpoint/2010/main" val="7187831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6799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78419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4420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2214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21667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container-instances/container-instances-quickstar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8199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84854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663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8176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creating ACI instance and deploying </a:t>
            </a:r>
            <a:r>
              <a:rPr lang="en-US" err="1"/>
              <a:t>helloworld</a:t>
            </a:r>
            <a:r>
              <a:rPr lang="en-US"/>
              <a:t> im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305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2462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how quickly AKS cluster can be created using Azure Portal </a:t>
            </a:r>
          </a:p>
          <a:p>
            <a:r>
              <a:rPr lang="en-US"/>
              <a:t>Show Quick Start Demo on Deploying a service o</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15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801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a:t>
            </a:r>
            <a:r>
              <a:rPr lang="en-US" err="1"/>
              <a:t>SfB</a:t>
            </a:r>
            <a:r>
              <a:rPr lang="en-US"/>
              <a:t> Mesh</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63025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58179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9808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24/2019 12:56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1</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2346231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24/2019 12:56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2</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57329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017959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A7F0260-00EA-5546-8E73-DDB0DE8C95E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863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Service-oriented architecture</a:t>
            </a:r>
            <a:r>
              <a:rPr lang="en-US" sz="1200" b="0" i="0" u="none" strike="noStrike" kern="1200" dirty="0">
                <a:solidFill>
                  <a:schemeClr val="tx1"/>
                </a:solidFill>
                <a:effectLst/>
                <a:latin typeface="+mn-lt"/>
                <a:ea typeface="+mn-ea"/>
                <a:cs typeface="+mn-cs"/>
              </a:rPr>
              <a:t>. A service-oriented architecture (SOA) is a </a:t>
            </a:r>
            <a:r>
              <a:rPr lang="en-US" sz="1200" b="1" i="0" u="none" strike="noStrike" kern="1200" dirty="0">
                <a:solidFill>
                  <a:schemeClr val="tx1"/>
                </a:solidFill>
                <a:effectLst/>
                <a:latin typeface="+mn-lt"/>
                <a:ea typeface="+mn-ea"/>
                <a:cs typeface="+mn-cs"/>
              </a:rPr>
              <a:t>style of software design</a:t>
            </a:r>
            <a:r>
              <a:rPr lang="en-US" sz="1200" b="0" i="0" u="none" strike="noStrike" kern="1200" dirty="0">
                <a:solidFill>
                  <a:schemeClr val="tx1"/>
                </a:solidFill>
                <a:effectLst/>
                <a:latin typeface="+mn-lt"/>
                <a:ea typeface="+mn-ea"/>
                <a:cs typeface="+mn-cs"/>
              </a:rPr>
              <a:t> where services are provided to the other components by application components, through a communication protocol over a network. The basic principles of service-oriented architecture are independent of vendors, products and technologies.</a:t>
            </a:r>
          </a:p>
          <a:p>
            <a:r>
              <a:rPr lang="en-US" dirty="0"/>
              <a:t>Microservices, aka Microservice Architecture, is an architectural style that structures an application as a collection of small autonomous services, modeled around a business domain.</a:t>
            </a:r>
          </a:p>
        </p:txBody>
      </p:sp>
      <p:sp>
        <p:nvSpPr>
          <p:cNvPr id="6" name="Slide Number Placeholder 5"/>
          <p:cNvSpPr>
            <a:spLocks noGrp="1"/>
          </p:cNvSpPr>
          <p:nvPr>
            <p:ph type="sldNum" sz="quarter" idx="12"/>
          </p:nvPr>
        </p:nvSpPr>
        <p:spPr/>
        <p:txBody>
          <a:bodyPr/>
          <a:lstStyle/>
          <a:p>
            <a:fld id="{B4008EB6-D09E-4580-8CD6-DDB14511944F}" type="slidenum">
              <a:rPr lang="en-US" smtClean="0"/>
              <a:pPr/>
              <a:t>6</a:t>
            </a:fld>
            <a:endParaRPr lang="en-US"/>
          </a:p>
        </p:txBody>
      </p:sp>
      <p:sp>
        <p:nvSpPr>
          <p:cNvPr id="10" name="Date Placeholder 9"/>
          <p:cNvSpPr>
            <a:spLocks noGrp="1"/>
          </p:cNvSpPr>
          <p:nvPr>
            <p:ph type="dt" idx="13"/>
          </p:nvPr>
        </p:nvSpPr>
        <p:spPr/>
        <p:txBody>
          <a:bodyPr/>
          <a:lstStyle/>
          <a:p>
            <a:fld id="{5A70A388-5CB4-42F2-85B9-1AE1F63398FA}" type="datetime8">
              <a:rPr lang="en-US" smtClean="0"/>
              <a:t>1/24/2019 12:56 PM</a:t>
            </a:fld>
            <a:endParaRPr lang="en-US"/>
          </a:p>
        </p:txBody>
      </p:sp>
      <p:sp>
        <p:nvSpPr>
          <p:cNvPr id="12" name="Header Placeholder 11"/>
          <p:cNvSpPr>
            <a:spLocks noGrp="1"/>
          </p:cNvSpPr>
          <p:nvPr>
            <p:ph type="hdr" sz="quarter" idx="15"/>
          </p:nvPr>
        </p:nvSpPr>
        <p:spPr/>
        <p:txBody>
          <a:bodyPr/>
          <a:lstStyle/>
          <a:p>
            <a:endParaRPr lang="en-US"/>
          </a:p>
        </p:txBody>
      </p:sp>
      <p:sp>
        <p:nvSpPr>
          <p:cNvPr id="5" name="Footer Placeholder 4"/>
          <p:cNvSpPr>
            <a:spLocks noGrp="1"/>
          </p:cNvSpPr>
          <p:nvPr>
            <p:ph type="ftr" sz="quarter" idx="16"/>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308342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7</a:t>
            </a:fld>
            <a:endParaRPr lang="en-US"/>
          </a:p>
        </p:txBody>
      </p:sp>
      <p:sp>
        <p:nvSpPr>
          <p:cNvPr id="10" name="Date Placeholder 9"/>
          <p:cNvSpPr>
            <a:spLocks noGrp="1"/>
          </p:cNvSpPr>
          <p:nvPr>
            <p:ph type="dt" idx="13"/>
          </p:nvPr>
        </p:nvSpPr>
        <p:spPr/>
        <p:txBody>
          <a:bodyPr/>
          <a:lstStyle/>
          <a:p>
            <a:fld id="{5A70A388-5CB4-42F2-85B9-1AE1F63398FA}" type="datetime8">
              <a:rPr lang="en-US" smtClean="0"/>
              <a:t>1/24/2019 12:56 PM</a:t>
            </a:fld>
            <a:endParaRPr lang="en-US"/>
          </a:p>
        </p:txBody>
      </p:sp>
      <p:sp>
        <p:nvSpPr>
          <p:cNvPr id="12" name="Header Placeholder 11"/>
          <p:cNvSpPr>
            <a:spLocks noGrp="1"/>
          </p:cNvSpPr>
          <p:nvPr>
            <p:ph type="hdr" sz="quarter" idx="15"/>
          </p:nvPr>
        </p:nvSpPr>
        <p:spPr/>
        <p:txBody>
          <a:bodyPr/>
          <a:lstStyle/>
          <a:p>
            <a:endParaRPr lang="en-US"/>
          </a:p>
        </p:txBody>
      </p:sp>
      <p:sp>
        <p:nvSpPr>
          <p:cNvPr id="5" name="Footer Placeholder 4"/>
          <p:cNvSpPr>
            <a:spLocks noGrp="1"/>
          </p:cNvSpPr>
          <p:nvPr>
            <p:ph type="ftr" sz="quarter" idx="16"/>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88492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4/2019 12:5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876982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A7F0260-00EA-5546-8E73-DDB0DE8C95E0}" type="slidenum">
              <a:rPr lang="en-US" smtClean="0"/>
              <a:t>10</a:t>
            </a:fld>
            <a:endParaRPr lang="en-US"/>
          </a:p>
        </p:txBody>
      </p:sp>
    </p:spTree>
    <p:extLst>
      <p:ext uri="{BB962C8B-B14F-4D97-AF65-F5344CB8AC3E}">
        <p14:creationId xmlns:p14="http://schemas.microsoft.com/office/powerpoint/2010/main" val="3320064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A7F0260-00EA-5546-8E73-DDB0DE8C95E0}" type="slidenum">
              <a:rPr lang="en-US" smtClean="0"/>
              <a:t>11</a:t>
            </a:fld>
            <a:endParaRPr lang="en-US"/>
          </a:p>
        </p:txBody>
      </p:sp>
    </p:spTree>
    <p:extLst>
      <p:ext uri="{BB962C8B-B14F-4D97-AF65-F5344CB8AC3E}">
        <p14:creationId xmlns:p14="http://schemas.microsoft.com/office/powerpoint/2010/main" val="2614845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8.xml"/><Relationship Id="rId4" Type="http://schemas.openxmlformats.org/officeDocument/2006/relationships/image" Target="../media/image31.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8.xml"/><Relationship Id="rId6" Type="http://schemas.openxmlformats.org/officeDocument/2006/relationships/image" Target="../media/image31.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8.xml"/><Relationship Id="rId6" Type="http://schemas.openxmlformats.org/officeDocument/2006/relationships/image" Target="../media/image31.png"/><Relationship Id="rId5" Type="http://schemas.openxmlformats.org/officeDocument/2006/relationships/image" Target="../media/image33.png"/><Relationship Id="rId4" Type="http://schemas.openxmlformats.org/officeDocument/2006/relationships/image" Target="../media/image3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2.png"/><Relationship Id="rId7" Type="http://schemas.openxmlformats.org/officeDocument/2006/relationships/image" Target="../media/image33.png"/><Relationship Id="rId2" Type="http://schemas.openxmlformats.org/officeDocument/2006/relationships/image" Target="../media/image29.png"/><Relationship Id="rId1" Type="http://schemas.openxmlformats.org/officeDocument/2006/relationships/slideMaster" Target="../slideMasters/slideMaster8.xml"/><Relationship Id="rId6" Type="http://schemas.openxmlformats.org/officeDocument/2006/relationships/image" Target="../media/image30.png"/><Relationship Id="rId5" Type="http://schemas.openxmlformats.org/officeDocument/2006/relationships/image" Target="../media/image35.png"/><Relationship Id="rId4" Type="http://schemas.openxmlformats.org/officeDocument/2006/relationships/image" Target="../media/image34.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25.pn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9.xml"/><Relationship Id="rId6" Type="http://schemas.openxmlformats.org/officeDocument/2006/relationships/image" Target="../media/image31.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9.xml"/><Relationship Id="rId6" Type="http://schemas.openxmlformats.org/officeDocument/2006/relationships/image" Target="../media/image31.png"/><Relationship Id="rId5" Type="http://schemas.openxmlformats.org/officeDocument/2006/relationships/image" Target="../media/image33.png"/><Relationship Id="rId4" Type="http://schemas.openxmlformats.org/officeDocument/2006/relationships/image" Target="../media/image30.png"/></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2.png"/><Relationship Id="rId7" Type="http://schemas.openxmlformats.org/officeDocument/2006/relationships/image" Target="../media/image33.png"/><Relationship Id="rId2" Type="http://schemas.openxmlformats.org/officeDocument/2006/relationships/image" Target="../media/image29.png"/><Relationship Id="rId1" Type="http://schemas.openxmlformats.org/officeDocument/2006/relationships/slideMaster" Target="../slideMasters/slideMaster9.xml"/><Relationship Id="rId6" Type="http://schemas.openxmlformats.org/officeDocument/2006/relationships/image" Target="../media/image30.png"/><Relationship Id="rId5" Type="http://schemas.openxmlformats.org/officeDocument/2006/relationships/image" Target="../media/image35.png"/><Relationship Id="rId4" Type="http://schemas.openxmlformats.org/officeDocument/2006/relationships/image" Target="../media/image34.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jpe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emf"/><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4.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6.xml"/><Relationship Id="rId4" Type="http://schemas.openxmlformats.org/officeDocument/2006/relationships/image" Target="../media/image25.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Tree>
    <p:extLst>
      <p:ext uri="{BB962C8B-B14F-4D97-AF65-F5344CB8AC3E}">
        <p14:creationId xmlns:p14="http://schemas.microsoft.com/office/powerpoint/2010/main" val="945357264"/>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6995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290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6911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8315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755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5052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99373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93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40142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1654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66630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07813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04646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441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216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137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36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062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bg1"/>
        </a:solidFill>
        <a:effectLst/>
      </p:bgPr>
    </p:bg>
    <p:spTree>
      <p:nvGrpSpPr>
        <p:cNvPr id="1" name=""/>
        <p:cNvGrpSpPr/>
        <p:nvPr/>
      </p:nvGrpSpPr>
      <p:grpSpPr>
        <a:xfrm>
          <a:off x="0" y="0"/>
          <a:ext cx="0" cy="0"/>
          <a:chOff x="0" y="0"/>
          <a:chExt cx="0" cy="0"/>
        </a:xfrm>
      </p:grpSpPr>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98096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8"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2" y="457202"/>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2"/>
            <a:ext cx="11277600" cy="513510"/>
          </a:xfrm>
        </p:spPr>
        <p:txBody>
          <a:bodyPr/>
          <a:lstStyle>
            <a:lvl1pPr marL="0" indent="0" algn="l">
              <a:buNone/>
              <a:defRPr sz="2400" b="1" i="0" spc="-60" baseline="0">
                <a:latin typeface="Segoe UI Semibold" charset="0"/>
                <a:ea typeface="Segoe UI Semibold" charset="0"/>
                <a:cs typeface="Segoe UI Semibold" charset="0"/>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8"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2" y="1866902"/>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297516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950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131720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796861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636413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66366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263055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446609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443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2945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68995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30592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01493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8065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151639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79719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6787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4340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919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4010277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779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2628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992213"/>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2" y="965108"/>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3">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4512"/>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176909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3">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1114"/>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94405" y="1032094"/>
            <a:ext cx="2281395"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36984"/>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605198"/>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FC8B0364-2D4C-41CE-94D3-C88873CDE71A}"/>
              </a:ext>
            </a:extLst>
          </p:cNvPr>
          <p:cNvSpPr/>
          <p:nvPr userDrawn="1"/>
        </p:nvSpPr>
        <p:spPr>
          <a:xfrm>
            <a:off x="3182000" y="2544925"/>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4512"/>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41341"/>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24050"/>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4016365"/>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862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Tree>
    <p:extLst>
      <p:ext uri="{BB962C8B-B14F-4D97-AF65-F5344CB8AC3E}">
        <p14:creationId xmlns:p14="http://schemas.microsoft.com/office/powerpoint/2010/main" val="332681428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9" name="Rectangle 8">
            <a:extLst>
              <a:ext uri="{FF2B5EF4-FFF2-40B4-BE49-F238E27FC236}">
                <a16:creationId xmlns:a16="http://schemas.microsoft.com/office/drawing/2014/main" id="{A506988D-A2D8-4E8D-9482-CFC834EB3A0D}"/>
              </a:ext>
            </a:extLst>
          </p:cNvPr>
          <p:cNvSpPr/>
          <p:nvPr userDrawn="1"/>
        </p:nvSpPr>
        <p:spPr>
          <a:xfrm>
            <a:off x="5482526"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0" name="Rectangle 9">
            <a:extLst>
              <a:ext uri="{FF2B5EF4-FFF2-40B4-BE49-F238E27FC236}">
                <a16:creationId xmlns:a16="http://schemas.microsoft.com/office/drawing/2014/main" id="{B6CD75E5-030D-48A9-A033-022F1C5F0FE0}"/>
              </a:ext>
            </a:extLst>
          </p:cNvPr>
          <p:cNvSpPr/>
          <p:nvPr userDrawn="1"/>
        </p:nvSpPr>
        <p:spPr>
          <a:xfrm>
            <a:off x="5546839" y="1043777"/>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Ready</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14" name="Rectangle 13">
            <a:extLst>
              <a:ext uri="{FF2B5EF4-FFF2-40B4-BE49-F238E27FC236}">
                <a16:creationId xmlns:a16="http://schemas.microsoft.com/office/drawing/2014/main" id="{B615E164-25E3-484A-B9E1-14D0B627F558}"/>
              </a:ext>
            </a:extLst>
          </p:cNvPr>
          <p:cNvSpPr/>
          <p:nvPr userDrawn="1"/>
        </p:nvSpPr>
        <p:spPr>
          <a:xfrm>
            <a:off x="5762485" y="253160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 name="Rectangle 14">
            <a:extLst>
              <a:ext uri="{FF2B5EF4-FFF2-40B4-BE49-F238E27FC236}">
                <a16:creationId xmlns:a16="http://schemas.microsoft.com/office/drawing/2014/main" id="{0A210C0F-1689-4B68-B31C-D496F3040BAE}"/>
              </a:ext>
            </a:extLst>
          </p:cNvPr>
          <p:cNvSpPr/>
          <p:nvPr userDrawn="1"/>
        </p:nvSpPr>
        <p:spPr>
          <a:xfrm>
            <a:off x="5762485" y="2029451"/>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 name="Rectangle 15">
            <a:extLst>
              <a:ext uri="{FF2B5EF4-FFF2-40B4-BE49-F238E27FC236}">
                <a16:creationId xmlns:a16="http://schemas.microsoft.com/office/drawing/2014/main" id="{034FFAC5-A80C-4CFA-8B03-0892CBE4A7ED}"/>
              </a:ext>
            </a:extLst>
          </p:cNvPr>
          <p:cNvSpPr/>
          <p:nvPr userDrawn="1"/>
        </p:nvSpPr>
        <p:spPr bwMode="auto">
          <a:xfrm>
            <a:off x="5762485" y="159633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9" name="Picture 18">
            <a:extLst>
              <a:ext uri="{FF2B5EF4-FFF2-40B4-BE49-F238E27FC236}">
                <a16:creationId xmlns:a16="http://schemas.microsoft.com/office/drawing/2014/main" id="{B7B3642C-D9DF-4E86-88D9-B7CF7B7383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6795" y="6091720"/>
            <a:ext cx="594649" cy="594649"/>
          </a:xfrm>
          <a:prstGeom prst="rect">
            <a:avLst/>
          </a:prstGeom>
        </p:spPr>
      </p:pic>
      <p:pic>
        <p:nvPicPr>
          <p:cNvPr id="20" name="Picture 8" descr="Image result for .NET">
            <a:extLst>
              <a:ext uri="{FF2B5EF4-FFF2-40B4-BE49-F238E27FC236}">
                <a16:creationId xmlns:a16="http://schemas.microsoft.com/office/drawing/2014/main" id="{7D026EAB-41AE-48D7-A705-4B8E3C4D44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29507" y="5411414"/>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917F39D8-D256-4D75-80E0-8AD704190EDB}"/>
              </a:ext>
            </a:extLst>
          </p:cNvPr>
          <p:cNvSpPr/>
          <p:nvPr userDrawn="1"/>
        </p:nvSpPr>
        <p:spPr>
          <a:xfrm>
            <a:off x="5765696" y="4003836"/>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9" name="Rectangle 28">
            <a:extLst>
              <a:ext uri="{FF2B5EF4-FFF2-40B4-BE49-F238E27FC236}">
                <a16:creationId xmlns:a16="http://schemas.microsoft.com/office/drawing/2014/main" id="{83358433-DF64-42FA-859C-D5F044BB9EEF}"/>
              </a:ext>
            </a:extLst>
          </p:cNvPr>
          <p:cNvSpPr/>
          <p:nvPr userDrawn="1"/>
        </p:nvSpPr>
        <p:spPr>
          <a:xfrm>
            <a:off x="5756863" y="453390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4">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Image result for Azure icon">
            <a:extLst>
              <a:ext uri="{FF2B5EF4-FFF2-40B4-BE49-F238E27FC236}">
                <a16:creationId xmlns:a16="http://schemas.microsoft.com/office/drawing/2014/main" id="{818A6858-48C7-40AE-96E5-815E3015AD1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50026"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66354"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16436"/>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FC8B0364-2D4C-41CE-94D3-C88873CDE71A}"/>
              </a:ext>
            </a:extLst>
          </p:cNvPr>
          <p:cNvSpPr/>
          <p:nvPr userDrawn="1"/>
        </p:nvSpPr>
        <p:spPr>
          <a:xfrm>
            <a:off x="3194846" y="2524377"/>
            <a:ext cx="1904597"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54" name="Rectangle 53">
            <a:extLst>
              <a:ext uri="{FF2B5EF4-FFF2-40B4-BE49-F238E27FC236}">
                <a16:creationId xmlns:a16="http://schemas.microsoft.com/office/drawing/2014/main" id="{DB6F5905-7F8D-4BDE-A04A-58B492D2F930}"/>
              </a:ext>
            </a:extLst>
          </p:cNvPr>
          <p:cNvSpPr/>
          <p:nvPr userDrawn="1"/>
        </p:nvSpPr>
        <p:spPr>
          <a:xfrm>
            <a:off x="5765697" y="3525644"/>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SQL Database</a:t>
            </a:r>
          </a:p>
        </p:txBody>
      </p:sp>
      <p:grpSp>
        <p:nvGrpSpPr>
          <p:cNvPr id="55" name="Group 54">
            <a:extLst>
              <a:ext uri="{FF2B5EF4-FFF2-40B4-BE49-F238E27FC236}">
                <a16:creationId xmlns:a16="http://schemas.microsoft.com/office/drawing/2014/main" id="{917815EA-10AF-477B-B272-E520939F415A}"/>
              </a:ext>
            </a:extLst>
          </p:cNvPr>
          <p:cNvGrpSpPr/>
          <p:nvPr userDrawn="1"/>
        </p:nvGrpSpPr>
        <p:grpSpPr>
          <a:xfrm>
            <a:off x="2692403" y="4420825"/>
            <a:ext cx="2855378" cy="715041"/>
            <a:chOff x="2541377" y="3593356"/>
            <a:chExt cx="620381" cy="715041"/>
          </a:xfrm>
        </p:grpSpPr>
        <p:sp>
          <p:nvSpPr>
            <p:cNvPr id="56" name="Arrow: Right 55">
              <a:extLst>
                <a:ext uri="{FF2B5EF4-FFF2-40B4-BE49-F238E27FC236}">
                  <a16:creationId xmlns:a16="http://schemas.microsoft.com/office/drawing/2014/main" id="{671546DE-030E-40B2-9658-1471962DEB9D}"/>
                </a:ext>
              </a:extLst>
            </p:cNvPr>
            <p:cNvSpPr/>
            <p:nvPr/>
          </p:nvSpPr>
          <p:spPr>
            <a:xfrm>
              <a:off x="2541377" y="3593356"/>
              <a:ext cx="620381"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2DFB028D-2410-4C98-B193-29D92E36AE1A}"/>
                </a:ext>
              </a:extLst>
            </p:cNvPr>
            <p:cNvSpPr/>
            <p:nvPr/>
          </p:nvSpPr>
          <p:spPr>
            <a:xfrm>
              <a:off x="2688894" y="3819725"/>
              <a:ext cx="328752" cy="259836"/>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irect </a:t>
              </a:r>
              <a:r>
                <a:rPr lang="en-US" sz="1100">
                  <a:solidFill>
                    <a:prstClr val="white"/>
                  </a:solidFill>
                  <a:latin typeface="Segoe UI" panose="020B0502040204020203" pitchFamily="34" charset="0"/>
                  <a:cs typeface="Segoe UI" panose="020B0502040204020203" pitchFamily="34" charset="0"/>
                </a:rPr>
                <a:t>Modernization</a:t>
              </a: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8" name="Group 57">
            <a:extLst>
              <a:ext uri="{FF2B5EF4-FFF2-40B4-BE49-F238E27FC236}">
                <a16:creationId xmlns:a16="http://schemas.microsoft.com/office/drawing/2014/main" id="{D28145A8-2BB1-4248-9D7E-28072658845A}"/>
              </a:ext>
            </a:extLst>
          </p:cNvPr>
          <p:cNvGrpSpPr/>
          <p:nvPr userDrawn="1"/>
        </p:nvGrpSpPr>
        <p:grpSpPr>
          <a:xfrm>
            <a:off x="5112291" y="2011391"/>
            <a:ext cx="633815" cy="715041"/>
            <a:chOff x="5052079" y="3593355"/>
            <a:chExt cx="633815" cy="715041"/>
          </a:xfrm>
        </p:grpSpPr>
        <p:sp>
          <p:nvSpPr>
            <p:cNvPr id="59" name="Arrow: Right 58">
              <a:extLst>
                <a:ext uri="{FF2B5EF4-FFF2-40B4-BE49-F238E27FC236}">
                  <a16:creationId xmlns:a16="http://schemas.microsoft.com/office/drawing/2014/main" id="{0157F5DE-8538-4C8A-AA21-EC1AE91884A3}"/>
                </a:ext>
              </a:extLst>
            </p:cNvPr>
            <p:cNvSpPr/>
            <p:nvPr/>
          </p:nvSpPr>
          <p:spPr>
            <a:xfrm>
              <a:off x="5083319" y="3593355"/>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ADC78ABF-3500-45D0-BF3D-42FE91DABAAD}"/>
                </a:ext>
              </a:extLst>
            </p:cNvPr>
            <p:cNvSpPr/>
            <p:nvPr/>
          </p:nvSpPr>
          <p:spPr>
            <a:xfrm>
              <a:off x="5052079" y="3812588"/>
              <a:ext cx="597061"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rich</a:t>
              </a:r>
            </a:p>
          </p:txBody>
        </p:sp>
      </p:grpSp>
      <p:sp>
        <p:nvSpPr>
          <p:cNvPr id="62" name="Rectangle 61">
            <a:extLst>
              <a:ext uri="{FF2B5EF4-FFF2-40B4-BE49-F238E27FC236}">
                <a16:creationId xmlns:a16="http://schemas.microsoft.com/office/drawing/2014/main" id="{5E01CF4A-E709-4AC7-BA5E-8AAE0C9D8846}"/>
              </a:ext>
            </a:extLst>
          </p:cNvPr>
          <p:cNvSpPr/>
          <p:nvPr userDrawn="1"/>
        </p:nvSpPr>
        <p:spPr>
          <a:xfrm>
            <a:off x="5756863" y="3030737"/>
            <a:ext cx="1917444" cy="425709"/>
          </a:xfrm>
          <a:prstGeom prst="rect">
            <a:avLst/>
          </a:prstGeom>
          <a:solidFill>
            <a:srgbClr val="0072C6">
              <a:alpha val="60000"/>
            </a:srgbClr>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6" name="Oval 65">
            <a:extLst>
              <a:ext uri="{FF2B5EF4-FFF2-40B4-BE49-F238E27FC236}">
                <a16:creationId xmlns:a16="http://schemas.microsoft.com/office/drawing/2014/main" id="{6F9F870B-3BF4-4C76-801E-D783BCFA124E}"/>
              </a:ext>
            </a:extLst>
          </p:cNvPr>
          <p:cNvSpPr/>
          <p:nvPr userDrawn="1"/>
        </p:nvSpPr>
        <p:spPr bwMode="auto">
          <a:xfrm>
            <a:off x="6565544"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2</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4512"/>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20793"/>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03502"/>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399581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139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Tree>
    <p:extLst>
      <p:ext uri="{BB962C8B-B14F-4D97-AF65-F5344CB8AC3E}">
        <p14:creationId xmlns:p14="http://schemas.microsoft.com/office/powerpoint/2010/main" val="122789548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96354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962695C-2185-4E05-94E6-186801CAC439}"/>
              </a:ext>
            </a:extLst>
          </p:cNvPr>
          <p:cNvSpPr>
            <a:spLocks noGrp="1"/>
          </p:cNvSpPr>
          <p:nvPr>
            <p:ph type="sldNum" sz="quarter" idx="12"/>
          </p:nvPr>
        </p:nvSpPr>
        <p:spPr>
          <a:xfrm>
            <a:off x="8610600" y="6356351"/>
            <a:ext cx="2743200" cy="365125"/>
          </a:xfrm>
          <a:prstGeom prst="rect">
            <a:avLst/>
          </a:prstGeom>
        </p:spPr>
        <p:txBody>
          <a:bodyPr/>
          <a:lstStyle/>
          <a:p>
            <a:fld id="{27D3882F-12A7-44E5-A720-F0805A4EC1C9}" type="slidenum">
              <a:rPr lang="en-US" smtClean="0"/>
              <a:t>‹#›</a:t>
            </a:fld>
            <a:endParaRPr lang="en-US"/>
          </a:p>
        </p:txBody>
      </p:sp>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9" name="Rectangle 8">
            <a:extLst>
              <a:ext uri="{FF2B5EF4-FFF2-40B4-BE49-F238E27FC236}">
                <a16:creationId xmlns:a16="http://schemas.microsoft.com/office/drawing/2014/main" id="{A506988D-A2D8-4E8D-9482-CFC834EB3A0D}"/>
              </a:ext>
            </a:extLst>
          </p:cNvPr>
          <p:cNvSpPr/>
          <p:nvPr userDrawn="1"/>
        </p:nvSpPr>
        <p:spPr>
          <a:xfrm>
            <a:off x="5482525" y="109382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0" name="Rectangle 9">
            <a:extLst>
              <a:ext uri="{FF2B5EF4-FFF2-40B4-BE49-F238E27FC236}">
                <a16:creationId xmlns:a16="http://schemas.microsoft.com/office/drawing/2014/main" id="{B6CD75E5-030D-48A9-A033-022F1C5F0FE0}"/>
              </a:ext>
            </a:extLst>
          </p:cNvPr>
          <p:cNvSpPr/>
          <p:nvPr userDrawn="1"/>
        </p:nvSpPr>
        <p:spPr>
          <a:xfrm>
            <a:off x="5546839"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Ready</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11" name="Rectangle 10">
            <a:extLst>
              <a:ext uri="{FF2B5EF4-FFF2-40B4-BE49-F238E27FC236}">
                <a16:creationId xmlns:a16="http://schemas.microsoft.com/office/drawing/2014/main" id="{345D021F-39FF-488E-BB22-E2780713C68D}"/>
              </a:ext>
            </a:extLst>
          </p:cNvPr>
          <p:cNvSpPr/>
          <p:nvPr userDrawn="1"/>
        </p:nvSpPr>
        <p:spPr>
          <a:xfrm>
            <a:off x="8063011" y="1069560"/>
            <a:ext cx="3848417"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2" name="Rectangle 11">
            <a:extLst>
              <a:ext uri="{FF2B5EF4-FFF2-40B4-BE49-F238E27FC236}">
                <a16:creationId xmlns:a16="http://schemas.microsoft.com/office/drawing/2014/main" id="{CD172C72-9723-4BCD-82A3-384AA5762EC2}"/>
              </a:ext>
            </a:extLst>
          </p:cNvPr>
          <p:cNvSpPr/>
          <p:nvPr userDrawn="1"/>
        </p:nvSpPr>
        <p:spPr>
          <a:xfrm>
            <a:off x="8558941" y="1029738"/>
            <a:ext cx="3003323"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Native</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Microservices apps (Cloud)</a:t>
            </a:r>
          </a:p>
        </p:txBody>
      </p:sp>
      <p:sp>
        <p:nvSpPr>
          <p:cNvPr id="14" name="Rectangle 13">
            <a:extLst>
              <a:ext uri="{FF2B5EF4-FFF2-40B4-BE49-F238E27FC236}">
                <a16:creationId xmlns:a16="http://schemas.microsoft.com/office/drawing/2014/main" id="{B615E164-25E3-484A-B9E1-14D0B627F558}"/>
              </a:ext>
            </a:extLst>
          </p:cNvPr>
          <p:cNvSpPr/>
          <p:nvPr userDrawn="1"/>
        </p:nvSpPr>
        <p:spPr>
          <a:xfrm>
            <a:off x="5762485" y="252437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 name="Rectangle 14">
            <a:extLst>
              <a:ext uri="{FF2B5EF4-FFF2-40B4-BE49-F238E27FC236}">
                <a16:creationId xmlns:a16="http://schemas.microsoft.com/office/drawing/2014/main" id="{0A210C0F-1689-4B68-B31C-D496F3040BAE}"/>
              </a:ext>
            </a:extLst>
          </p:cNvPr>
          <p:cNvSpPr/>
          <p:nvPr userDrawn="1"/>
        </p:nvSpPr>
        <p:spPr>
          <a:xfrm>
            <a:off x="5762485" y="2022221"/>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 name="Rectangle 15">
            <a:extLst>
              <a:ext uri="{FF2B5EF4-FFF2-40B4-BE49-F238E27FC236}">
                <a16:creationId xmlns:a16="http://schemas.microsoft.com/office/drawing/2014/main" id="{034FFAC5-A80C-4CFA-8B03-0892CBE4A7ED}"/>
              </a:ext>
            </a:extLst>
          </p:cNvPr>
          <p:cNvSpPr/>
          <p:nvPr userDrawn="1"/>
        </p:nvSpPr>
        <p:spPr bwMode="auto">
          <a:xfrm>
            <a:off x="5762485"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8" name="Rectangle 17">
            <a:extLst>
              <a:ext uri="{FF2B5EF4-FFF2-40B4-BE49-F238E27FC236}">
                <a16:creationId xmlns:a16="http://schemas.microsoft.com/office/drawing/2014/main" id="{57C657C1-4F3C-4586-BDF4-51B96D4D881D}"/>
              </a:ext>
            </a:extLst>
          </p:cNvPr>
          <p:cNvSpPr/>
          <p:nvPr userDrawn="1"/>
        </p:nvSpPr>
        <p:spPr bwMode="auto">
          <a:xfrm>
            <a:off x="8269611" y="1583920"/>
            <a:ext cx="347263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icroservices</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9" name="Picture 18">
            <a:extLst>
              <a:ext uri="{FF2B5EF4-FFF2-40B4-BE49-F238E27FC236}">
                <a16:creationId xmlns:a16="http://schemas.microsoft.com/office/drawing/2014/main" id="{B7B3642C-D9DF-4E86-88D9-B7CF7B7383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6795" y="6091720"/>
            <a:ext cx="594649" cy="594649"/>
          </a:xfrm>
          <a:prstGeom prst="rect">
            <a:avLst/>
          </a:prstGeom>
        </p:spPr>
      </p:pic>
      <p:pic>
        <p:nvPicPr>
          <p:cNvPr id="20" name="Picture 8" descr="Image result for .NET">
            <a:extLst>
              <a:ext uri="{FF2B5EF4-FFF2-40B4-BE49-F238E27FC236}">
                <a16:creationId xmlns:a16="http://schemas.microsoft.com/office/drawing/2014/main" id="{7D026EAB-41AE-48D7-A705-4B8E3C4D44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29507" y="5411414"/>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8CE5281-258D-44EF-A65D-160E3634EC51}"/>
              </a:ext>
            </a:extLst>
          </p:cNvPr>
          <p:cNvSpPr/>
          <p:nvPr userDrawn="1"/>
        </p:nvSpPr>
        <p:spPr>
          <a:xfrm>
            <a:off x="9723751" y="2022221"/>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Service Fabric</a:t>
            </a:r>
          </a:p>
        </p:txBody>
      </p:sp>
      <p:sp>
        <p:nvSpPr>
          <p:cNvPr id="22" name="Rectangle 21">
            <a:extLst>
              <a:ext uri="{FF2B5EF4-FFF2-40B4-BE49-F238E27FC236}">
                <a16:creationId xmlns:a16="http://schemas.microsoft.com/office/drawing/2014/main" id="{E3080370-40FF-4C67-89FC-D6A4C509CB2D}"/>
              </a:ext>
            </a:extLst>
          </p:cNvPr>
          <p:cNvSpPr/>
          <p:nvPr userDrawn="1"/>
        </p:nvSpPr>
        <p:spPr>
          <a:xfrm>
            <a:off x="9723751" y="2517527"/>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ACS </a:t>
            </a:r>
            <a:r>
              <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t>
            </a:r>
            <a:r>
              <a:rPr kumimoji="0" lang="en-US" sz="8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Kubernetes, DC/OS, Swar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23" name="Rectangle 22">
            <a:extLst>
              <a:ext uri="{FF2B5EF4-FFF2-40B4-BE49-F238E27FC236}">
                <a16:creationId xmlns:a16="http://schemas.microsoft.com/office/drawing/2014/main" id="{126049B9-96B9-407A-9DE8-8AFEB876120C}"/>
              </a:ext>
            </a:extLst>
          </p:cNvPr>
          <p:cNvSpPr/>
          <p:nvPr userDrawn="1"/>
        </p:nvSpPr>
        <p:spPr>
          <a:xfrm>
            <a:off x="9723751" y="3013942"/>
            <a:ext cx="2027138" cy="435273"/>
          </a:xfrm>
          <a:prstGeom prst="rect">
            <a:avLst/>
          </a:prstGeom>
          <a:solidFill>
            <a:srgbClr val="589CCF"/>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Extended with serverless services (Azure Functions)</a:t>
            </a:r>
          </a:p>
        </p:txBody>
      </p:sp>
      <p:grpSp>
        <p:nvGrpSpPr>
          <p:cNvPr id="24" name="Group 23">
            <a:extLst>
              <a:ext uri="{FF2B5EF4-FFF2-40B4-BE49-F238E27FC236}">
                <a16:creationId xmlns:a16="http://schemas.microsoft.com/office/drawing/2014/main" id="{0B3AB4A4-801F-4B7B-82BA-490349E14B1C}"/>
              </a:ext>
            </a:extLst>
          </p:cNvPr>
          <p:cNvGrpSpPr/>
          <p:nvPr userDrawn="1"/>
        </p:nvGrpSpPr>
        <p:grpSpPr>
          <a:xfrm>
            <a:off x="9012496" y="5303933"/>
            <a:ext cx="2001755" cy="726482"/>
            <a:chOff x="8657058" y="4912759"/>
            <a:chExt cx="2001755" cy="726482"/>
          </a:xfrm>
        </p:grpSpPr>
        <p:cxnSp>
          <p:nvCxnSpPr>
            <p:cNvPr id="25" name="Straight Connector 24">
              <a:extLst>
                <a:ext uri="{FF2B5EF4-FFF2-40B4-BE49-F238E27FC236}">
                  <a16:creationId xmlns:a16="http://schemas.microsoft.com/office/drawing/2014/main" id="{863CC594-6D63-44CB-BD66-D5DAD5813CD0}"/>
                </a:ext>
              </a:extLst>
            </p:cNvPr>
            <p:cNvCxnSpPr>
              <a:cxnSpLocks/>
            </p:cNvCxnSpPr>
            <p:nvPr/>
          </p:nvCxnSpPr>
          <p:spPr>
            <a:xfrm>
              <a:off x="8657058" y="5639241"/>
              <a:ext cx="20017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10B9CEDA-6352-4CA7-8B18-A0633B707661}"/>
                </a:ext>
              </a:extLst>
            </p:cNvPr>
            <p:cNvSpPr/>
            <p:nvPr/>
          </p:nvSpPr>
          <p:spPr>
            <a:xfrm>
              <a:off x="9325287" y="4967270"/>
              <a:ext cx="615820" cy="60676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 name="Picture 2" descr="Image result for &quot;.NET Core&quot; logo">
              <a:extLst>
                <a:ext uri="{FF2B5EF4-FFF2-40B4-BE49-F238E27FC236}">
                  <a16:creationId xmlns:a16="http://schemas.microsoft.com/office/drawing/2014/main" id="{0B8612E1-50B1-4309-9446-EC7F30151807}"/>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78437" y="4912759"/>
              <a:ext cx="688348" cy="688348"/>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Rectangle 27">
            <a:extLst>
              <a:ext uri="{FF2B5EF4-FFF2-40B4-BE49-F238E27FC236}">
                <a16:creationId xmlns:a16="http://schemas.microsoft.com/office/drawing/2014/main" id="{917F39D8-D256-4D75-80E0-8AD704190EDB}"/>
              </a:ext>
            </a:extLst>
          </p:cNvPr>
          <p:cNvSpPr/>
          <p:nvPr userDrawn="1"/>
        </p:nvSpPr>
        <p:spPr>
          <a:xfrm>
            <a:off x="5765696" y="3996606"/>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9" name="Rectangle 28">
            <a:extLst>
              <a:ext uri="{FF2B5EF4-FFF2-40B4-BE49-F238E27FC236}">
                <a16:creationId xmlns:a16="http://schemas.microsoft.com/office/drawing/2014/main" id="{83358433-DF64-42FA-859C-D5F044BB9EEF}"/>
              </a:ext>
            </a:extLst>
          </p:cNvPr>
          <p:cNvSpPr/>
          <p:nvPr userDrawn="1"/>
        </p:nvSpPr>
        <p:spPr>
          <a:xfrm>
            <a:off x="5756863" y="452667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32" name="Rectangle 31">
            <a:extLst>
              <a:ext uri="{FF2B5EF4-FFF2-40B4-BE49-F238E27FC236}">
                <a16:creationId xmlns:a16="http://schemas.microsoft.com/office/drawing/2014/main" id="{C3CC7416-E901-424E-9D4C-B3FFB1A38496}"/>
              </a:ext>
            </a:extLst>
          </p:cNvPr>
          <p:cNvSpPr/>
          <p:nvPr userDrawn="1"/>
        </p:nvSpPr>
        <p:spPr>
          <a:xfrm>
            <a:off x="8269611" y="2022221"/>
            <a:ext cx="1369385" cy="2955779"/>
          </a:xfrm>
          <a:prstGeom prst="rect">
            <a:avLst/>
          </a:prstGeom>
          <a:solidFill>
            <a:srgbClr val="5BC165"/>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 Core</a:t>
            </a:r>
          </a:p>
        </p:txBody>
      </p:sp>
      <p:sp>
        <p:nvSpPr>
          <p:cNvPr id="33" name="Rectangle 32">
            <a:extLst>
              <a:ext uri="{FF2B5EF4-FFF2-40B4-BE49-F238E27FC236}">
                <a16:creationId xmlns:a16="http://schemas.microsoft.com/office/drawing/2014/main" id="{A2CF7C07-B060-4E6A-AFA9-02F7429D1703}"/>
              </a:ext>
            </a:extLst>
          </p:cNvPr>
          <p:cNvSpPr/>
          <p:nvPr userDrawn="1"/>
        </p:nvSpPr>
        <p:spPr bwMode="auto">
          <a:xfrm>
            <a:off x="8433431" y="2611923"/>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34" name="Rectangle 33">
            <a:extLst>
              <a:ext uri="{FF2B5EF4-FFF2-40B4-BE49-F238E27FC236}">
                <a16:creationId xmlns:a16="http://schemas.microsoft.com/office/drawing/2014/main" id="{C022FF5D-205D-465C-AB92-241201A1BB9D}"/>
              </a:ext>
            </a:extLst>
          </p:cNvPr>
          <p:cNvSpPr/>
          <p:nvPr userDrawn="1"/>
        </p:nvSpPr>
        <p:spPr bwMode="auto">
          <a:xfrm>
            <a:off x="8433431" y="3025723"/>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35" name="Rectangle 34">
            <a:extLst>
              <a:ext uri="{FF2B5EF4-FFF2-40B4-BE49-F238E27FC236}">
                <a16:creationId xmlns:a16="http://schemas.microsoft.com/office/drawing/2014/main" id="{9B24086A-6FE7-495A-A05D-9114F72991C3}"/>
              </a:ext>
            </a:extLst>
          </p:cNvPr>
          <p:cNvSpPr/>
          <p:nvPr userDrawn="1"/>
        </p:nvSpPr>
        <p:spPr bwMode="auto">
          <a:xfrm>
            <a:off x="8433431" y="3443740"/>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 (*)</a:t>
            </a:r>
          </a:p>
        </p:txBody>
      </p:sp>
      <p:sp>
        <p:nvSpPr>
          <p:cNvPr id="36" name="Rectangle 35">
            <a:extLst>
              <a:ext uri="{FF2B5EF4-FFF2-40B4-BE49-F238E27FC236}">
                <a16:creationId xmlns:a16="http://schemas.microsoft.com/office/drawing/2014/main" id="{449D1487-C773-4107-916C-72ADFA7006D4}"/>
              </a:ext>
            </a:extLst>
          </p:cNvPr>
          <p:cNvSpPr/>
          <p:nvPr userDrawn="1"/>
        </p:nvSpPr>
        <p:spPr bwMode="auto">
          <a:xfrm>
            <a:off x="8433431" y="3859930"/>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azor Pages</a:t>
            </a:r>
          </a:p>
        </p:txBody>
      </p:sp>
      <p:pic>
        <p:nvPicPr>
          <p:cNvPr id="38" name="Picture 37">
            <a:extLst>
              <a:ext uri="{FF2B5EF4-FFF2-40B4-BE49-F238E27FC236}">
                <a16:creationId xmlns:a16="http://schemas.microsoft.com/office/drawing/2014/main" id="{E2098AB0-F8F8-4962-B0CA-BC1054E951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43193" y="6093501"/>
            <a:ext cx="594649" cy="594649"/>
          </a:xfrm>
          <a:prstGeom prst="rect">
            <a:avLst/>
          </a:prstGeom>
        </p:spPr>
      </p:pic>
      <p:pic>
        <p:nvPicPr>
          <p:cNvPr id="39" name="Picture 2" descr="Icon">
            <a:extLst>
              <a:ext uri="{FF2B5EF4-FFF2-40B4-BE49-F238E27FC236}">
                <a16:creationId xmlns:a16="http://schemas.microsoft.com/office/drawing/2014/main" id="{E05D2744-B6AF-40E8-B267-C9CBF9FAB16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162117" y="6123057"/>
            <a:ext cx="476167" cy="57140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6">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Image result for Azure icon">
            <a:extLst>
              <a:ext uri="{FF2B5EF4-FFF2-40B4-BE49-F238E27FC236}">
                <a16:creationId xmlns:a16="http://schemas.microsoft.com/office/drawing/2014/main" id="{818A6858-48C7-40AE-96E5-815E3015AD1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50026" y="860248"/>
            <a:ext cx="450505" cy="34398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Image result for Azure icon">
            <a:extLst>
              <a:ext uri="{FF2B5EF4-FFF2-40B4-BE49-F238E27FC236}">
                <a16:creationId xmlns:a16="http://schemas.microsoft.com/office/drawing/2014/main" id="{D06335F3-82E6-4737-B9C1-01CEADD95C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027729" y="86646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66354"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16436"/>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0" name="Arrow: Right 49">
            <a:extLst>
              <a:ext uri="{FF2B5EF4-FFF2-40B4-BE49-F238E27FC236}">
                <a16:creationId xmlns:a16="http://schemas.microsoft.com/office/drawing/2014/main" id="{2AC90BA4-7600-47BE-B324-9D0BC90BD9A1}"/>
              </a:ext>
            </a:extLst>
          </p:cNvPr>
          <p:cNvSpPr/>
          <p:nvPr userDrawn="1"/>
        </p:nvSpPr>
        <p:spPr>
          <a:xfrm rot="16200000">
            <a:off x="8459854" y="4205324"/>
            <a:ext cx="994300" cy="120044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1B127B1C-AEF9-4E31-8EE8-F0A02819B80B}"/>
              </a:ext>
            </a:extLst>
          </p:cNvPr>
          <p:cNvSpPr/>
          <p:nvPr userDrawn="1"/>
        </p:nvSpPr>
        <p:spPr>
          <a:xfrm rot="5400000">
            <a:off x="1292919" y="5054894"/>
            <a:ext cx="186562" cy="161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C8B0364-2D4C-41CE-94D3-C88873CDE71A}"/>
              </a:ext>
            </a:extLst>
          </p:cNvPr>
          <p:cNvSpPr/>
          <p:nvPr userDrawn="1"/>
        </p:nvSpPr>
        <p:spPr>
          <a:xfrm>
            <a:off x="3182000" y="2524377"/>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54" name="Rectangle 53">
            <a:extLst>
              <a:ext uri="{FF2B5EF4-FFF2-40B4-BE49-F238E27FC236}">
                <a16:creationId xmlns:a16="http://schemas.microsoft.com/office/drawing/2014/main" id="{DB6F5905-7F8D-4BDE-A04A-58B492D2F930}"/>
              </a:ext>
            </a:extLst>
          </p:cNvPr>
          <p:cNvSpPr/>
          <p:nvPr userDrawn="1"/>
        </p:nvSpPr>
        <p:spPr>
          <a:xfrm>
            <a:off x="5765697" y="3518414"/>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SQL Database</a:t>
            </a:r>
          </a:p>
        </p:txBody>
      </p:sp>
      <p:grpSp>
        <p:nvGrpSpPr>
          <p:cNvPr id="55" name="Group 54">
            <a:extLst>
              <a:ext uri="{FF2B5EF4-FFF2-40B4-BE49-F238E27FC236}">
                <a16:creationId xmlns:a16="http://schemas.microsoft.com/office/drawing/2014/main" id="{917815EA-10AF-477B-B272-E520939F415A}"/>
              </a:ext>
            </a:extLst>
          </p:cNvPr>
          <p:cNvGrpSpPr/>
          <p:nvPr userDrawn="1"/>
        </p:nvGrpSpPr>
        <p:grpSpPr>
          <a:xfrm>
            <a:off x="2692403" y="4420825"/>
            <a:ext cx="2855378" cy="715041"/>
            <a:chOff x="2541377" y="3593356"/>
            <a:chExt cx="620381" cy="715041"/>
          </a:xfrm>
        </p:grpSpPr>
        <p:sp>
          <p:nvSpPr>
            <p:cNvPr id="56" name="Arrow: Right 55">
              <a:extLst>
                <a:ext uri="{FF2B5EF4-FFF2-40B4-BE49-F238E27FC236}">
                  <a16:creationId xmlns:a16="http://schemas.microsoft.com/office/drawing/2014/main" id="{671546DE-030E-40B2-9658-1471962DEB9D}"/>
                </a:ext>
              </a:extLst>
            </p:cNvPr>
            <p:cNvSpPr/>
            <p:nvPr/>
          </p:nvSpPr>
          <p:spPr>
            <a:xfrm>
              <a:off x="2541377" y="3593356"/>
              <a:ext cx="620381"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2DFB028D-2410-4C98-B193-29D92E36AE1A}"/>
                </a:ext>
              </a:extLst>
            </p:cNvPr>
            <p:cNvSpPr/>
            <p:nvPr/>
          </p:nvSpPr>
          <p:spPr>
            <a:xfrm>
              <a:off x="2688894" y="3819725"/>
              <a:ext cx="328752" cy="259836"/>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irect </a:t>
              </a:r>
              <a:r>
                <a:rPr lang="en-US" sz="1100">
                  <a:solidFill>
                    <a:prstClr val="white"/>
                  </a:solidFill>
                  <a:latin typeface="Segoe UI" panose="020B0502040204020203" pitchFamily="34" charset="0"/>
                  <a:cs typeface="Segoe UI" panose="020B0502040204020203" pitchFamily="34" charset="0"/>
                </a:rPr>
                <a:t>Modernization</a:t>
              </a: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8" name="Group 57">
            <a:extLst>
              <a:ext uri="{FF2B5EF4-FFF2-40B4-BE49-F238E27FC236}">
                <a16:creationId xmlns:a16="http://schemas.microsoft.com/office/drawing/2014/main" id="{D28145A8-2BB1-4248-9D7E-28072658845A}"/>
              </a:ext>
            </a:extLst>
          </p:cNvPr>
          <p:cNvGrpSpPr/>
          <p:nvPr userDrawn="1"/>
        </p:nvGrpSpPr>
        <p:grpSpPr>
          <a:xfrm>
            <a:off x="5112291" y="2011391"/>
            <a:ext cx="633815" cy="715041"/>
            <a:chOff x="5052079" y="3593355"/>
            <a:chExt cx="633815" cy="715041"/>
          </a:xfrm>
        </p:grpSpPr>
        <p:sp>
          <p:nvSpPr>
            <p:cNvPr id="59" name="Arrow: Right 58">
              <a:extLst>
                <a:ext uri="{FF2B5EF4-FFF2-40B4-BE49-F238E27FC236}">
                  <a16:creationId xmlns:a16="http://schemas.microsoft.com/office/drawing/2014/main" id="{0157F5DE-8538-4C8A-AA21-EC1AE91884A3}"/>
                </a:ext>
              </a:extLst>
            </p:cNvPr>
            <p:cNvSpPr/>
            <p:nvPr/>
          </p:nvSpPr>
          <p:spPr>
            <a:xfrm>
              <a:off x="5083319" y="3593355"/>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ADC78ABF-3500-45D0-BF3D-42FE91DABAAD}"/>
                </a:ext>
              </a:extLst>
            </p:cNvPr>
            <p:cNvSpPr/>
            <p:nvPr/>
          </p:nvSpPr>
          <p:spPr>
            <a:xfrm>
              <a:off x="5052079" y="3812588"/>
              <a:ext cx="597061"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rich</a:t>
              </a:r>
            </a:p>
          </p:txBody>
        </p:sp>
      </p:grpSp>
      <p:sp>
        <p:nvSpPr>
          <p:cNvPr id="61" name="Rectangle 60">
            <a:extLst>
              <a:ext uri="{FF2B5EF4-FFF2-40B4-BE49-F238E27FC236}">
                <a16:creationId xmlns:a16="http://schemas.microsoft.com/office/drawing/2014/main" id="{A297A5F7-42AB-4FFD-83B7-60DFD952D818}"/>
              </a:ext>
            </a:extLst>
          </p:cNvPr>
          <p:cNvSpPr/>
          <p:nvPr userDrawn="1"/>
        </p:nvSpPr>
        <p:spPr>
          <a:xfrm>
            <a:off x="8479750" y="4574747"/>
            <a:ext cx="954508" cy="421910"/>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rchitect for </a:t>
            </a:r>
          </a:p>
          <a:p>
            <a:pPr marL="0" marR="0" lvl="0" indent="0" algn="ctr" defTabSz="914225" rtl="0" eaLnBrk="1" fontAlgn="auto" latinLnBrk="0" hangingPunct="1">
              <a:lnSpc>
                <a:spcPct val="100000"/>
              </a:lnSpc>
              <a:spcBef>
                <a:spcPts val="0"/>
              </a:spcBef>
              <a:spcAft>
                <a:spcPts val="0"/>
              </a:spcAft>
              <a:buClrTx/>
              <a:buSzTx/>
              <a:buFontTx/>
              <a:buNone/>
              <a:tabLst/>
              <a:defRPr/>
            </a:pPr>
            <a:r>
              <a:rPr lang="en-US" sz="1050">
                <a:solidFill>
                  <a:prstClr val="white"/>
                </a:solidFill>
                <a:latin typeface="Segoe UI" panose="020B0502040204020203" pitchFamily="34" charset="0"/>
                <a:cs typeface="Segoe UI" panose="020B0502040204020203" pitchFamily="34" charset="0"/>
              </a:rPr>
              <a:t>t</a:t>
            </a: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e cloud</a:t>
            </a:r>
          </a:p>
        </p:txBody>
      </p:sp>
      <p:sp>
        <p:nvSpPr>
          <p:cNvPr id="62" name="Rectangle 61">
            <a:extLst>
              <a:ext uri="{FF2B5EF4-FFF2-40B4-BE49-F238E27FC236}">
                <a16:creationId xmlns:a16="http://schemas.microsoft.com/office/drawing/2014/main" id="{5E01CF4A-E709-4AC7-BA5E-8AAE0C9D8846}"/>
              </a:ext>
            </a:extLst>
          </p:cNvPr>
          <p:cNvSpPr/>
          <p:nvPr userDrawn="1"/>
        </p:nvSpPr>
        <p:spPr>
          <a:xfrm>
            <a:off x="5756863" y="3023507"/>
            <a:ext cx="1917444" cy="425709"/>
          </a:xfrm>
          <a:prstGeom prst="rect">
            <a:avLst/>
          </a:prstGeom>
          <a:solidFill>
            <a:srgbClr val="0072C6">
              <a:alpha val="60000"/>
            </a:srgbClr>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63" name="Rectangle 62">
            <a:extLst>
              <a:ext uri="{FF2B5EF4-FFF2-40B4-BE49-F238E27FC236}">
                <a16:creationId xmlns:a16="http://schemas.microsoft.com/office/drawing/2014/main" id="{6B3D8584-FC56-4850-9102-A34DC9E2EF38}"/>
              </a:ext>
            </a:extLst>
          </p:cNvPr>
          <p:cNvSpPr/>
          <p:nvPr userDrawn="1"/>
        </p:nvSpPr>
        <p:spPr>
          <a:xfrm rot="5400000">
            <a:off x="6669817" y="5044556"/>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4EA4E951-8B3D-46D9-BAE1-CC5572E8F909}"/>
              </a:ext>
            </a:extLst>
          </p:cNvPr>
          <p:cNvSpPr/>
          <p:nvPr userDrawn="1"/>
        </p:nvSpPr>
        <p:spPr>
          <a:xfrm rot="5400000">
            <a:off x="4183922" y="5053200"/>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6" name="Oval 65">
            <a:extLst>
              <a:ext uri="{FF2B5EF4-FFF2-40B4-BE49-F238E27FC236}">
                <a16:creationId xmlns:a16="http://schemas.microsoft.com/office/drawing/2014/main" id="{6F9F870B-3BF4-4C76-801E-D783BCFA124E}"/>
              </a:ext>
            </a:extLst>
          </p:cNvPr>
          <p:cNvSpPr/>
          <p:nvPr userDrawn="1"/>
        </p:nvSpPr>
        <p:spPr bwMode="auto">
          <a:xfrm>
            <a:off x="6565544"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2</a:t>
            </a:r>
          </a:p>
        </p:txBody>
      </p:sp>
      <p:sp>
        <p:nvSpPr>
          <p:cNvPr id="67" name="Oval 66">
            <a:extLst>
              <a:ext uri="{FF2B5EF4-FFF2-40B4-BE49-F238E27FC236}">
                <a16:creationId xmlns:a16="http://schemas.microsoft.com/office/drawing/2014/main" id="{036A7DF8-BECF-4E84-BFC4-D3C5B22E33FA}"/>
              </a:ext>
            </a:extLst>
          </p:cNvPr>
          <p:cNvSpPr/>
          <p:nvPr userDrawn="1"/>
        </p:nvSpPr>
        <p:spPr bwMode="auto">
          <a:xfrm>
            <a:off x="9765376" y="789925"/>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3</a:t>
            </a:r>
          </a:p>
        </p:txBody>
      </p:sp>
      <p:sp>
        <p:nvSpPr>
          <p:cNvPr id="68" name="Rectangle 67">
            <a:extLst>
              <a:ext uri="{FF2B5EF4-FFF2-40B4-BE49-F238E27FC236}">
                <a16:creationId xmlns:a16="http://schemas.microsoft.com/office/drawing/2014/main" id="{4104DF98-B6A3-4221-B3FC-A792A7F1ED96}"/>
              </a:ext>
            </a:extLst>
          </p:cNvPr>
          <p:cNvSpPr/>
          <p:nvPr userDrawn="1"/>
        </p:nvSpPr>
        <p:spPr>
          <a:xfrm>
            <a:off x="9970103" y="758798"/>
            <a:ext cx="947696" cy="312073"/>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ptional)</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77" name="Rectangle 76">
            <a:extLst>
              <a:ext uri="{FF2B5EF4-FFF2-40B4-BE49-F238E27FC236}">
                <a16:creationId xmlns:a16="http://schemas.microsoft.com/office/drawing/2014/main" id="{3AE2AD74-B002-4562-8F51-4480EEC082D5}"/>
              </a:ext>
            </a:extLst>
          </p:cNvPr>
          <p:cNvSpPr/>
          <p:nvPr userDrawn="1"/>
        </p:nvSpPr>
        <p:spPr>
          <a:xfrm>
            <a:off x="1305681" y="5160595"/>
            <a:ext cx="7724958" cy="1421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t="-4512"/>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20793"/>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03502"/>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399581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139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
        <p:nvSpPr>
          <p:cNvPr id="84" name="Rectangle 83">
            <a:extLst>
              <a:ext uri="{FF2B5EF4-FFF2-40B4-BE49-F238E27FC236}">
                <a16:creationId xmlns:a16="http://schemas.microsoft.com/office/drawing/2014/main" id="{0A7A2E10-23CB-475F-B7F1-B6587396CE22}"/>
              </a:ext>
            </a:extLst>
          </p:cNvPr>
          <p:cNvSpPr/>
          <p:nvPr userDrawn="1"/>
        </p:nvSpPr>
        <p:spPr>
          <a:xfrm>
            <a:off x="9732586" y="3995864"/>
            <a:ext cx="201830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85" name="Rectangle 84">
            <a:extLst>
              <a:ext uri="{FF2B5EF4-FFF2-40B4-BE49-F238E27FC236}">
                <a16:creationId xmlns:a16="http://schemas.microsoft.com/office/drawing/2014/main" id="{3F6ABBD9-8C25-4412-88AD-0299B432A2BD}"/>
              </a:ext>
            </a:extLst>
          </p:cNvPr>
          <p:cNvSpPr/>
          <p:nvPr userDrawn="1"/>
        </p:nvSpPr>
        <p:spPr>
          <a:xfrm>
            <a:off x="9723751" y="4525932"/>
            <a:ext cx="2027602"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86" name="Rectangle 85">
            <a:extLst>
              <a:ext uri="{FF2B5EF4-FFF2-40B4-BE49-F238E27FC236}">
                <a16:creationId xmlns:a16="http://schemas.microsoft.com/office/drawing/2014/main" id="{C976E0DE-D09F-40E6-9223-13C901FE2CAD}"/>
              </a:ext>
            </a:extLst>
          </p:cNvPr>
          <p:cNvSpPr/>
          <p:nvPr userDrawn="1"/>
        </p:nvSpPr>
        <p:spPr>
          <a:xfrm>
            <a:off x="9732586" y="3517672"/>
            <a:ext cx="2021545"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 No-SQL / Big Data</a:t>
            </a:r>
          </a:p>
        </p:txBody>
      </p:sp>
    </p:spTree>
    <p:extLst>
      <p:ext uri="{BB962C8B-B14F-4D97-AF65-F5344CB8AC3E}">
        <p14:creationId xmlns:p14="http://schemas.microsoft.com/office/powerpoint/2010/main" val="188342345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Blank Accent Color 2">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9270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Fond Blanc">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normAutofit/>
          </a:bodyPr>
          <a:lstStyle>
            <a:lvl1pPr>
              <a:defRPr sz="4800">
                <a:solidFill>
                  <a:sysClr val="windowText" lastClr="000000"/>
                </a:solidFill>
                <a:latin typeface="Corbel" panose="020B0503020204020204" pitchFamily="34" charset="0"/>
              </a:defRPr>
            </a:lvl1pPr>
          </a:lstStyle>
          <a:p>
            <a:r>
              <a:rPr lang="en-US"/>
              <a:t>Click to edit Master title style</a:t>
            </a:r>
          </a:p>
        </p:txBody>
      </p:sp>
      <p:sp>
        <p:nvSpPr>
          <p:cNvPr id="4" name="Content Placeholder 3"/>
          <p:cNvSpPr>
            <a:spLocks noGrp="1"/>
          </p:cNvSpPr>
          <p:nvPr>
            <p:ph sz="quarter" idx="10"/>
          </p:nvPr>
        </p:nvSpPr>
        <p:spPr>
          <a:xfrm>
            <a:off x="269401" y="1262926"/>
            <a:ext cx="11653363" cy="1864934"/>
          </a:xfrm>
        </p:spPr>
        <p:txBody>
          <a:bodyPr/>
          <a:lstStyle>
            <a:lvl1pPr>
              <a:defRPr sz="2548">
                <a:solidFill>
                  <a:sysClr val="windowText" lastClr="000000"/>
                </a:solidFill>
                <a:latin typeface="+mn-lt"/>
              </a:defRPr>
            </a:lvl1pPr>
            <a:lvl2pPr>
              <a:defRPr sz="2352">
                <a:solidFill>
                  <a:sysClr val="windowText" lastClr="000000"/>
                </a:solidFill>
              </a:defRPr>
            </a:lvl2pPr>
            <a:lvl3pPr>
              <a:defRPr sz="1960">
                <a:solidFill>
                  <a:sysClr val="windowText" lastClr="000000"/>
                </a:solidFill>
              </a:defRPr>
            </a:lvl3pPr>
            <a:lvl4pPr>
              <a:defRPr sz="1764">
                <a:solidFill>
                  <a:sysClr val="windowText" lastClr="000000"/>
                </a:solidFill>
              </a:defRPr>
            </a:lvl4pPr>
            <a:lvl5pPr>
              <a:defRPr sz="1764">
                <a:solidFill>
                  <a:sysClr val="windowText" lastClr="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27074" y="6265188"/>
            <a:ext cx="1887055" cy="406137"/>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rgbClr val="002060"/>
                </a:solidFill>
                <a:effectLst/>
                <a:uLnTx/>
                <a:uFillTx/>
                <a:latin typeface="Calibri" panose="020F0502020204030204"/>
                <a:ea typeface="+mn-ea"/>
                <a:cs typeface="+mn-cs"/>
              </a:rPr>
              <a:t>Microsoft Azure</a:t>
            </a:r>
          </a:p>
        </p:txBody>
      </p:sp>
      <p:sp>
        <p:nvSpPr>
          <p:cNvPr id="6" name="Slide Number Placeholder 3"/>
          <p:cNvSpPr>
            <a:spLocks noGrp="1"/>
          </p:cNvSpPr>
          <p:nvPr>
            <p:ph type="sldNum" sz="quarter" idx="12"/>
          </p:nvPr>
        </p:nvSpPr>
        <p:spPr>
          <a:xfrm>
            <a:off x="9145508" y="6282630"/>
            <a:ext cx="2743200" cy="365125"/>
          </a:xfrm>
          <a:prstGeom prst="rect">
            <a:avLst/>
          </a:prstGeom>
        </p:spPr>
        <p:txBody>
          <a:bodyPr/>
          <a:lstStyle>
            <a:lvl1pPr>
              <a:defRPr>
                <a:solidFill>
                  <a:srgbClr val="002060"/>
                </a:solidFill>
              </a:defRPr>
            </a:lvl1pPr>
          </a:lstStyle>
          <a:p>
            <a:pPr defTabSz="914225"/>
            <a:fld id="{0A164282-434E-41D4-9582-783D542A7B68}" type="slidenum">
              <a:rPr lang="en-US" smtClean="0"/>
              <a:pPr defTabSz="914225"/>
              <a:t>‹#›</a:t>
            </a:fld>
            <a:endParaRPr lang="en-US"/>
          </a:p>
        </p:txBody>
      </p:sp>
    </p:spTree>
    <p:extLst>
      <p:ext uri="{BB962C8B-B14F-4D97-AF65-F5344CB8AC3E}">
        <p14:creationId xmlns:p14="http://schemas.microsoft.com/office/powerpoint/2010/main" val="2380468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2438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White Background">
    <p:spTree>
      <p:nvGrpSpPr>
        <p:cNvPr id="1" name=""/>
        <p:cNvGrpSpPr/>
        <p:nvPr/>
      </p:nvGrpSpPr>
      <p:grpSpPr>
        <a:xfrm>
          <a:off x="0" y="0"/>
          <a:ext cx="0" cy="0"/>
          <a:chOff x="0" y="0"/>
          <a:chExt cx="0" cy="0"/>
        </a:xfrm>
      </p:grpSpPr>
      <p:sp>
        <p:nvSpPr>
          <p:cNvPr id="7" name="Title 2"/>
          <p:cNvSpPr>
            <a:spLocks noGrp="1"/>
          </p:cNvSpPr>
          <p:nvPr>
            <p:ph type="title"/>
          </p:nvPr>
        </p:nvSpPr>
        <p:spPr>
          <a:xfrm>
            <a:off x="538477" y="286381"/>
            <a:ext cx="11653523" cy="927940"/>
          </a:xfrm>
          <a:prstGeom prst="rect">
            <a:avLst/>
          </a:prstGeom>
        </p:spPr>
        <p:txBody>
          <a:bodyPr>
            <a:normAutofit/>
          </a:bodyPr>
          <a:lstStyle>
            <a:lvl1pPr algn="l">
              <a:defRPr sz="4800" b="0">
                <a:solidFill>
                  <a:srgbClr val="505050"/>
                </a:solidFill>
                <a:latin typeface="Segoe UI Light" panose="020B0502040204020203" pitchFamily="34" charset="0"/>
              </a:defRPr>
            </a:lvl1pPr>
          </a:lstStyle>
          <a:p>
            <a:r>
              <a:rPr lang="en-US"/>
              <a:t>Click to edit Master title style</a:t>
            </a:r>
          </a:p>
        </p:txBody>
      </p:sp>
      <p:sp>
        <p:nvSpPr>
          <p:cNvPr id="4" name="Footer Placeholder 2"/>
          <p:cNvSpPr>
            <a:spLocks noGrp="1"/>
          </p:cNvSpPr>
          <p:nvPr>
            <p:ph type="ftr" sz="quarter" idx="14"/>
          </p:nvPr>
        </p:nvSpPr>
        <p:spPr>
          <a:xfrm>
            <a:off x="4038600" y="6356351"/>
            <a:ext cx="4114800" cy="365125"/>
          </a:xfrm>
          <a:prstGeom prst="rect">
            <a:avLst/>
          </a:prstGeom>
        </p:spPr>
        <p:txBody>
          <a:bodyPr/>
          <a:lstStyle>
            <a:lvl1pPr fontAlgn="base">
              <a:spcBef>
                <a:spcPct val="0"/>
              </a:spcBef>
              <a:spcAft>
                <a:spcPct val="0"/>
              </a:spcAft>
              <a:defRPr>
                <a:solidFill>
                  <a:srgbClr val="505050"/>
                </a:solidFill>
              </a:defRPr>
            </a:lvl1pPr>
          </a:lstStyle>
          <a:p>
            <a:pPr>
              <a:defRPr/>
            </a:pPr>
            <a:endParaRPr/>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endParaRPr lang="en-US"/>
          </a:p>
        </p:txBody>
      </p:sp>
    </p:spTree>
    <p:extLst>
      <p:ext uri="{BB962C8B-B14F-4D97-AF65-F5344CB8AC3E}">
        <p14:creationId xmlns:p14="http://schemas.microsoft.com/office/powerpoint/2010/main" val="113880856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051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2407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57320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275515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499774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878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8"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2" y="457202"/>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2"/>
            <a:ext cx="11277600" cy="513510"/>
          </a:xfrm>
        </p:spPr>
        <p:txBody>
          <a:bodyPr/>
          <a:lstStyle>
            <a:lvl1pPr marL="0" indent="0" algn="l">
              <a:buNone/>
              <a:defRPr sz="2400" b="1" i="0" spc="-60" baseline="0">
                <a:latin typeface="Segoe UI Semibold" charset="0"/>
                <a:ea typeface="Segoe UI Semibold" charset="0"/>
                <a:cs typeface="Segoe UI Semibold" charset="0"/>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8"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2" y="1866902"/>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555654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nect 2017 Opening Slide_ON-SIT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9"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5"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0" y="6268081"/>
            <a:ext cx="1402823" cy="300247"/>
          </a:xfrm>
          <a:prstGeom prst="rect">
            <a:avLst/>
          </a:prstGeom>
        </p:spPr>
      </p:pic>
    </p:spTree>
    <p:extLst>
      <p:ext uri="{BB962C8B-B14F-4D97-AF65-F5344CB8AC3E}">
        <p14:creationId xmlns:p14="http://schemas.microsoft.com/office/powerpoint/2010/main" val="4174058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5556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11675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534563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574961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324901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908619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751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338436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409243370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2707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55252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698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11590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6316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17818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70403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96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667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213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123035064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345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188391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37184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88331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992213"/>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2" y="965108"/>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3">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4512"/>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314290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3">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1114"/>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94405" y="1032094"/>
            <a:ext cx="2281395"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36984"/>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605198"/>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FC8B0364-2D4C-41CE-94D3-C88873CDE71A}"/>
              </a:ext>
            </a:extLst>
          </p:cNvPr>
          <p:cNvSpPr/>
          <p:nvPr userDrawn="1"/>
        </p:nvSpPr>
        <p:spPr>
          <a:xfrm>
            <a:off x="3182000" y="2544925"/>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4512"/>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41341"/>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24050"/>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4016365"/>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862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Tree>
    <p:extLst>
      <p:ext uri="{BB962C8B-B14F-4D97-AF65-F5344CB8AC3E}">
        <p14:creationId xmlns:p14="http://schemas.microsoft.com/office/powerpoint/2010/main" val="141514403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9" name="Rectangle 8">
            <a:extLst>
              <a:ext uri="{FF2B5EF4-FFF2-40B4-BE49-F238E27FC236}">
                <a16:creationId xmlns:a16="http://schemas.microsoft.com/office/drawing/2014/main" id="{A506988D-A2D8-4E8D-9482-CFC834EB3A0D}"/>
              </a:ext>
            </a:extLst>
          </p:cNvPr>
          <p:cNvSpPr/>
          <p:nvPr userDrawn="1"/>
        </p:nvSpPr>
        <p:spPr>
          <a:xfrm>
            <a:off x="5482526"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0" name="Rectangle 9">
            <a:extLst>
              <a:ext uri="{FF2B5EF4-FFF2-40B4-BE49-F238E27FC236}">
                <a16:creationId xmlns:a16="http://schemas.microsoft.com/office/drawing/2014/main" id="{B6CD75E5-030D-48A9-A033-022F1C5F0FE0}"/>
              </a:ext>
            </a:extLst>
          </p:cNvPr>
          <p:cNvSpPr/>
          <p:nvPr userDrawn="1"/>
        </p:nvSpPr>
        <p:spPr>
          <a:xfrm>
            <a:off x="5546839" y="1043777"/>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Ready</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14" name="Rectangle 13">
            <a:extLst>
              <a:ext uri="{FF2B5EF4-FFF2-40B4-BE49-F238E27FC236}">
                <a16:creationId xmlns:a16="http://schemas.microsoft.com/office/drawing/2014/main" id="{B615E164-25E3-484A-B9E1-14D0B627F558}"/>
              </a:ext>
            </a:extLst>
          </p:cNvPr>
          <p:cNvSpPr/>
          <p:nvPr userDrawn="1"/>
        </p:nvSpPr>
        <p:spPr>
          <a:xfrm>
            <a:off x="5762485" y="253160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 name="Rectangle 14">
            <a:extLst>
              <a:ext uri="{FF2B5EF4-FFF2-40B4-BE49-F238E27FC236}">
                <a16:creationId xmlns:a16="http://schemas.microsoft.com/office/drawing/2014/main" id="{0A210C0F-1689-4B68-B31C-D496F3040BAE}"/>
              </a:ext>
            </a:extLst>
          </p:cNvPr>
          <p:cNvSpPr/>
          <p:nvPr userDrawn="1"/>
        </p:nvSpPr>
        <p:spPr>
          <a:xfrm>
            <a:off x="5762485" y="2029451"/>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 name="Rectangle 15">
            <a:extLst>
              <a:ext uri="{FF2B5EF4-FFF2-40B4-BE49-F238E27FC236}">
                <a16:creationId xmlns:a16="http://schemas.microsoft.com/office/drawing/2014/main" id="{034FFAC5-A80C-4CFA-8B03-0892CBE4A7ED}"/>
              </a:ext>
            </a:extLst>
          </p:cNvPr>
          <p:cNvSpPr/>
          <p:nvPr userDrawn="1"/>
        </p:nvSpPr>
        <p:spPr bwMode="auto">
          <a:xfrm>
            <a:off x="5762485" y="159633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9" name="Picture 18">
            <a:extLst>
              <a:ext uri="{FF2B5EF4-FFF2-40B4-BE49-F238E27FC236}">
                <a16:creationId xmlns:a16="http://schemas.microsoft.com/office/drawing/2014/main" id="{B7B3642C-D9DF-4E86-88D9-B7CF7B7383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6795" y="6091720"/>
            <a:ext cx="594649" cy="594649"/>
          </a:xfrm>
          <a:prstGeom prst="rect">
            <a:avLst/>
          </a:prstGeom>
        </p:spPr>
      </p:pic>
      <p:pic>
        <p:nvPicPr>
          <p:cNvPr id="20" name="Picture 8" descr="Image result for .NET">
            <a:extLst>
              <a:ext uri="{FF2B5EF4-FFF2-40B4-BE49-F238E27FC236}">
                <a16:creationId xmlns:a16="http://schemas.microsoft.com/office/drawing/2014/main" id="{7D026EAB-41AE-48D7-A705-4B8E3C4D44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29507" y="5411414"/>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917F39D8-D256-4D75-80E0-8AD704190EDB}"/>
              </a:ext>
            </a:extLst>
          </p:cNvPr>
          <p:cNvSpPr/>
          <p:nvPr userDrawn="1"/>
        </p:nvSpPr>
        <p:spPr>
          <a:xfrm>
            <a:off x="5765696" y="4003836"/>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9" name="Rectangle 28">
            <a:extLst>
              <a:ext uri="{FF2B5EF4-FFF2-40B4-BE49-F238E27FC236}">
                <a16:creationId xmlns:a16="http://schemas.microsoft.com/office/drawing/2014/main" id="{83358433-DF64-42FA-859C-D5F044BB9EEF}"/>
              </a:ext>
            </a:extLst>
          </p:cNvPr>
          <p:cNvSpPr/>
          <p:nvPr userDrawn="1"/>
        </p:nvSpPr>
        <p:spPr>
          <a:xfrm>
            <a:off x="5756863" y="453390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4">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Image result for Azure icon">
            <a:extLst>
              <a:ext uri="{FF2B5EF4-FFF2-40B4-BE49-F238E27FC236}">
                <a16:creationId xmlns:a16="http://schemas.microsoft.com/office/drawing/2014/main" id="{818A6858-48C7-40AE-96E5-815E3015AD1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50026"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66354"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16436"/>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FC8B0364-2D4C-41CE-94D3-C88873CDE71A}"/>
              </a:ext>
            </a:extLst>
          </p:cNvPr>
          <p:cNvSpPr/>
          <p:nvPr userDrawn="1"/>
        </p:nvSpPr>
        <p:spPr>
          <a:xfrm>
            <a:off x="3194846" y="2524377"/>
            <a:ext cx="1904597"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54" name="Rectangle 53">
            <a:extLst>
              <a:ext uri="{FF2B5EF4-FFF2-40B4-BE49-F238E27FC236}">
                <a16:creationId xmlns:a16="http://schemas.microsoft.com/office/drawing/2014/main" id="{DB6F5905-7F8D-4BDE-A04A-58B492D2F930}"/>
              </a:ext>
            </a:extLst>
          </p:cNvPr>
          <p:cNvSpPr/>
          <p:nvPr userDrawn="1"/>
        </p:nvSpPr>
        <p:spPr>
          <a:xfrm>
            <a:off x="5765697" y="3525644"/>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SQL Database</a:t>
            </a:r>
          </a:p>
        </p:txBody>
      </p:sp>
      <p:grpSp>
        <p:nvGrpSpPr>
          <p:cNvPr id="55" name="Group 54">
            <a:extLst>
              <a:ext uri="{FF2B5EF4-FFF2-40B4-BE49-F238E27FC236}">
                <a16:creationId xmlns:a16="http://schemas.microsoft.com/office/drawing/2014/main" id="{917815EA-10AF-477B-B272-E520939F415A}"/>
              </a:ext>
            </a:extLst>
          </p:cNvPr>
          <p:cNvGrpSpPr/>
          <p:nvPr userDrawn="1"/>
        </p:nvGrpSpPr>
        <p:grpSpPr>
          <a:xfrm>
            <a:off x="2692403" y="4420825"/>
            <a:ext cx="2855378" cy="715041"/>
            <a:chOff x="2541377" y="3593356"/>
            <a:chExt cx="620381" cy="715041"/>
          </a:xfrm>
        </p:grpSpPr>
        <p:sp>
          <p:nvSpPr>
            <p:cNvPr id="56" name="Arrow: Right 55">
              <a:extLst>
                <a:ext uri="{FF2B5EF4-FFF2-40B4-BE49-F238E27FC236}">
                  <a16:creationId xmlns:a16="http://schemas.microsoft.com/office/drawing/2014/main" id="{671546DE-030E-40B2-9658-1471962DEB9D}"/>
                </a:ext>
              </a:extLst>
            </p:cNvPr>
            <p:cNvSpPr/>
            <p:nvPr/>
          </p:nvSpPr>
          <p:spPr>
            <a:xfrm>
              <a:off x="2541377" y="3593356"/>
              <a:ext cx="620381"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2DFB028D-2410-4C98-B193-29D92E36AE1A}"/>
                </a:ext>
              </a:extLst>
            </p:cNvPr>
            <p:cNvSpPr/>
            <p:nvPr/>
          </p:nvSpPr>
          <p:spPr>
            <a:xfrm>
              <a:off x="2688894" y="3819725"/>
              <a:ext cx="328752" cy="259836"/>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irect </a:t>
              </a:r>
              <a:r>
                <a:rPr lang="en-US" sz="1100">
                  <a:solidFill>
                    <a:prstClr val="white"/>
                  </a:solidFill>
                  <a:latin typeface="Segoe UI" panose="020B0502040204020203" pitchFamily="34" charset="0"/>
                  <a:cs typeface="Segoe UI" panose="020B0502040204020203" pitchFamily="34" charset="0"/>
                </a:rPr>
                <a:t>Modernization</a:t>
              </a: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8" name="Group 57">
            <a:extLst>
              <a:ext uri="{FF2B5EF4-FFF2-40B4-BE49-F238E27FC236}">
                <a16:creationId xmlns:a16="http://schemas.microsoft.com/office/drawing/2014/main" id="{D28145A8-2BB1-4248-9D7E-28072658845A}"/>
              </a:ext>
            </a:extLst>
          </p:cNvPr>
          <p:cNvGrpSpPr/>
          <p:nvPr userDrawn="1"/>
        </p:nvGrpSpPr>
        <p:grpSpPr>
          <a:xfrm>
            <a:off x="5112291" y="2011391"/>
            <a:ext cx="633815" cy="715041"/>
            <a:chOff x="5052079" y="3593355"/>
            <a:chExt cx="633815" cy="715041"/>
          </a:xfrm>
        </p:grpSpPr>
        <p:sp>
          <p:nvSpPr>
            <p:cNvPr id="59" name="Arrow: Right 58">
              <a:extLst>
                <a:ext uri="{FF2B5EF4-FFF2-40B4-BE49-F238E27FC236}">
                  <a16:creationId xmlns:a16="http://schemas.microsoft.com/office/drawing/2014/main" id="{0157F5DE-8538-4C8A-AA21-EC1AE91884A3}"/>
                </a:ext>
              </a:extLst>
            </p:cNvPr>
            <p:cNvSpPr/>
            <p:nvPr/>
          </p:nvSpPr>
          <p:spPr>
            <a:xfrm>
              <a:off x="5083319" y="3593355"/>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ADC78ABF-3500-45D0-BF3D-42FE91DABAAD}"/>
                </a:ext>
              </a:extLst>
            </p:cNvPr>
            <p:cNvSpPr/>
            <p:nvPr/>
          </p:nvSpPr>
          <p:spPr>
            <a:xfrm>
              <a:off x="5052079" y="3812588"/>
              <a:ext cx="597061"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rich</a:t>
              </a:r>
            </a:p>
          </p:txBody>
        </p:sp>
      </p:grpSp>
      <p:sp>
        <p:nvSpPr>
          <p:cNvPr id="62" name="Rectangle 61">
            <a:extLst>
              <a:ext uri="{FF2B5EF4-FFF2-40B4-BE49-F238E27FC236}">
                <a16:creationId xmlns:a16="http://schemas.microsoft.com/office/drawing/2014/main" id="{5E01CF4A-E709-4AC7-BA5E-8AAE0C9D8846}"/>
              </a:ext>
            </a:extLst>
          </p:cNvPr>
          <p:cNvSpPr/>
          <p:nvPr userDrawn="1"/>
        </p:nvSpPr>
        <p:spPr>
          <a:xfrm>
            <a:off x="5756863" y="3030737"/>
            <a:ext cx="1917444" cy="425709"/>
          </a:xfrm>
          <a:prstGeom prst="rect">
            <a:avLst/>
          </a:prstGeom>
          <a:solidFill>
            <a:srgbClr val="0072C6">
              <a:alpha val="60000"/>
            </a:srgbClr>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6" name="Oval 65">
            <a:extLst>
              <a:ext uri="{FF2B5EF4-FFF2-40B4-BE49-F238E27FC236}">
                <a16:creationId xmlns:a16="http://schemas.microsoft.com/office/drawing/2014/main" id="{6F9F870B-3BF4-4C76-801E-D783BCFA124E}"/>
              </a:ext>
            </a:extLst>
          </p:cNvPr>
          <p:cNvSpPr/>
          <p:nvPr userDrawn="1"/>
        </p:nvSpPr>
        <p:spPr bwMode="auto">
          <a:xfrm>
            <a:off x="6565544"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2</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4512"/>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20793"/>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03502"/>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399581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139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Tree>
    <p:extLst>
      <p:ext uri="{BB962C8B-B14F-4D97-AF65-F5344CB8AC3E}">
        <p14:creationId xmlns:p14="http://schemas.microsoft.com/office/powerpoint/2010/main" val="306378096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962695C-2185-4E05-94E6-186801CAC439}"/>
              </a:ext>
            </a:extLst>
          </p:cNvPr>
          <p:cNvSpPr>
            <a:spLocks noGrp="1"/>
          </p:cNvSpPr>
          <p:nvPr>
            <p:ph type="sldNum" sz="quarter" idx="12"/>
          </p:nvPr>
        </p:nvSpPr>
        <p:spPr>
          <a:xfrm>
            <a:off x="8610600" y="6356351"/>
            <a:ext cx="2743200" cy="365125"/>
          </a:xfrm>
          <a:prstGeom prst="rect">
            <a:avLst/>
          </a:prstGeom>
        </p:spPr>
        <p:txBody>
          <a:bodyPr/>
          <a:lstStyle/>
          <a:p>
            <a:fld id="{27D3882F-12A7-44E5-A720-F0805A4EC1C9}" type="slidenum">
              <a:rPr lang="en-US" smtClean="0"/>
              <a:t>‹#›</a:t>
            </a:fld>
            <a:endParaRPr lang="en-US"/>
          </a:p>
        </p:txBody>
      </p:sp>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9" name="Rectangle 8">
            <a:extLst>
              <a:ext uri="{FF2B5EF4-FFF2-40B4-BE49-F238E27FC236}">
                <a16:creationId xmlns:a16="http://schemas.microsoft.com/office/drawing/2014/main" id="{A506988D-A2D8-4E8D-9482-CFC834EB3A0D}"/>
              </a:ext>
            </a:extLst>
          </p:cNvPr>
          <p:cNvSpPr/>
          <p:nvPr userDrawn="1"/>
        </p:nvSpPr>
        <p:spPr>
          <a:xfrm>
            <a:off x="5482525" y="109382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0" name="Rectangle 9">
            <a:extLst>
              <a:ext uri="{FF2B5EF4-FFF2-40B4-BE49-F238E27FC236}">
                <a16:creationId xmlns:a16="http://schemas.microsoft.com/office/drawing/2014/main" id="{B6CD75E5-030D-48A9-A033-022F1C5F0FE0}"/>
              </a:ext>
            </a:extLst>
          </p:cNvPr>
          <p:cNvSpPr/>
          <p:nvPr userDrawn="1"/>
        </p:nvSpPr>
        <p:spPr>
          <a:xfrm>
            <a:off x="5546839"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Ready</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11" name="Rectangle 10">
            <a:extLst>
              <a:ext uri="{FF2B5EF4-FFF2-40B4-BE49-F238E27FC236}">
                <a16:creationId xmlns:a16="http://schemas.microsoft.com/office/drawing/2014/main" id="{345D021F-39FF-488E-BB22-E2780713C68D}"/>
              </a:ext>
            </a:extLst>
          </p:cNvPr>
          <p:cNvSpPr/>
          <p:nvPr userDrawn="1"/>
        </p:nvSpPr>
        <p:spPr>
          <a:xfrm>
            <a:off x="8063011" y="1069560"/>
            <a:ext cx="3848417"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2" name="Rectangle 11">
            <a:extLst>
              <a:ext uri="{FF2B5EF4-FFF2-40B4-BE49-F238E27FC236}">
                <a16:creationId xmlns:a16="http://schemas.microsoft.com/office/drawing/2014/main" id="{CD172C72-9723-4BCD-82A3-384AA5762EC2}"/>
              </a:ext>
            </a:extLst>
          </p:cNvPr>
          <p:cNvSpPr/>
          <p:nvPr userDrawn="1"/>
        </p:nvSpPr>
        <p:spPr>
          <a:xfrm>
            <a:off x="8558941" y="1029738"/>
            <a:ext cx="3003323"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Native</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Microservices apps (Cloud)</a:t>
            </a:r>
          </a:p>
        </p:txBody>
      </p:sp>
      <p:sp>
        <p:nvSpPr>
          <p:cNvPr id="14" name="Rectangle 13">
            <a:extLst>
              <a:ext uri="{FF2B5EF4-FFF2-40B4-BE49-F238E27FC236}">
                <a16:creationId xmlns:a16="http://schemas.microsoft.com/office/drawing/2014/main" id="{B615E164-25E3-484A-B9E1-14D0B627F558}"/>
              </a:ext>
            </a:extLst>
          </p:cNvPr>
          <p:cNvSpPr/>
          <p:nvPr userDrawn="1"/>
        </p:nvSpPr>
        <p:spPr>
          <a:xfrm>
            <a:off x="5762485" y="252437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 name="Rectangle 14">
            <a:extLst>
              <a:ext uri="{FF2B5EF4-FFF2-40B4-BE49-F238E27FC236}">
                <a16:creationId xmlns:a16="http://schemas.microsoft.com/office/drawing/2014/main" id="{0A210C0F-1689-4B68-B31C-D496F3040BAE}"/>
              </a:ext>
            </a:extLst>
          </p:cNvPr>
          <p:cNvSpPr/>
          <p:nvPr userDrawn="1"/>
        </p:nvSpPr>
        <p:spPr>
          <a:xfrm>
            <a:off x="5762485" y="2022221"/>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 name="Rectangle 15">
            <a:extLst>
              <a:ext uri="{FF2B5EF4-FFF2-40B4-BE49-F238E27FC236}">
                <a16:creationId xmlns:a16="http://schemas.microsoft.com/office/drawing/2014/main" id="{034FFAC5-A80C-4CFA-8B03-0892CBE4A7ED}"/>
              </a:ext>
            </a:extLst>
          </p:cNvPr>
          <p:cNvSpPr/>
          <p:nvPr userDrawn="1"/>
        </p:nvSpPr>
        <p:spPr bwMode="auto">
          <a:xfrm>
            <a:off x="5762485"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8" name="Rectangle 17">
            <a:extLst>
              <a:ext uri="{FF2B5EF4-FFF2-40B4-BE49-F238E27FC236}">
                <a16:creationId xmlns:a16="http://schemas.microsoft.com/office/drawing/2014/main" id="{57C657C1-4F3C-4586-BDF4-51B96D4D881D}"/>
              </a:ext>
            </a:extLst>
          </p:cNvPr>
          <p:cNvSpPr/>
          <p:nvPr userDrawn="1"/>
        </p:nvSpPr>
        <p:spPr bwMode="auto">
          <a:xfrm>
            <a:off x="8269611" y="1583920"/>
            <a:ext cx="347263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icroservices</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9" name="Picture 18">
            <a:extLst>
              <a:ext uri="{FF2B5EF4-FFF2-40B4-BE49-F238E27FC236}">
                <a16:creationId xmlns:a16="http://schemas.microsoft.com/office/drawing/2014/main" id="{B7B3642C-D9DF-4E86-88D9-B7CF7B7383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6795" y="6091720"/>
            <a:ext cx="594649" cy="594649"/>
          </a:xfrm>
          <a:prstGeom prst="rect">
            <a:avLst/>
          </a:prstGeom>
        </p:spPr>
      </p:pic>
      <p:pic>
        <p:nvPicPr>
          <p:cNvPr id="20" name="Picture 8" descr="Image result for .NET">
            <a:extLst>
              <a:ext uri="{FF2B5EF4-FFF2-40B4-BE49-F238E27FC236}">
                <a16:creationId xmlns:a16="http://schemas.microsoft.com/office/drawing/2014/main" id="{7D026EAB-41AE-48D7-A705-4B8E3C4D44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29507" y="5411414"/>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8CE5281-258D-44EF-A65D-160E3634EC51}"/>
              </a:ext>
            </a:extLst>
          </p:cNvPr>
          <p:cNvSpPr/>
          <p:nvPr userDrawn="1"/>
        </p:nvSpPr>
        <p:spPr>
          <a:xfrm>
            <a:off x="9723751" y="2022221"/>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Service Fabric</a:t>
            </a:r>
          </a:p>
        </p:txBody>
      </p:sp>
      <p:sp>
        <p:nvSpPr>
          <p:cNvPr id="22" name="Rectangle 21">
            <a:extLst>
              <a:ext uri="{FF2B5EF4-FFF2-40B4-BE49-F238E27FC236}">
                <a16:creationId xmlns:a16="http://schemas.microsoft.com/office/drawing/2014/main" id="{E3080370-40FF-4C67-89FC-D6A4C509CB2D}"/>
              </a:ext>
            </a:extLst>
          </p:cNvPr>
          <p:cNvSpPr/>
          <p:nvPr userDrawn="1"/>
        </p:nvSpPr>
        <p:spPr>
          <a:xfrm>
            <a:off x="9723751" y="2517527"/>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ACS </a:t>
            </a:r>
            <a:r>
              <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t>
            </a:r>
            <a:r>
              <a:rPr kumimoji="0" lang="en-US" sz="8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Kubernetes, DC/OS, Swar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23" name="Rectangle 22">
            <a:extLst>
              <a:ext uri="{FF2B5EF4-FFF2-40B4-BE49-F238E27FC236}">
                <a16:creationId xmlns:a16="http://schemas.microsoft.com/office/drawing/2014/main" id="{126049B9-96B9-407A-9DE8-8AFEB876120C}"/>
              </a:ext>
            </a:extLst>
          </p:cNvPr>
          <p:cNvSpPr/>
          <p:nvPr userDrawn="1"/>
        </p:nvSpPr>
        <p:spPr>
          <a:xfrm>
            <a:off x="9723751" y="3013942"/>
            <a:ext cx="2027138" cy="435273"/>
          </a:xfrm>
          <a:prstGeom prst="rect">
            <a:avLst/>
          </a:prstGeom>
          <a:solidFill>
            <a:srgbClr val="589CCF"/>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Extended with serverless services (Azure Functions)</a:t>
            </a:r>
          </a:p>
        </p:txBody>
      </p:sp>
      <p:grpSp>
        <p:nvGrpSpPr>
          <p:cNvPr id="24" name="Group 23">
            <a:extLst>
              <a:ext uri="{FF2B5EF4-FFF2-40B4-BE49-F238E27FC236}">
                <a16:creationId xmlns:a16="http://schemas.microsoft.com/office/drawing/2014/main" id="{0B3AB4A4-801F-4B7B-82BA-490349E14B1C}"/>
              </a:ext>
            </a:extLst>
          </p:cNvPr>
          <p:cNvGrpSpPr/>
          <p:nvPr userDrawn="1"/>
        </p:nvGrpSpPr>
        <p:grpSpPr>
          <a:xfrm>
            <a:off x="9012496" y="5303933"/>
            <a:ext cx="2001755" cy="726482"/>
            <a:chOff x="8657058" y="4912759"/>
            <a:chExt cx="2001755" cy="726482"/>
          </a:xfrm>
        </p:grpSpPr>
        <p:cxnSp>
          <p:nvCxnSpPr>
            <p:cNvPr id="25" name="Straight Connector 24">
              <a:extLst>
                <a:ext uri="{FF2B5EF4-FFF2-40B4-BE49-F238E27FC236}">
                  <a16:creationId xmlns:a16="http://schemas.microsoft.com/office/drawing/2014/main" id="{863CC594-6D63-44CB-BD66-D5DAD5813CD0}"/>
                </a:ext>
              </a:extLst>
            </p:cNvPr>
            <p:cNvCxnSpPr>
              <a:cxnSpLocks/>
            </p:cNvCxnSpPr>
            <p:nvPr/>
          </p:nvCxnSpPr>
          <p:spPr>
            <a:xfrm>
              <a:off x="8657058" y="5639241"/>
              <a:ext cx="20017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10B9CEDA-6352-4CA7-8B18-A0633B707661}"/>
                </a:ext>
              </a:extLst>
            </p:cNvPr>
            <p:cNvSpPr/>
            <p:nvPr/>
          </p:nvSpPr>
          <p:spPr>
            <a:xfrm>
              <a:off x="9325287" y="4967270"/>
              <a:ext cx="615820" cy="60676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 name="Picture 2" descr="Image result for &quot;.NET Core&quot; logo">
              <a:extLst>
                <a:ext uri="{FF2B5EF4-FFF2-40B4-BE49-F238E27FC236}">
                  <a16:creationId xmlns:a16="http://schemas.microsoft.com/office/drawing/2014/main" id="{0B8612E1-50B1-4309-9446-EC7F30151807}"/>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78437" y="4912759"/>
              <a:ext cx="688348" cy="688348"/>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Rectangle 27">
            <a:extLst>
              <a:ext uri="{FF2B5EF4-FFF2-40B4-BE49-F238E27FC236}">
                <a16:creationId xmlns:a16="http://schemas.microsoft.com/office/drawing/2014/main" id="{917F39D8-D256-4D75-80E0-8AD704190EDB}"/>
              </a:ext>
            </a:extLst>
          </p:cNvPr>
          <p:cNvSpPr/>
          <p:nvPr userDrawn="1"/>
        </p:nvSpPr>
        <p:spPr>
          <a:xfrm>
            <a:off x="5765696" y="3996606"/>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9" name="Rectangle 28">
            <a:extLst>
              <a:ext uri="{FF2B5EF4-FFF2-40B4-BE49-F238E27FC236}">
                <a16:creationId xmlns:a16="http://schemas.microsoft.com/office/drawing/2014/main" id="{83358433-DF64-42FA-859C-D5F044BB9EEF}"/>
              </a:ext>
            </a:extLst>
          </p:cNvPr>
          <p:cNvSpPr/>
          <p:nvPr userDrawn="1"/>
        </p:nvSpPr>
        <p:spPr>
          <a:xfrm>
            <a:off x="5756863" y="452667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32" name="Rectangle 31">
            <a:extLst>
              <a:ext uri="{FF2B5EF4-FFF2-40B4-BE49-F238E27FC236}">
                <a16:creationId xmlns:a16="http://schemas.microsoft.com/office/drawing/2014/main" id="{C3CC7416-E901-424E-9D4C-B3FFB1A38496}"/>
              </a:ext>
            </a:extLst>
          </p:cNvPr>
          <p:cNvSpPr/>
          <p:nvPr userDrawn="1"/>
        </p:nvSpPr>
        <p:spPr>
          <a:xfrm>
            <a:off x="8269611" y="2022221"/>
            <a:ext cx="1369385" cy="2955779"/>
          </a:xfrm>
          <a:prstGeom prst="rect">
            <a:avLst/>
          </a:prstGeom>
          <a:solidFill>
            <a:srgbClr val="5BC165"/>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 Core</a:t>
            </a:r>
          </a:p>
        </p:txBody>
      </p:sp>
      <p:sp>
        <p:nvSpPr>
          <p:cNvPr id="33" name="Rectangle 32">
            <a:extLst>
              <a:ext uri="{FF2B5EF4-FFF2-40B4-BE49-F238E27FC236}">
                <a16:creationId xmlns:a16="http://schemas.microsoft.com/office/drawing/2014/main" id="{A2CF7C07-B060-4E6A-AFA9-02F7429D1703}"/>
              </a:ext>
            </a:extLst>
          </p:cNvPr>
          <p:cNvSpPr/>
          <p:nvPr userDrawn="1"/>
        </p:nvSpPr>
        <p:spPr bwMode="auto">
          <a:xfrm>
            <a:off x="8433431" y="2611923"/>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34" name="Rectangle 33">
            <a:extLst>
              <a:ext uri="{FF2B5EF4-FFF2-40B4-BE49-F238E27FC236}">
                <a16:creationId xmlns:a16="http://schemas.microsoft.com/office/drawing/2014/main" id="{C022FF5D-205D-465C-AB92-241201A1BB9D}"/>
              </a:ext>
            </a:extLst>
          </p:cNvPr>
          <p:cNvSpPr/>
          <p:nvPr userDrawn="1"/>
        </p:nvSpPr>
        <p:spPr bwMode="auto">
          <a:xfrm>
            <a:off x="8433431" y="3025723"/>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35" name="Rectangle 34">
            <a:extLst>
              <a:ext uri="{FF2B5EF4-FFF2-40B4-BE49-F238E27FC236}">
                <a16:creationId xmlns:a16="http://schemas.microsoft.com/office/drawing/2014/main" id="{9B24086A-6FE7-495A-A05D-9114F72991C3}"/>
              </a:ext>
            </a:extLst>
          </p:cNvPr>
          <p:cNvSpPr/>
          <p:nvPr userDrawn="1"/>
        </p:nvSpPr>
        <p:spPr bwMode="auto">
          <a:xfrm>
            <a:off x="8433431" y="3443740"/>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 (*)</a:t>
            </a:r>
          </a:p>
        </p:txBody>
      </p:sp>
      <p:sp>
        <p:nvSpPr>
          <p:cNvPr id="36" name="Rectangle 35">
            <a:extLst>
              <a:ext uri="{FF2B5EF4-FFF2-40B4-BE49-F238E27FC236}">
                <a16:creationId xmlns:a16="http://schemas.microsoft.com/office/drawing/2014/main" id="{449D1487-C773-4107-916C-72ADFA7006D4}"/>
              </a:ext>
            </a:extLst>
          </p:cNvPr>
          <p:cNvSpPr/>
          <p:nvPr userDrawn="1"/>
        </p:nvSpPr>
        <p:spPr bwMode="auto">
          <a:xfrm>
            <a:off x="8433431" y="3859930"/>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azor Pages</a:t>
            </a:r>
          </a:p>
        </p:txBody>
      </p:sp>
      <p:pic>
        <p:nvPicPr>
          <p:cNvPr id="38" name="Picture 37">
            <a:extLst>
              <a:ext uri="{FF2B5EF4-FFF2-40B4-BE49-F238E27FC236}">
                <a16:creationId xmlns:a16="http://schemas.microsoft.com/office/drawing/2014/main" id="{E2098AB0-F8F8-4962-B0CA-BC1054E951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43193" y="6093501"/>
            <a:ext cx="594649" cy="594649"/>
          </a:xfrm>
          <a:prstGeom prst="rect">
            <a:avLst/>
          </a:prstGeom>
        </p:spPr>
      </p:pic>
      <p:pic>
        <p:nvPicPr>
          <p:cNvPr id="39" name="Picture 2" descr="Icon">
            <a:extLst>
              <a:ext uri="{FF2B5EF4-FFF2-40B4-BE49-F238E27FC236}">
                <a16:creationId xmlns:a16="http://schemas.microsoft.com/office/drawing/2014/main" id="{E05D2744-B6AF-40E8-B267-C9CBF9FAB16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162117" y="6123057"/>
            <a:ext cx="476167" cy="57140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6">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Image result for Azure icon">
            <a:extLst>
              <a:ext uri="{FF2B5EF4-FFF2-40B4-BE49-F238E27FC236}">
                <a16:creationId xmlns:a16="http://schemas.microsoft.com/office/drawing/2014/main" id="{818A6858-48C7-40AE-96E5-815E3015AD1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50026" y="860248"/>
            <a:ext cx="450505" cy="34398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Image result for Azure icon">
            <a:extLst>
              <a:ext uri="{FF2B5EF4-FFF2-40B4-BE49-F238E27FC236}">
                <a16:creationId xmlns:a16="http://schemas.microsoft.com/office/drawing/2014/main" id="{D06335F3-82E6-4737-B9C1-01CEADD95C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027729" y="86646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66354"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16436"/>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0" name="Arrow: Right 49">
            <a:extLst>
              <a:ext uri="{FF2B5EF4-FFF2-40B4-BE49-F238E27FC236}">
                <a16:creationId xmlns:a16="http://schemas.microsoft.com/office/drawing/2014/main" id="{2AC90BA4-7600-47BE-B324-9D0BC90BD9A1}"/>
              </a:ext>
            </a:extLst>
          </p:cNvPr>
          <p:cNvSpPr/>
          <p:nvPr userDrawn="1"/>
        </p:nvSpPr>
        <p:spPr>
          <a:xfrm rot="16200000">
            <a:off x="8459854" y="4205324"/>
            <a:ext cx="994300" cy="120044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1B127B1C-AEF9-4E31-8EE8-F0A02819B80B}"/>
              </a:ext>
            </a:extLst>
          </p:cNvPr>
          <p:cNvSpPr/>
          <p:nvPr userDrawn="1"/>
        </p:nvSpPr>
        <p:spPr>
          <a:xfrm rot="5400000">
            <a:off x="1292919" y="5054894"/>
            <a:ext cx="186562" cy="161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C8B0364-2D4C-41CE-94D3-C88873CDE71A}"/>
              </a:ext>
            </a:extLst>
          </p:cNvPr>
          <p:cNvSpPr/>
          <p:nvPr userDrawn="1"/>
        </p:nvSpPr>
        <p:spPr>
          <a:xfrm>
            <a:off x="3182000" y="2524377"/>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54" name="Rectangle 53">
            <a:extLst>
              <a:ext uri="{FF2B5EF4-FFF2-40B4-BE49-F238E27FC236}">
                <a16:creationId xmlns:a16="http://schemas.microsoft.com/office/drawing/2014/main" id="{DB6F5905-7F8D-4BDE-A04A-58B492D2F930}"/>
              </a:ext>
            </a:extLst>
          </p:cNvPr>
          <p:cNvSpPr/>
          <p:nvPr userDrawn="1"/>
        </p:nvSpPr>
        <p:spPr>
          <a:xfrm>
            <a:off x="5765697" y="3518414"/>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SQL Database</a:t>
            </a:r>
          </a:p>
        </p:txBody>
      </p:sp>
      <p:grpSp>
        <p:nvGrpSpPr>
          <p:cNvPr id="55" name="Group 54">
            <a:extLst>
              <a:ext uri="{FF2B5EF4-FFF2-40B4-BE49-F238E27FC236}">
                <a16:creationId xmlns:a16="http://schemas.microsoft.com/office/drawing/2014/main" id="{917815EA-10AF-477B-B272-E520939F415A}"/>
              </a:ext>
            </a:extLst>
          </p:cNvPr>
          <p:cNvGrpSpPr/>
          <p:nvPr userDrawn="1"/>
        </p:nvGrpSpPr>
        <p:grpSpPr>
          <a:xfrm>
            <a:off x="2692403" y="4420825"/>
            <a:ext cx="2855378" cy="715041"/>
            <a:chOff x="2541377" y="3593356"/>
            <a:chExt cx="620381" cy="715041"/>
          </a:xfrm>
        </p:grpSpPr>
        <p:sp>
          <p:nvSpPr>
            <p:cNvPr id="56" name="Arrow: Right 55">
              <a:extLst>
                <a:ext uri="{FF2B5EF4-FFF2-40B4-BE49-F238E27FC236}">
                  <a16:creationId xmlns:a16="http://schemas.microsoft.com/office/drawing/2014/main" id="{671546DE-030E-40B2-9658-1471962DEB9D}"/>
                </a:ext>
              </a:extLst>
            </p:cNvPr>
            <p:cNvSpPr/>
            <p:nvPr/>
          </p:nvSpPr>
          <p:spPr>
            <a:xfrm>
              <a:off x="2541377" y="3593356"/>
              <a:ext cx="620381"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2DFB028D-2410-4C98-B193-29D92E36AE1A}"/>
                </a:ext>
              </a:extLst>
            </p:cNvPr>
            <p:cNvSpPr/>
            <p:nvPr/>
          </p:nvSpPr>
          <p:spPr>
            <a:xfrm>
              <a:off x="2688894" y="3819725"/>
              <a:ext cx="328752" cy="259836"/>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irect </a:t>
              </a:r>
              <a:r>
                <a:rPr lang="en-US" sz="1100">
                  <a:solidFill>
                    <a:prstClr val="white"/>
                  </a:solidFill>
                  <a:latin typeface="Segoe UI" panose="020B0502040204020203" pitchFamily="34" charset="0"/>
                  <a:cs typeface="Segoe UI" panose="020B0502040204020203" pitchFamily="34" charset="0"/>
                </a:rPr>
                <a:t>Modernization</a:t>
              </a: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8" name="Group 57">
            <a:extLst>
              <a:ext uri="{FF2B5EF4-FFF2-40B4-BE49-F238E27FC236}">
                <a16:creationId xmlns:a16="http://schemas.microsoft.com/office/drawing/2014/main" id="{D28145A8-2BB1-4248-9D7E-28072658845A}"/>
              </a:ext>
            </a:extLst>
          </p:cNvPr>
          <p:cNvGrpSpPr/>
          <p:nvPr userDrawn="1"/>
        </p:nvGrpSpPr>
        <p:grpSpPr>
          <a:xfrm>
            <a:off x="5112291" y="2011391"/>
            <a:ext cx="633815" cy="715041"/>
            <a:chOff x="5052079" y="3593355"/>
            <a:chExt cx="633815" cy="715041"/>
          </a:xfrm>
        </p:grpSpPr>
        <p:sp>
          <p:nvSpPr>
            <p:cNvPr id="59" name="Arrow: Right 58">
              <a:extLst>
                <a:ext uri="{FF2B5EF4-FFF2-40B4-BE49-F238E27FC236}">
                  <a16:creationId xmlns:a16="http://schemas.microsoft.com/office/drawing/2014/main" id="{0157F5DE-8538-4C8A-AA21-EC1AE91884A3}"/>
                </a:ext>
              </a:extLst>
            </p:cNvPr>
            <p:cNvSpPr/>
            <p:nvPr/>
          </p:nvSpPr>
          <p:spPr>
            <a:xfrm>
              <a:off x="5083319" y="3593355"/>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ADC78ABF-3500-45D0-BF3D-42FE91DABAAD}"/>
                </a:ext>
              </a:extLst>
            </p:cNvPr>
            <p:cNvSpPr/>
            <p:nvPr/>
          </p:nvSpPr>
          <p:spPr>
            <a:xfrm>
              <a:off x="5052079" y="3812588"/>
              <a:ext cx="597061"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rich</a:t>
              </a:r>
            </a:p>
          </p:txBody>
        </p:sp>
      </p:grpSp>
      <p:sp>
        <p:nvSpPr>
          <p:cNvPr id="61" name="Rectangle 60">
            <a:extLst>
              <a:ext uri="{FF2B5EF4-FFF2-40B4-BE49-F238E27FC236}">
                <a16:creationId xmlns:a16="http://schemas.microsoft.com/office/drawing/2014/main" id="{A297A5F7-42AB-4FFD-83B7-60DFD952D818}"/>
              </a:ext>
            </a:extLst>
          </p:cNvPr>
          <p:cNvSpPr/>
          <p:nvPr userDrawn="1"/>
        </p:nvSpPr>
        <p:spPr>
          <a:xfrm>
            <a:off x="8479750" y="4574747"/>
            <a:ext cx="954508" cy="421910"/>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rchitect for </a:t>
            </a:r>
          </a:p>
          <a:p>
            <a:pPr marL="0" marR="0" lvl="0" indent="0" algn="ctr" defTabSz="914225" rtl="0" eaLnBrk="1" fontAlgn="auto" latinLnBrk="0" hangingPunct="1">
              <a:lnSpc>
                <a:spcPct val="100000"/>
              </a:lnSpc>
              <a:spcBef>
                <a:spcPts val="0"/>
              </a:spcBef>
              <a:spcAft>
                <a:spcPts val="0"/>
              </a:spcAft>
              <a:buClrTx/>
              <a:buSzTx/>
              <a:buFontTx/>
              <a:buNone/>
              <a:tabLst/>
              <a:defRPr/>
            </a:pPr>
            <a:r>
              <a:rPr lang="en-US" sz="1050">
                <a:solidFill>
                  <a:prstClr val="white"/>
                </a:solidFill>
                <a:latin typeface="Segoe UI" panose="020B0502040204020203" pitchFamily="34" charset="0"/>
                <a:cs typeface="Segoe UI" panose="020B0502040204020203" pitchFamily="34" charset="0"/>
              </a:rPr>
              <a:t>t</a:t>
            </a: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e cloud</a:t>
            </a:r>
          </a:p>
        </p:txBody>
      </p:sp>
      <p:sp>
        <p:nvSpPr>
          <p:cNvPr id="62" name="Rectangle 61">
            <a:extLst>
              <a:ext uri="{FF2B5EF4-FFF2-40B4-BE49-F238E27FC236}">
                <a16:creationId xmlns:a16="http://schemas.microsoft.com/office/drawing/2014/main" id="{5E01CF4A-E709-4AC7-BA5E-8AAE0C9D8846}"/>
              </a:ext>
            </a:extLst>
          </p:cNvPr>
          <p:cNvSpPr/>
          <p:nvPr userDrawn="1"/>
        </p:nvSpPr>
        <p:spPr>
          <a:xfrm>
            <a:off x="5756863" y="3023507"/>
            <a:ext cx="1917444" cy="425709"/>
          </a:xfrm>
          <a:prstGeom prst="rect">
            <a:avLst/>
          </a:prstGeom>
          <a:solidFill>
            <a:srgbClr val="0072C6">
              <a:alpha val="60000"/>
            </a:srgbClr>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63" name="Rectangle 62">
            <a:extLst>
              <a:ext uri="{FF2B5EF4-FFF2-40B4-BE49-F238E27FC236}">
                <a16:creationId xmlns:a16="http://schemas.microsoft.com/office/drawing/2014/main" id="{6B3D8584-FC56-4850-9102-A34DC9E2EF38}"/>
              </a:ext>
            </a:extLst>
          </p:cNvPr>
          <p:cNvSpPr/>
          <p:nvPr userDrawn="1"/>
        </p:nvSpPr>
        <p:spPr>
          <a:xfrm rot="5400000">
            <a:off x="6669817" y="5044556"/>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4EA4E951-8B3D-46D9-BAE1-CC5572E8F909}"/>
              </a:ext>
            </a:extLst>
          </p:cNvPr>
          <p:cNvSpPr/>
          <p:nvPr userDrawn="1"/>
        </p:nvSpPr>
        <p:spPr>
          <a:xfrm rot="5400000">
            <a:off x="4183922" y="5053200"/>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6" name="Oval 65">
            <a:extLst>
              <a:ext uri="{FF2B5EF4-FFF2-40B4-BE49-F238E27FC236}">
                <a16:creationId xmlns:a16="http://schemas.microsoft.com/office/drawing/2014/main" id="{6F9F870B-3BF4-4C76-801E-D783BCFA124E}"/>
              </a:ext>
            </a:extLst>
          </p:cNvPr>
          <p:cNvSpPr/>
          <p:nvPr userDrawn="1"/>
        </p:nvSpPr>
        <p:spPr bwMode="auto">
          <a:xfrm>
            <a:off x="6565544"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2</a:t>
            </a:r>
          </a:p>
        </p:txBody>
      </p:sp>
      <p:sp>
        <p:nvSpPr>
          <p:cNvPr id="67" name="Oval 66">
            <a:extLst>
              <a:ext uri="{FF2B5EF4-FFF2-40B4-BE49-F238E27FC236}">
                <a16:creationId xmlns:a16="http://schemas.microsoft.com/office/drawing/2014/main" id="{036A7DF8-BECF-4E84-BFC4-D3C5B22E33FA}"/>
              </a:ext>
            </a:extLst>
          </p:cNvPr>
          <p:cNvSpPr/>
          <p:nvPr userDrawn="1"/>
        </p:nvSpPr>
        <p:spPr bwMode="auto">
          <a:xfrm>
            <a:off x="9765376" y="789925"/>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3</a:t>
            </a:r>
          </a:p>
        </p:txBody>
      </p:sp>
      <p:sp>
        <p:nvSpPr>
          <p:cNvPr id="68" name="Rectangle 67">
            <a:extLst>
              <a:ext uri="{FF2B5EF4-FFF2-40B4-BE49-F238E27FC236}">
                <a16:creationId xmlns:a16="http://schemas.microsoft.com/office/drawing/2014/main" id="{4104DF98-B6A3-4221-B3FC-A792A7F1ED96}"/>
              </a:ext>
            </a:extLst>
          </p:cNvPr>
          <p:cNvSpPr/>
          <p:nvPr userDrawn="1"/>
        </p:nvSpPr>
        <p:spPr>
          <a:xfrm>
            <a:off x="9970103" y="758798"/>
            <a:ext cx="947696" cy="312073"/>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ptional)</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77" name="Rectangle 76">
            <a:extLst>
              <a:ext uri="{FF2B5EF4-FFF2-40B4-BE49-F238E27FC236}">
                <a16:creationId xmlns:a16="http://schemas.microsoft.com/office/drawing/2014/main" id="{3AE2AD74-B002-4562-8F51-4480EEC082D5}"/>
              </a:ext>
            </a:extLst>
          </p:cNvPr>
          <p:cNvSpPr/>
          <p:nvPr userDrawn="1"/>
        </p:nvSpPr>
        <p:spPr>
          <a:xfrm>
            <a:off x="1305681" y="5160595"/>
            <a:ext cx="7724958" cy="1421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t="-4512"/>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20793"/>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03502"/>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399581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139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
        <p:nvSpPr>
          <p:cNvPr id="84" name="Rectangle 83">
            <a:extLst>
              <a:ext uri="{FF2B5EF4-FFF2-40B4-BE49-F238E27FC236}">
                <a16:creationId xmlns:a16="http://schemas.microsoft.com/office/drawing/2014/main" id="{0A7A2E10-23CB-475F-B7F1-B6587396CE22}"/>
              </a:ext>
            </a:extLst>
          </p:cNvPr>
          <p:cNvSpPr/>
          <p:nvPr userDrawn="1"/>
        </p:nvSpPr>
        <p:spPr>
          <a:xfrm>
            <a:off x="9732586" y="3995864"/>
            <a:ext cx="201830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85" name="Rectangle 84">
            <a:extLst>
              <a:ext uri="{FF2B5EF4-FFF2-40B4-BE49-F238E27FC236}">
                <a16:creationId xmlns:a16="http://schemas.microsoft.com/office/drawing/2014/main" id="{3F6ABBD9-8C25-4412-88AD-0299B432A2BD}"/>
              </a:ext>
            </a:extLst>
          </p:cNvPr>
          <p:cNvSpPr/>
          <p:nvPr userDrawn="1"/>
        </p:nvSpPr>
        <p:spPr>
          <a:xfrm>
            <a:off x="9723751" y="4525932"/>
            <a:ext cx="2027602"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86" name="Rectangle 85">
            <a:extLst>
              <a:ext uri="{FF2B5EF4-FFF2-40B4-BE49-F238E27FC236}">
                <a16:creationId xmlns:a16="http://schemas.microsoft.com/office/drawing/2014/main" id="{C976E0DE-D09F-40E6-9223-13C901FE2CAD}"/>
              </a:ext>
            </a:extLst>
          </p:cNvPr>
          <p:cNvSpPr/>
          <p:nvPr userDrawn="1"/>
        </p:nvSpPr>
        <p:spPr>
          <a:xfrm>
            <a:off x="9732586" y="3517672"/>
            <a:ext cx="2021545"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 No-SQL / Big Data</a:t>
            </a:r>
          </a:p>
        </p:txBody>
      </p:sp>
    </p:spTree>
    <p:extLst>
      <p:ext uri="{BB962C8B-B14F-4D97-AF65-F5344CB8AC3E}">
        <p14:creationId xmlns:p14="http://schemas.microsoft.com/office/powerpoint/2010/main" val="110023511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Blank Accent Color 2">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3199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406081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Fond Blanc">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normAutofit/>
          </a:bodyPr>
          <a:lstStyle>
            <a:lvl1pPr>
              <a:defRPr sz="4800">
                <a:solidFill>
                  <a:sysClr val="windowText" lastClr="000000"/>
                </a:solidFill>
                <a:latin typeface="Corbel" panose="020B0503020204020204" pitchFamily="34" charset="0"/>
              </a:defRPr>
            </a:lvl1pPr>
          </a:lstStyle>
          <a:p>
            <a:r>
              <a:rPr lang="en-US"/>
              <a:t>Click to edit Master title style</a:t>
            </a:r>
          </a:p>
        </p:txBody>
      </p:sp>
      <p:sp>
        <p:nvSpPr>
          <p:cNvPr id="4" name="Content Placeholder 3"/>
          <p:cNvSpPr>
            <a:spLocks noGrp="1"/>
          </p:cNvSpPr>
          <p:nvPr>
            <p:ph sz="quarter" idx="10"/>
          </p:nvPr>
        </p:nvSpPr>
        <p:spPr>
          <a:xfrm>
            <a:off x="269401" y="1262926"/>
            <a:ext cx="11653363" cy="1864934"/>
          </a:xfrm>
        </p:spPr>
        <p:txBody>
          <a:bodyPr/>
          <a:lstStyle>
            <a:lvl1pPr>
              <a:defRPr sz="2548">
                <a:solidFill>
                  <a:sysClr val="windowText" lastClr="000000"/>
                </a:solidFill>
                <a:latin typeface="+mn-lt"/>
              </a:defRPr>
            </a:lvl1pPr>
            <a:lvl2pPr>
              <a:defRPr sz="2352">
                <a:solidFill>
                  <a:sysClr val="windowText" lastClr="000000"/>
                </a:solidFill>
              </a:defRPr>
            </a:lvl2pPr>
            <a:lvl3pPr>
              <a:defRPr sz="1960">
                <a:solidFill>
                  <a:sysClr val="windowText" lastClr="000000"/>
                </a:solidFill>
              </a:defRPr>
            </a:lvl3pPr>
            <a:lvl4pPr>
              <a:defRPr sz="1764">
                <a:solidFill>
                  <a:sysClr val="windowText" lastClr="000000"/>
                </a:solidFill>
              </a:defRPr>
            </a:lvl4pPr>
            <a:lvl5pPr>
              <a:defRPr sz="1764">
                <a:solidFill>
                  <a:sysClr val="windowText" lastClr="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27074" y="6265188"/>
            <a:ext cx="1887055" cy="406137"/>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rgbClr val="002060"/>
                </a:solidFill>
                <a:effectLst/>
                <a:uLnTx/>
                <a:uFillTx/>
                <a:latin typeface="Calibri" panose="020F0502020204030204"/>
                <a:ea typeface="+mn-ea"/>
                <a:cs typeface="+mn-cs"/>
              </a:rPr>
              <a:t>Microsoft Azure</a:t>
            </a:r>
          </a:p>
        </p:txBody>
      </p:sp>
      <p:sp>
        <p:nvSpPr>
          <p:cNvPr id="6" name="Slide Number Placeholder 3"/>
          <p:cNvSpPr>
            <a:spLocks noGrp="1"/>
          </p:cNvSpPr>
          <p:nvPr>
            <p:ph type="sldNum" sz="quarter" idx="12"/>
          </p:nvPr>
        </p:nvSpPr>
        <p:spPr>
          <a:xfrm>
            <a:off x="9145508" y="6282630"/>
            <a:ext cx="2743200" cy="365125"/>
          </a:xfrm>
          <a:prstGeom prst="rect">
            <a:avLst/>
          </a:prstGeom>
        </p:spPr>
        <p:txBody>
          <a:bodyPr/>
          <a:lstStyle>
            <a:lvl1pPr>
              <a:defRPr>
                <a:solidFill>
                  <a:srgbClr val="002060"/>
                </a:solidFill>
              </a:defRPr>
            </a:lvl1pPr>
          </a:lstStyle>
          <a:p>
            <a:pPr defTabSz="914225"/>
            <a:fld id="{0A164282-434E-41D4-9582-783D542A7B68}" type="slidenum">
              <a:rPr lang="en-US" smtClean="0"/>
              <a:pPr defTabSz="914225"/>
              <a:t>‹#›</a:t>
            </a:fld>
            <a:endParaRPr lang="en-US"/>
          </a:p>
        </p:txBody>
      </p:sp>
    </p:spTree>
    <p:extLst>
      <p:ext uri="{BB962C8B-B14F-4D97-AF65-F5344CB8AC3E}">
        <p14:creationId xmlns:p14="http://schemas.microsoft.com/office/powerpoint/2010/main" val="764864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2992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White Background">
    <p:spTree>
      <p:nvGrpSpPr>
        <p:cNvPr id="1" name=""/>
        <p:cNvGrpSpPr/>
        <p:nvPr/>
      </p:nvGrpSpPr>
      <p:grpSpPr>
        <a:xfrm>
          <a:off x="0" y="0"/>
          <a:ext cx="0" cy="0"/>
          <a:chOff x="0" y="0"/>
          <a:chExt cx="0" cy="0"/>
        </a:xfrm>
      </p:grpSpPr>
      <p:sp>
        <p:nvSpPr>
          <p:cNvPr id="7" name="Title 2"/>
          <p:cNvSpPr>
            <a:spLocks noGrp="1"/>
          </p:cNvSpPr>
          <p:nvPr>
            <p:ph type="title"/>
          </p:nvPr>
        </p:nvSpPr>
        <p:spPr>
          <a:xfrm>
            <a:off x="538477" y="286381"/>
            <a:ext cx="11653523" cy="927940"/>
          </a:xfrm>
          <a:prstGeom prst="rect">
            <a:avLst/>
          </a:prstGeom>
        </p:spPr>
        <p:txBody>
          <a:bodyPr>
            <a:normAutofit/>
          </a:bodyPr>
          <a:lstStyle>
            <a:lvl1pPr algn="l">
              <a:defRPr sz="4800" b="0">
                <a:solidFill>
                  <a:srgbClr val="505050"/>
                </a:solidFill>
                <a:latin typeface="Segoe UI Light" panose="020B0502040204020203" pitchFamily="34" charset="0"/>
              </a:defRPr>
            </a:lvl1pPr>
          </a:lstStyle>
          <a:p>
            <a:r>
              <a:rPr lang="en-US"/>
              <a:t>Click to edit Master title style</a:t>
            </a:r>
          </a:p>
        </p:txBody>
      </p:sp>
      <p:sp>
        <p:nvSpPr>
          <p:cNvPr id="4" name="Footer Placeholder 2"/>
          <p:cNvSpPr>
            <a:spLocks noGrp="1"/>
          </p:cNvSpPr>
          <p:nvPr>
            <p:ph type="ftr" sz="quarter" idx="14"/>
          </p:nvPr>
        </p:nvSpPr>
        <p:spPr>
          <a:xfrm>
            <a:off x="4038600" y="6356351"/>
            <a:ext cx="4114800" cy="365125"/>
          </a:xfrm>
          <a:prstGeom prst="rect">
            <a:avLst/>
          </a:prstGeom>
        </p:spPr>
        <p:txBody>
          <a:bodyPr/>
          <a:lstStyle>
            <a:lvl1pPr fontAlgn="base">
              <a:spcBef>
                <a:spcPct val="0"/>
              </a:spcBef>
              <a:spcAft>
                <a:spcPct val="0"/>
              </a:spcAft>
              <a:defRPr>
                <a:solidFill>
                  <a:srgbClr val="505050"/>
                </a:solidFill>
              </a:defRPr>
            </a:lvl1pPr>
          </a:lstStyle>
          <a:p>
            <a:pPr>
              <a:defRPr/>
            </a:pPr>
            <a:endParaRPr/>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endParaRPr lang="en-US"/>
          </a:p>
        </p:txBody>
      </p:sp>
    </p:spTree>
    <p:extLst>
      <p:ext uri="{BB962C8B-B14F-4D97-AF65-F5344CB8AC3E}">
        <p14:creationId xmlns:p14="http://schemas.microsoft.com/office/powerpoint/2010/main" val="369777090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455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71483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10846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855559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5777356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DAF1CE-F34B-422F-B5B0-3A33445CE7D4}"/>
              </a:ext>
            </a:extLst>
          </p:cNvPr>
          <p:cNvSpPr>
            <a:spLocks noGrp="1"/>
          </p:cNvSpPr>
          <p:nvPr>
            <p:ph type="dt" sz="half" idx="10"/>
          </p:nvPr>
        </p:nvSpPr>
        <p:spPr/>
        <p:txBody>
          <a:bodyPr/>
          <a:lstStyle/>
          <a:p>
            <a:fld id="{A8236A91-DF21-42E0-8E9D-0484E1E145CB}" type="datetimeFigureOut">
              <a:rPr lang="en-US" smtClean="0"/>
              <a:t>1/24/2019</a:t>
            </a:fld>
            <a:endParaRPr lang="en-US"/>
          </a:p>
        </p:txBody>
      </p:sp>
      <p:sp>
        <p:nvSpPr>
          <p:cNvPr id="3" name="Footer Placeholder 2">
            <a:extLst>
              <a:ext uri="{FF2B5EF4-FFF2-40B4-BE49-F238E27FC236}">
                <a16:creationId xmlns:a16="http://schemas.microsoft.com/office/drawing/2014/main" id="{E40FF987-2E88-4420-A10B-DE3EB9505FE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E2F9898-EB58-4383-AB6A-433A661EBAC2}"/>
              </a:ext>
            </a:extLst>
          </p:cNvPr>
          <p:cNvSpPr>
            <a:spLocks noGrp="1"/>
          </p:cNvSpPr>
          <p:nvPr>
            <p:ph type="sldNum" sz="quarter" idx="12"/>
          </p:nvPr>
        </p:nvSpPr>
        <p:spPr/>
        <p:txBody>
          <a:bodyPr/>
          <a:lstStyle/>
          <a:p>
            <a:fld id="{9DA66666-6346-4C1C-911E-005BAAA10D77}" type="slidenum">
              <a:rPr lang="en-US" smtClean="0"/>
              <a:t>‹#›</a:t>
            </a:fld>
            <a:endParaRPr lang="en-US"/>
          </a:p>
        </p:txBody>
      </p:sp>
    </p:spTree>
    <p:extLst>
      <p:ext uri="{BB962C8B-B14F-4D97-AF65-F5344CB8AC3E}">
        <p14:creationId xmlns:p14="http://schemas.microsoft.com/office/powerpoint/2010/main" val="326237731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4" name="Rectangle 3"/>
          <p:cNvSpPr/>
          <p:nvPr userDrawn="1"/>
        </p:nvSpPr>
        <p:spPr>
          <a:xfrm>
            <a:off x="277181" y="5923422"/>
            <a:ext cx="2207631" cy="651821"/>
          </a:xfrm>
          <a:prstGeom prst="rect">
            <a:avLst/>
          </a:prstGeom>
        </p:spPr>
        <p:txBody>
          <a:bodyPr wrap="none" lIns="179285" tIns="143428" rIns="179285" bIns="143428">
            <a:spAutoFit/>
          </a:bodyPr>
          <a:lstStyle/>
          <a:p>
            <a:r>
              <a:rPr lang="en-US" sz="2353" dirty="0">
                <a:gradFill>
                  <a:gsLst>
                    <a:gs pos="2597">
                      <a:schemeClr val="tx1"/>
                    </a:gs>
                    <a:gs pos="18182">
                      <a:schemeClr val="tx1"/>
                    </a:gs>
                  </a:gsLst>
                  <a:lin ang="5400000" scaled="1"/>
                </a:gradFill>
              </a:rPr>
              <a:t>#</a:t>
            </a:r>
            <a:r>
              <a:rPr lang="en-US" sz="2353" dirty="0" err="1">
                <a:gradFill>
                  <a:gsLst>
                    <a:gs pos="2597">
                      <a:schemeClr val="tx1"/>
                    </a:gs>
                    <a:gs pos="18182">
                      <a:schemeClr val="tx1"/>
                    </a:gs>
                  </a:gsLst>
                  <a:lin ang="5400000" scaled="1"/>
                </a:gradFill>
              </a:rPr>
              <a:t>Azuredevdays</a:t>
            </a:r>
            <a:endParaRPr lang="en-US" sz="2353"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1847084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649393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731181"/>
            <a:ext cx="4795873" cy="1395638"/>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7065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51581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4264917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779817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98813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425195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1489135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3230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01162634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93587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25202923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65876167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26387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55158756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1843283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1952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205034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04823324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378939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74411605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9202144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8642055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Demo</a:t>
            </a:r>
          </a:p>
        </p:txBody>
      </p:sp>
    </p:spTree>
    <p:extLst>
      <p:ext uri="{BB962C8B-B14F-4D97-AF65-F5344CB8AC3E}">
        <p14:creationId xmlns:p14="http://schemas.microsoft.com/office/powerpoint/2010/main" val="236197635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52975466"/>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74826156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56225374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50619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38523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89935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1645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127828489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517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7714414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2721387525"/>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4229159391"/>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0301649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098033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984923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72861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1618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0" hasCustomPrompt="1"/>
          </p:nvPr>
        </p:nvSpPr>
        <p:spPr>
          <a:xfrm>
            <a:off x="269241" y="1114098"/>
            <a:ext cx="11653523" cy="492443"/>
          </a:xfrm>
        </p:spPr>
        <p:txBody>
          <a:bodyPr>
            <a:spAutoFit/>
          </a:bodyPr>
          <a:lstStyle>
            <a:lvl1pPr marL="0" indent="0">
              <a:buNone/>
              <a:defRPr sz="2000" b="1">
                <a:solidFill>
                  <a:schemeClr val="accent2"/>
                </a:soli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a:t>SUBHEAD</a:t>
            </a:r>
          </a:p>
        </p:txBody>
      </p:sp>
    </p:spTree>
    <p:extLst>
      <p:ext uri="{BB962C8B-B14F-4D97-AF65-F5344CB8AC3E}">
        <p14:creationId xmlns:p14="http://schemas.microsoft.com/office/powerpoint/2010/main" val="32381193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56432900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zure TechCon 201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object&#10;&#10;Description generated with high confidence">
            <a:extLst>
              <a:ext uri="{FF2B5EF4-FFF2-40B4-BE49-F238E27FC236}">
                <a16:creationId xmlns:a16="http://schemas.microsoft.com/office/drawing/2014/main" id="{AC606A9E-48EF-4A2A-BC24-FE78CCEF5A01}"/>
              </a:ext>
            </a:extLst>
          </p:cNvPr>
          <p:cNvPicPr>
            <a:picLocks noChangeAspect="1"/>
          </p:cNvPicPr>
          <p:nvPr userDrawn="1"/>
        </p:nvPicPr>
        <p:blipFill>
          <a:blip r:embed="rId3"/>
          <a:stretch>
            <a:fillRect/>
          </a:stretch>
        </p:blipFill>
        <p:spPr>
          <a:xfrm>
            <a:off x="5722490" y="4727518"/>
            <a:ext cx="2011206" cy="373563"/>
          </a:xfrm>
          <a:prstGeom prst="rect">
            <a:avLst/>
          </a:prstGeom>
        </p:spPr>
      </p:pic>
      <p:sp>
        <p:nvSpPr>
          <p:cNvPr id="4" name="TextBox 3">
            <a:extLst>
              <a:ext uri="{FF2B5EF4-FFF2-40B4-BE49-F238E27FC236}">
                <a16:creationId xmlns:a16="http://schemas.microsoft.com/office/drawing/2014/main" id="{28FC38B5-963D-4E0A-959E-233333F11443}"/>
              </a:ext>
            </a:extLst>
          </p:cNvPr>
          <p:cNvSpPr txBox="1"/>
          <p:nvPr userDrawn="1"/>
        </p:nvSpPr>
        <p:spPr>
          <a:xfrm>
            <a:off x="4153746" y="4606495"/>
            <a:ext cx="1505614" cy="615609"/>
          </a:xfrm>
          <a:prstGeom prst="rect">
            <a:avLst/>
          </a:prstGeom>
          <a:noFill/>
        </p:spPr>
        <p:txBody>
          <a:bodyPr wrap="none" lIns="179285" tIns="143428" rIns="179285" bIns="143428" rtlCol="0">
            <a:spAutoFit/>
          </a:bodyPr>
          <a:lstStyle/>
          <a:p>
            <a:pPr>
              <a:lnSpc>
                <a:spcPct val="90000"/>
              </a:lnSpc>
              <a:spcAft>
                <a:spcPts val="588"/>
              </a:spcAft>
            </a:pPr>
            <a:r>
              <a:rPr lang="en-US" sz="2353">
                <a:gradFill>
                  <a:gsLst>
                    <a:gs pos="2917">
                      <a:schemeClr val="tx1"/>
                    </a:gs>
                    <a:gs pos="30000">
                      <a:schemeClr val="tx1"/>
                    </a:gs>
                  </a:gsLst>
                  <a:lin ang="5400000" scaled="0"/>
                </a:gradFill>
              </a:rPr>
              <a:t>Sponsor:</a:t>
            </a:r>
          </a:p>
        </p:txBody>
      </p:sp>
      <p:sp>
        <p:nvSpPr>
          <p:cNvPr id="2" name="TextBox 1">
            <a:extLst>
              <a:ext uri="{FF2B5EF4-FFF2-40B4-BE49-F238E27FC236}">
                <a16:creationId xmlns:a16="http://schemas.microsoft.com/office/drawing/2014/main" id="{8F29B2A0-86FB-4F90-86F2-E2D3B9E6EC84}"/>
              </a:ext>
            </a:extLst>
          </p:cNvPr>
          <p:cNvSpPr txBox="1"/>
          <p:nvPr userDrawn="1"/>
        </p:nvSpPr>
        <p:spPr>
          <a:xfrm>
            <a:off x="-32147" y="6237185"/>
            <a:ext cx="3438109" cy="615609"/>
          </a:xfrm>
          <a:prstGeom prst="rect">
            <a:avLst/>
          </a:prstGeom>
          <a:noFill/>
        </p:spPr>
        <p:txBody>
          <a:bodyPr wrap="none" lIns="179285" tIns="143428" rIns="179285" bIns="143428" rtlCol="0">
            <a:spAutoFit/>
          </a:bodyPr>
          <a:lstStyle/>
          <a:p>
            <a:pPr>
              <a:lnSpc>
                <a:spcPct val="90000"/>
              </a:lnSpc>
              <a:spcAft>
                <a:spcPts val="588"/>
              </a:spcAft>
            </a:pPr>
            <a:r>
              <a:rPr lang="en-US" sz="2353">
                <a:gradFill>
                  <a:gsLst>
                    <a:gs pos="2917">
                      <a:schemeClr val="tx1"/>
                    </a:gs>
                    <a:gs pos="30000">
                      <a:schemeClr val="tx1"/>
                    </a:gs>
                  </a:gsLst>
                  <a:lin ang="5400000" scaled="0"/>
                </a:gradFill>
              </a:rPr>
              <a:t>www.azuredevdays.com</a:t>
            </a:r>
          </a:p>
        </p:txBody>
      </p:sp>
      <p:sp>
        <p:nvSpPr>
          <p:cNvPr id="5" name="TextBox 4">
            <a:extLst>
              <a:ext uri="{FF2B5EF4-FFF2-40B4-BE49-F238E27FC236}">
                <a16:creationId xmlns:a16="http://schemas.microsoft.com/office/drawing/2014/main" id="{CCA3BD13-4D4E-4497-8F7B-FA5B2C0DB91E}"/>
              </a:ext>
            </a:extLst>
          </p:cNvPr>
          <p:cNvSpPr txBox="1"/>
          <p:nvPr userDrawn="1"/>
        </p:nvSpPr>
        <p:spPr>
          <a:xfrm>
            <a:off x="7664743" y="6242391"/>
            <a:ext cx="4396781" cy="615609"/>
          </a:xfrm>
          <a:prstGeom prst="rect">
            <a:avLst/>
          </a:prstGeom>
          <a:noFill/>
        </p:spPr>
        <p:txBody>
          <a:bodyPr wrap="none" lIns="179285" tIns="143428" rIns="179285" bIns="143428" rtlCol="0">
            <a:spAutoFit/>
          </a:bodyPr>
          <a:lstStyle/>
          <a:p>
            <a:pPr>
              <a:lnSpc>
                <a:spcPct val="90000"/>
              </a:lnSpc>
              <a:spcAft>
                <a:spcPts val="588"/>
              </a:spcAft>
            </a:pPr>
            <a:r>
              <a:rPr lang="en-US" sz="2353">
                <a:gradFill>
                  <a:gsLst>
                    <a:gs pos="2917">
                      <a:schemeClr val="tx1"/>
                    </a:gs>
                    <a:gs pos="30000">
                      <a:schemeClr val="tx1"/>
                    </a:gs>
                  </a:gsLst>
                  <a:lin ang="5400000" scaled="0"/>
                </a:gradFill>
              </a:rPr>
              <a:t>Content : aka.ms/azuredevdays</a:t>
            </a:r>
          </a:p>
        </p:txBody>
      </p:sp>
    </p:spTree>
    <p:extLst>
      <p:ext uri="{BB962C8B-B14F-4D97-AF65-F5344CB8AC3E}">
        <p14:creationId xmlns:p14="http://schemas.microsoft.com/office/powerpoint/2010/main" val="416375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4" name="Rectangle 3"/>
          <p:cNvSpPr/>
          <p:nvPr userDrawn="1"/>
        </p:nvSpPr>
        <p:spPr>
          <a:xfrm>
            <a:off x="277181" y="5923422"/>
            <a:ext cx="2418336" cy="651821"/>
          </a:xfrm>
          <a:prstGeom prst="rect">
            <a:avLst/>
          </a:prstGeom>
        </p:spPr>
        <p:txBody>
          <a:bodyPr wrap="none" lIns="179285" tIns="143428" rIns="179285" bIns="143428">
            <a:spAutoFit/>
          </a:bodyPr>
          <a:lstStyle/>
          <a:p>
            <a:r>
              <a:rPr lang="en-US" sz="2353">
                <a:gradFill>
                  <a:gsLst>
                    <a:gs pos="2597">
                      <a:schemeClr val="tx1"/>
                    </a:gs>
                    <a:gs pos="18182">
                      <a:schemeClr val="tx1"/>
                    </a:gs>
                  </a:gsLst>
                  <a:lin ang="5400000" scaled="1"/>
                </a:gradFill>
              </a:rPr>
              <a:t>#</a:t>
            </a:r>
            <a:r>
              <a:rPr lang="en-US" sz="2353" err="1">
                <a:gradFill>
                  <a:gsLst>
                    <a:gs pos="2597">
                      <a:schemeClr val="tx1"/>
                    </a:gs>
                    <a:gs pos="18182">
                      <a:schemeClr val="tx1"/>
                    </a:gs>
                  </a:gsLst>
                  <a:lin ang="5400000" scaled="1"/>
                </a:gradFill>
              </a:rPr>
              <a:t>AzureDevDays</a:t>
            </a:r>
            <a:endParaRPr lang="en-US" sz="2353">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829122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15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432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8294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23419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990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00738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56368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8576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5966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99096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1410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5873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6031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8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93849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25263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8–20, 2018</a:t>
            </a:r>
          </a:p>
          <a:p>
            <a:pPr algn="l"/>
            <a:r>
              <a:rPr lang="en-US" sz="200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68786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July 18–20, 2018</a:t>
            </a:r>
          </a:p>
          <a:p>
            <a:pPr algn="l"/>
            <a:r>
              <a:rPr lang="en-US" sz="200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504083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126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866860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647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25318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74383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397241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10011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50403801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655668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1116589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979982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227723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24004218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36000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85159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2324629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9500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0294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059567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650555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627187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15104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5462884"/>
          </a:xfrm>
          <a:prstGeom prst="rect">
            <a:avLst/>
          </a:prstGeom>
        </p:spPr>
      </p:pic>
      <p:sp>
        <p:nvSpPr>
          <p:cNvPr id="8" name="Rectangle 7"/>
          <p:cNvSpPr/>
          <p:nvPr userDrawn="1"/>
        </p:nvSpPr>
        <p:spPr bwMode="auto">
          <a:xfrm>
            <a:off x="1648" y="4863467"/>
            <a:ext cx="12190352" cy="1994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1633" y="5253375"/>
            <a:ext cx="2596555" cy="1146975"/>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1632" y="470066"/>
            <a:ext cx="1423303" cy="303612"/>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599824" y="4863467"/>
            <a:ext cx="4592176" cy="1994533"/>
          </a:xfrm>
          <a:prstGeom prst="rect">
            <a:avLst/>
          </a:prstGeom>
        </p:spPr>
      </p:pic>
    </p:spTree>
    <p:extLst>
      <p:ext uri="{BB962C8B-B14F-4D97-AF65-F5344CB8AC3E}">
        <p14:creationId xmlns:p14="http://schemas.microsoft.com/office/powerpoint/2010/main" val="4006415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185707762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16457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0517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99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0">
                      <a:schemeClr val="tx1"/>
                    </a:gs>
                    <a:gs pos="100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83635"/>
            <a:ext cx="6276530" cy="1793104"/>
          </a:xfrm>
        </p:spPr>
        <p:txBody>
          <a:bodyPr tIns="109728" bIns="109728">
            <a:noAutofit/>
          </a:bodyPr>
          <a:lstStyle>
            <a:lvl1pPr marL="0" indent="0">
              <a:spcBef>
                <a:spcPts val="0"/>
              </a:spcBef>
              <a:buNone/>
              <a:defRPr sz="3137">
                <a:gradFill>
                  <a:gsLst>
                    <a:gs pos="20130">
                      <a:schemeClr val="tx1"/>
                    </a:gs>
                    <a:gs pos="57576">
                      <a:schemeClr val="tx1"/>
                    </a:gs>
                  </a:gsLst>
                  <a:lin ang="5400000" scaled="0"/>
                </a:gradFill>
              </a:defRPr>
            </a:lvl1pPr>
          </a:lstStyle>
          <a:p>
            <a:pPr lvl="0"/>
            <a:r>
              <a:rPr lang="en-US"/>
              <a:t>Speaker Name</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7" name="Picture 6"/>
            <p:cNvPicPr>
              <a:picLocks noChangeAspect="1"/>
            </p:cNvPicPr>
            <p:nvPr/>
          </p:nvPicPr>
          <p:blipFill>
            <a:blip r:embed="rId2"/>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67811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20463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39664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2389093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5214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3318344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037257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Content Placeholder 4"/>
          <p:cNvSpPr>
            <a:spLocks noGrp="1"/>
          </p:cNvSpPr>
          <p:nvPr>
            <p:ph sz="quarter" idx="11"/>
          </p:nvPr>
        </p:nvSpPr>
        <p:spPr bwMode="gray">
          <a:xfrm>
            <a:off x="460375" y="1325565"/>
            <a:ext cx="11272838" cy="20463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auto">
          <a:xfrm>
            <a:off x="460375" y="228600"/>
            <a:ext cx="11272838" cy="790509"/>
          </a:xfrm>
        </p:spPr>
        <p:txBody>
          <a:bodyPr>
            <a:spAutoFit/>
          </a:bodyPr>
          <a:lstStyle/>
          <a:p>
            <a:r>
              <a:rPr lang="en-US"/>
              <a:t>Click to edit Master title style</a:t>
            </a:r>
          </a:p>
        </p:txBody>
      </p:sp>
    </p:spTree>
    <p:extLst>
      <p:ext uri="{BB962C8B-B14F-4D97-AF65-F5344CB8AC3E}">
        <p14:creationId xmlns:p14="http://schemas.microsoft.com/office/powerpoint/2010/main" val="729747214"/>
      </p:ext>
    </p:extLst>
  </p:cSld>
  <p:clrMapOvr>
    <a:masterClrMapping/>
  </p:clrMapOvr>
  <p:transition/>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24548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8"/>
            <a:ext cx="11655078" cy="2046309"/>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319485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237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nect 2017 Opening Slide_ON-SIT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9"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5"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0" y="6268081"/>
            <a:ext cx="1402823" cy="300247"/>
          </a:xfrm>
          <a:prstGeom prst="rect">
            <a:avLst/>
          </a:prstGeom>
        </p:spPr>
      </p:pic>
    </p:spTree>
    <p:extLst>
      <p:ext uri="{BB962C8B-B14F-4D97-AF65-F5344CB8AC3E}">
        <p14:creationId xmlns:p14="http://schemas.microsoft.com/office/powerpoint/2010/main" val="1734329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673390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097771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617062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512128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353633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35688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731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0685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14462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0646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18117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25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4218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49785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17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56676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7291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412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90.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5" Type="http://schemas.openxmlformats.org/officeDocument/2006/relationships/theme" Target="../theme/theme10.xml"/><Relationship Id="rId4" Type="http://schemas.openxmlformats.org/officeDocument/2006/relationships/slideLayout" Target="../slideLayouts/slideLayout19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theme" Target="../theme/theme11.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image" Target="../media/image6.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11.emf"/><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theme" Target="../theme/theme3.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1.xml"/><Relationship Id="rId7" Type="http://schemas.openxmlformats.org/officeDocument/2006/relationships/image" Target="../media/image6.emf"/><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heme" Target="../theme/theme4.xml"/><Relationship Id="rId5" Type="http://schemas.openxmlformats.org/officeDocument/2006/relationships/slideLayout" Target="../slideLayouts/slideLayout73.xml"/><Relationship Id="rId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image" Target="../media/image6.emf"/><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theme" Target="../theme/theme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image" Target="../media/image6.emf"/><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34" Type="http://schemas.openxmlformats.org/officeDocument/2006/relationships/image" Target="../media/image6.emf"/><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theme" Target="../theme/theme8.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image" Target="../media/image6.emf"/><Relationship Id="rId3" Type="http://schemas.openxmlformats.org/officeDocument/2006/relationships/slideLayout" Target="../slideLayouts/slideLayout153.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theme" Target="../theme/theme9.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808377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4" r:id="rId21"/>
    <p:sldLayoutId id="2147483685" r:id="rId22"/>
    <p:sldLayoutId id="2147483686" r:id="rId23"/>
    <p:sldLayoutId id="2147483687" r:id="rId24"/>
    <p:sldLayoutId id="2147483688" r:id="rId25"/>
    <p:sldLayoutId id="2147483689" r:id="rId26"/>
    <p:sldLayoutId id="2147483690" r:id="rId27"/>
    <p:sldLayoutId id="2147483692" r:id="rId28"/>
    <p:sldLayoutId id="2147483693" r:id="rId29"/>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2E303E-109B-4601-A3D7-CA5CE196005A}"/>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CCB9F2-0F3B-4E00-AFB3-6A2F000EB0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8E7433-CBE9-4DB0-9F61-BFE65049F7EA}"/>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236A91-DF21-42E0-8E9D-0484E1E145CB}" type="datetimeFigureOut">
              <a:rPr lang="en-US" smtClean="0"/>
              <a:t>1/24/2019</a:t>
            </a:fld>
            <a:endParaRPr lang="en-US"/>
          </a:p>
        </p:txBody>
      </p:sp>
      <p:sp>
        <p:nvSpPr>
          <p:cNvPr id="5" name="Footer Placeholder 4">
            <a:extLst>
              <a:ext uri="{FF2B5EF4-FFF2-40B4-BE49-F238E27FC236}">
                <a16:creationId xmlns:a16="http://schemas.microsoft.com/office/drawing/2014/main" id="{3760F9BA-A7FA-47C3-8EC6-2F88FEEBEE77}"/>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CBD5935-0880-493A-BF6A-F0368C80570C}"/>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A66666-6346-4C1C-911E-005BAAA10D77}" type="slidenum">
              <a:rPr lang="en-US" smtClean="0"/>
              <a:t>‹#›</a:t>
            </a:fld>
            <a:endParaRPr lang="en-US"/>
          </a:p>
        </p:txBody>
      </p:sp>
    </p:spTree>
    <p:extLst>
      <p:ext uri="{BB962C8B-B14F-4D97-AF65-F5344CB8AC3E}">
        <p14:creationId xmlns:p14="http://schemas.microsoft.com/office/powerpoint/2010/main" val="2131365501"/>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Lst>
  <p:txStyles>
    <p:titleStyle>
      <a:lvl1pPr algn="l" defTabSz="896386" rtl="0" eaLnBrk="1" latinLnBrk="0" hangingPunct="1">
        <a:lnSpc>
          <a:spcPct val="90000"/>
        </a:lnSpc>
        <a:spcBef>
          <a:spcPct val="0"/>
        </a:spcBef>
        <a:buNone/>
        <a:defRPr sz="4313" kern="1200">
          <a:solidFill>
            <a:schemeClr val="tx1"/>
          </a:solidFill>
          <a:latin typeface="+mj-lt"/>
          <a:ea typeface="+mj-ea"/>
          <a:cs typeface="+mj-cs"/>
        </a:defRPr>
      </a:lvl1pPr>
    </p:titleStyle>
    <p:bodyStyle>
      <a:lvl1pPr marL="224097" indent="-224097" algn="l" defTabSz="896386" rtl="0" eaLnBrk="1" latinLnBrk="0" hangingPunct="1">
        <a:lnSpc>
          <a:spcPct val="90000"/>
        </a:lnSpc>
        <a:spcBef>
          <a:spcPts val="980"/>
        </a:spcBef>
        <a:buFont typeface="Arial" panose="020B0604020202020204" pitchFamily="34" charset="0"/>
        <a:buChar char="•"/>
        <a:defRPr sz="2745" kern="1200">
          <a:solidFill>
            <a:schemeClr val="tx1"/>
          </a:solidFill>
          <a:latin typeface="+mn-lt"/>
          <a:ea typeface="+mn-ea"/>
          <a:cs typeface="+mn-cs"/>
        </a:defRPr>
      </a:lvl1pPr>
      <a:lvl2pPr marL="672290" indent="-224097" algn="l" defTabSz="896386" rtl="0" eaLnBrk="1" latinLnBrk="0" hangingPunct="1">
        <a:lnSpc>
          <a:spcPct val="90000"/>
        </a:lnSpc>
        <a:spcBef>
          <a:spcPts val="490"/>
        </a:spcBef>
        <a:buFont typeface="Arial" panose="020B0604020202020204" pitchFamily="34" charset="0"/>
        <a:buChar char="•"/>
        <a:defRPr sz="2353" kern="1200">
          <a:solidFill>
            <a:schemeClr val="tx1"/>
          </a:solidFill>
          <a:latin typeface="+mn-lt"/>
          <a:ea typeface="+mn-ea"/>
          <a:cs typeface="+mn-cs"/>
        </a:defRPr>
      </a:lvl2pPr>
      <a:lvl3pPr marL="1120483" indent="-224097" algn="l" defTabSz="896386" rtl="0" eaLnBrk="1" latinLnBrk="0" hangingPunct="1">
        <a:lnSpc>
          <a:spcPct val="90000"/>
        </a:lnSpc>
        <a:spcBef>
          <a:spcPts val="490"/>
        </a:spcBef>
        <a:buFont typeface="Arial" panose="020B0604020202020204" pitchFamily="34" charset="0"/>
        <a:buChar char="•"/>
        <a:defRPr sz="1961" kern="1200">
          <a:solidFill>
            <a:schemeClr val="tx1"/>
          </a:solidFill>
          <a:latin typeface="+mn-lt"/>
          <a:ea typeface="+mn-ea"/>
          <a:cs typeface="+mn-cs"/>
        </a:defRPr>
      </a:lvl3pPr>
      <a:lvl4pPr marL="1568676"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4pPr>
      <a:lvl5pPr marL="2016869"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5pPr>
      <a:lvl6pPr marL="2465062"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6pPr>
      <a:lvl7pPr marL="2913256"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7pPr>
      <a:lvl8pPr marL="3361449"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8pPr>
      <a:lvl9pPr marL="3809642"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10859868"/>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 id="2147483890" r:id="rId23"/>
    <p:sldLayoutId id="2147483891" r:id="rId24"/>
    <p:sldLayoutId id="2147483892" r:id="rId25"/>
    <p:sldLayoutId id="2147483893" r:id="rId26"/>
    <p:sldLayoutId id="2147483894" r:id="rId2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6192381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7690824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4" r:id="rId21"/>
    <p:sldLayoutId id="2147483735"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97450541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2858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031059"/>
            <a:ext cx="11653521" cy="207633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p:cNvGrpSpPr/>
          <p:nvPr/>
        </p:nvGrpSpPr>
        <p:grpSpPr>
          <a:xfrm>
            <a:off x="12299576" y="0"/>
            <a:ext cx="331694" cy="5622724"/>
            <a:chOff x="12263718" y="0"/>
            <a:chExt cx="555812" cy="5622724"/>
          </a:xfrm>
        </p:grpSpPr>
        <p:sp>
          <p:nvSpPr>
            <p:cNvPr id="3" name="Rectangle 2"/>
            <p:cNvSpPr/>
            <p:nvPr userDrawn="1"/>
          </p:nvSpPr>
          <p:spPr bwMode="auto">
            <a:xfrm>
              <a:off x="12263718" y="0"/>
              <a:ext cx="555812" cy="5558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263718" y="633364"/>
              <a:ext cx="555812" cy="555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263718" y="1266728"/>
              <a:ext cx="555812" cy="5558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263718" y="1900092"/>
              <a:ext cx="555812" cy="5558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263718" y="2533456"/>
              <a:ext cx="555812" cy="5558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12263718" y="3166820"/>
              <a:ext cx="555812" cy="5558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12263718" y="3800184"/>
              <a:ext cx="555812" cy="555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2263718" y="4433548"/>
              <a:ext cx="555812" cy="555812"/>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2263718" y="5066912"/>
              <a:ext cx="555812" cy="5558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1014543"/>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860" r:id="rId8"/>
  </p:sldLayoutIdLst>
  <p:transition>
    <p:fade/>
  </p:transition>
  <p:txStyles>
    <p:titleStyle>
      <a:lvl1pPr marL="0" algn="l" defTabSz="914192" rtl="0" eaLnBrk="1" latinLnBrk="0" hangingPunct="1">
        <a:lnSpc>
          <a:spcPct val="90000"/>
        </a:lnSpc>
        <a:spcBef>
          <a:spcPct val="0"/>
        </a:spcBef>
        <a:buNone/>
        <a:defRPr lang="en-US" sz="4400" b="0" kern="1200" cap="none" spc="-100" baseline="0" dirty="0">
          <a:ln w="3175">
            <a:noFill/>
          </a:ln>
          <a:gradFill>
            <a:gsLst>
              <a:gs pos="62564">
                <a:schemeClr val="accent1"/>
              </a:gs>
              <a:gs pos="55000">
                <a:schemeClr val="accent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28449614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51100899"/>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8" r:id="rId12"/>
    <p:sldLayoutId id="2147483861"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6342965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 id="2147483821"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10383010"/>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 id="2147483842" r:id="rId20"/>
    <p:sldLayoutId id="2147483843" r:id="rId21"/>
    <p:sldLayoutId id="2147483844" r:id="rId22"/>
    <p:sldLayoutId id="2147483845" r:id="rId23"/>
    <p:sldLayoutId id="2147483846" r:id="rId24"/>
    <p:sldLayoutId id="2147483847" r:id="rId25"/>
    <p:sldLayoutId id="2147483848" r:id="rId26"/>
    <p:sldLayoutId id="2147483849" r:id="rId27"/>
    <p:sldLayoutId id="2147483850" r:id="rId28"/>
    <p:sldLayoutId id="2147483851" r:id="rId29"/>
    <p:sldLayoutId id="2147483852" r:id="rId30"/>
    <p:sldLayoutId id="2147483853" r:id="rId31"/>
    <p:sldLayoutId id="2147483854" r:id="rId32"/>
    <p:sldLayoutId id="2147483855" r:id="rId33"/>
    <p:sldLayoutId id="2147483856" r:id="rId34"/>
    <p:sldLayoutId id="2147483857" r:id="rId35"/>
    <p:sldLayoutId id="2147483858" r:id="rId36"/>
    <p:sldLayoutId id="2147483859"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18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6.xml"/></Relationships>
</file>

<file path=ppt/slides/_rels/slide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206.xml"/><Relationship Id="rId4" Type="http://schemas.openxmlformats.org/officeDocument/2006/relationships/image" Target="../media/image63.svg"/></Relationships>
</file>

<file path=ppt/slides/_rels/slide16.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chart" Target="../charts/chart1.xml"/><Relationship Id="rId7"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206.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chart" Target="../charts/chart2.xml"/><Relationship Id="rId9" Type="http://schemas.openxmlformats.org/officeDocument/2006/relationships/image" Target="../media/image66.png"/></Relationships>
</file>

<file path=ppt/slides/_rels/slide17.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206.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1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jpg"/><Relationship Id="rId7" Type="http://schemas.openxmlformats.org/officeDocument/2006/relationships/image" Target="../media/image78.svg"/><Relationship Id="rId2" Type="http://schemas.openxmlformats.org/officeDocument/2006/relationships/notesSlide" Target="../notesSlides/notesSlide16.xml"/><Relationship Id="rId1" Type="http://schemas.openxmlformats.org/officeDocument/2006/relationships/slideLayout" Target="../slideLayouts/slideLayout7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sv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s>
</file>

<file path=ppt/slides/_rels/slide1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20.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93.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5.svg"/></Relationships>
</file>

<file path=ppt/slides/_rels/slide2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9.xml"/><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notesSlide" Target="../notesSlides/notesSlide20.xml"/><Relationship Id="rId1" Type="http://schemas.openxmlformats.org/officeDocument/2006/relationships/slideLayout" Target="../slideLayouts/slideLayout93.xml"/><Relationship Id="rId6" Type="http://schemas.openxmlformats.org/officeDocument/2006/relationships/image" Target="../media/image93.jpg"/><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1.xml"/><Relationship Id="rId1" Type="http://schemas.openxmlformats.org/officeDocument/2006/relationships/slideLayout" Target="../slideLayouts/slideLayout76.xml"/></Relationships>
</file>

<file path=ppt/slides/_rels/slide2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notesSlide" Target="../notesSlides/notesSlide22.xml"/><Relationship Id="rId1" Type="http://schemas.openxmlformats.org/officeDocument/2006/relationships/slideLayout" Target="../slideLayouts/slideLayout81.xml"/><Relationship Id="rId6" Type="http://schemas.openxmlformats.org/officeDocument/2006/relationships/image" Target="../media/image93.jpg"/><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76.xml"/><Relationship Id="rId4" Type="http://schemas.openxmlformats.org/officeDocument/2006/relationships/image" Target="../media/image78.svg"/></Relationships>
</file>

<file path=ppt/slides/_rels/slide26.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101.png"/><Relationship Id="rId1" Type="http://schemas.openxmlformats.org/officeDocument/2006/relationships/slideLayout" Target="../slideLayouts/slideLayout148.xml"/><Relationship Id="rId5" Type="http://schemas.openxmlformats.org/officeDocument/2006/relationships/image" Target="../media/image104.svg"/><Relationship Id="rId4" Type="http://schemas.openxmlformats.org/officeDocument/2006/relationships/image" Target="../media/image103.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6.png"/><Relationship Id="rId7" Type="http://schemas.openxmlformats.org/officeDocument/2006/relationships/image" Target="../media/image109.png"/><Relationship Id="rId2" Type="http://schemas.openxmlformats.org/officeDocument/2006/relationships/image" Target="../media/image105.png"/><Relationship Id="rId1" Type="http://schemas.openxmlformats.org/officeDocument/2006/relationships/slideLayout" Target="../slideLayouts/slideLayout117.xml"/><Relationship Id="rId6" Type="http://schemas.openxmlformats.org/officeDocument/2006/relationships/image" Target="../media/image108.svg"/><Relationship Id="rId5" Type="http://schemas.openxmlformats.org/officeDocument/2006/relationships/image" Target="../media/image103.png"/><Relationship Id="rId10" Type="http://schemas.openxmlformats.org/officeDocument/2006/relationships/image" Target="../media/image111.png"/><Relationship Id="rId4" Type="http://schemas.openxmlformats.org/officeDocument/2006/relationships/image" Target="../media/image107.svg"/><Relationship Id="rId9" Type="http://schemas.microsoft.com/office/2007/relationships/hdphoto" Target="../media/hdphoto1.wdp"/></Relationships>
</file>

<file path=ppt/slides/_rels/slide28.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notesSlide" Target="../notesSlides/notesSlide24.xml"/><Relationship Id="rId1" Type="http://schemas.openxmlformats.org/officeDocument/2006/relationships/slideLayout" Target="../slideLayouts/slideLayout118.xml"/><Relationship Id="rId6" Type="http://schemas.openxmlformats.org/officeDocument/2006/relationships/image" Target="../media/image93.jpg"/><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5.xml"/><Relationship Id="rId1" Type="http://schemas.openxmlformats.org/officeDocument/2006/relationships/slideLayout" Target="../slideLayouts/slideLayout16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architecture/guide/technology-choices/compute-decision-tree" TargetMode="External"/><Relationship Id="rId2" Type="http://schemas.openxmlformats.org/officeDocument/2006/relationships/notesSlide" Target="../notesSlides/notesSlide26.xml"/><Relationship Id="rId1" Type="http://schemas.openxmlformats.org/officeDocument/2006/relationships/slideLayout" Target="../slideLayouts/slideLayout89.xml"/><Relationship Id="rId6" Type="http://schemas.openxmlformats.org/officeDocument/2006/relationships/hyperlink" Target="github.com/Microsoft/SmartHotel360-AKS-DevSpaces-Demo%20github.com/dotnet-architecture/eShopOnContainers" TargetMode="External"/><Relationship Id="rId5" Type="http://schemas.openxmlformats.org/officeDocument/2006/relationships/hyperlink" Target="aka.ms/microservicesebook" TargetMode="External"/><Relationship Id="rId4" Type="http://schemas.openxmlformats.org/officeDocument/2006/relationships/hyperlink" Target="https://azure.microsoft.com/en-us/resources/designing-distributed-systems/"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1.xml"/><Relationship Id="rId1" Type="http://schemas.openxmlformats.org/officeDocument/2006/relationships/tags" Target="../tags/tag11.xml"/></Relationships>
</file>

<file path=ppt/slides/_rels/slide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8" Type="http://schemas.openxmlformats.org/officeDocument/2006/relationships/image" Target="../media/image53.emf"/><Relationship Id="rId13" Type="http://schemas.openxmlformats.org/officeDocument/2006/relationships/image" Target="../media/image58.emf"/><Relationship Id="rId3" Type="http://schemas.openxmlformats.org/officeDocument/2006/relationships/image" Target="../media/image48.emf"/><Relationship Id="rId7" Type="http://schemas.openxmlformats.org/officeDocument/2006/relationships/image" Target="../media/image52.emf"/><Relationship Id="rId12" Type="http://schemas.openxmlformats.org/officeDocument/2006/relationships/image" Target="../media/image57.emf"/><Relationship Id="rId2" Type="http://schemas.openxmlformats.org/officeDocument/2006/relationships/notesSlide" Target="../notesSlides/notesSlide7.xml"/><Relationship Id="rId1" Type="http://schemas.openxmlformats.org/officeDocument/2006/relationships/slideLayout" Target="../slideLayouts/slideLayout54.xml"/><Relationship Id="rId6" Type="http://schemas.openxmlformats.org/officeDocument/2006/relationships/image" Target="../media/image51.emf"/><Relationship Id="rId11" Type="http://schemas.openxmlformats.org/officeDocument/2006/relationships/image" Target="../media/image56.emf"/><Relationship Id="rId5" Type="http://schemas.openxmlformats.org/officeDocument/2006/relationships/image" Target="../media/image50.emf"/><Relationship Id="rId15" Type="http://schemas.openxmlformats.org/officeDocument/2006/relationships/image" Target="../media/image60.png"/><Relationship Id="rId10" Type="http://schemas.openxmlformats.org/officeDocument/2006/relationships/image" Target="../media/image55.emf"/><Relationship Id="rId4" Type="http://schemas.openxmlformats.org/officeDocument/2006/relationships/image" Target="../media/image49.emf"/><Relationship Id="rId9" Type="http://schemas.openxmlformats.org/officeDocument/2006/relationships/image" Target="../media/image54.emf"/><Relationship Id="rId14" Type="http://schemas.openxmlformats.org/officeDocument/2006/relationships/image" Target="../media/image59.emf"/></Relationships>
</file>

<file path=ppt/slides/_rels/slide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 y="487"/>
            <a:ext cx="12254058" cy="6857791"/>
          </a:xfrm>
          <a:prstGeom prst="rect">
            <a:avLst/>
          </a:prstGeom>
        </p:spPr>
      </p:pic>
      <p:pic>
        <p:nvPicPr>
          <p:cNvPr id="6" name="Picture 5" descr="Microsoft, Ms, Logo, Business, Window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47016" y="121032"/>
            <a:ext cx="1153626" cy="576813"/>
          </a:xfrm>
          <a:prstGeom prst="rect">
            <a:avLst/>
          </a:prstGeom>
        </p:spPr>
      </p:pic>
      <p:sp>
        <p:nvSpPr>
          <p:cNvPr id="9" name="Rectangle 8">
            <a:extLst>
              <a:ext uri="{FF2B5EF4-FFF2-40B4-BE49-F238E27FC236}">
                <a16:creationId xmlns:a16="http://schemas.microsoft.com/office/drawing/2014/main" id="{3B53569C-6F26-446D-952F-16DBC4D0D24B}"/>
              </a:ext>
            </a:extLst>
          </p:cNvPr>
          <p:cNvSpPr/>
          <p:nvPr/>
        </p:nvSpPr>
        <p:spPr bwMode="auto">
          <a:xfrm>
            <a:off x="6407844" y="1901586"/>
            <a:ext cx="5847078" cy="3391291"/>
          </a:xfrm>
          <a:prstGeom prst="rect">
            <a:avLst/>
          </a:prstGeom>
          <a:solidFill>
            <a:srgbClr val="0078D7">
              <a:alpha val="4470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Calibri" panose="020F0502020204030204"/>
            </a:endParaRPr>
          </a:p>
        </p:txBody>
      </p:sp>
      <p:sp>
        <p:nvSpPr>
          <p:cNvPr id="10" name="Title 1">
            <a:extLst>
              <a:ext uri="{FF2B5EF4-FFF2-40B4-BE49-F238E27FC236}">
                <a16:creationId xmlns:a16="http://schemas.microsoft.com/office/drawing/2014/main" id="{9333CCEE-5CBD-4BE6-AE98-72ABE0EA1029}"/>
              </a:ext>
            </a:extLst>
          </p:cNvPr>
          <p:cNvSpPr txBox="1">
            <a:spLocks/>
          </p:cNvSpPr>
          <p:nvPr/>
        </p:nvSpPr>
        <p:spPr>
          <a:xfrm>
            <a:off x="6606231" y="2230655"/>
            <a:ext cx="5450303" cy="89953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sz="4313" dirty="0">
                <a:solidFill>
                  <a:prstClr val="white"/>
                </a:solidFill>
                <a:latin typeface="Calibri Light" panose="020F0302020204030204"/>
              </a:rPr>
              <a:t>Microservices and Containers</a:t>
            </a:r>
          </a:p>
        </p:txBody>
      </p:sp>
      <p:sp>
        <p:nvSpPr>
          <p:cNvPr id="11" name="TextBox 10">
            <a:extLst>
              <a:ext uri="{FF2B5EF4-FFF2-40B4-BE49-F238E27FC236}">
                <a16:creationId xmlns:a16="http://schemas.microsoft.com/office/drawing/2014/main" id="{1BD88ED4-8643-4257-8ADC-A29A8CF25608}"/>
              </a:ext>
            </a:extLst>
          </p:cNvPr>
          <p:cNvSpPr txBox="1"/>
          <p:nvPr/>
        </p:nvSpPr>
        <p:spPr>
          <a:xfrm>
            <a:off x="6609456" y="3861622"/>
            <a:ext cx="4586082" cy="1037167"/>
          </a:xfrm>
          <a:prstGeom prst="rect">
            <a:avLst/>
          </a:prstGeom>
          <a:noFill/>
        </p:spPr>
        <p:txBody>
          <a:bodyPr wrap="square" lIns="182854" tIns="146284" rIns="182854" bIns="146284" rtlCol="0">
            <a:spAutoFit/>
          </a:bodyPr>
          <a:lstStyle/>
          <a:p>
            <a:pPr defTabSz="914367">
              <a:lnSpc>
                <a:spcPct val="90000"/>
              </a:lnSpc>
              <a:spcAft>
                <a:spcPts val="600"/>
              </a:spcAft>
            </a:pPr>
            <a:r>
              <a:rPr lang="en-US" sz="2400" dirty="0">
                <a:solidFill>
                  <a:prstClr val="white"/>
                </a:solidFill>
                <a:latin typeface="Calibri" panose="020F0502020204030204"/>
              </a:rPr>
              <a:t>Hugo Melendez</a:t>
            </a:r>
          </a:p>
          <a:p>
            <a:pPr defTabSz="914367">
              <a:lnSpc>
                <a:spcPct val="90000"/>
              </a:lnSpc>
              <a:spcAft>
                <a:spcPts val="600"/>
              </a:spcAft>
            </a:pPr>
            <a:r>
              <a:rPr lang="en-US" sz="2400" dirty="0">
                <a:solidFill>
                  <a:prstClr val="white"/>
                </a:solidFill>
                <a:latin typeface="Calibri" panose="020F0502020204030204"/>
              </a:rPr>
              <a:t>Technical Solution Professional</a:t>
            </a:r>
          </a:p>
        </p:txBody>
      </p:sp>
    </p:spTree>
    <p:extLst>
      <p:ext uri="{BB962C8B-B14F-4D97-AF65-F5344CB8AC3E}">
        <p14:creationId xmlns:p14="http://schemas.microsoft.com/office/powerpoint/2010/main" val="3578365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Benefits</a:t>
            </a:r>
          </a:p>
        </p:txBody>
      </p:sp>
      <p:sp>
        <p:nvSpPr>
          <p:cNvPr id="7" name="Text Placeholder 6">
            <a:extLst>
              <a:ext uri="{FF2B5EF4-FFF2-40B4-BE49-F238E27FC236}">
                <a16:creationId xmlns:a16="http://schemas.microsoft.com/office/drawing/2014/main" id="{720FDE57-AAF9-4A6B-B2B1-004391794B7D}"/>
              </a:ext>
            </a:extLst>
          </p:cNvPr>
          <p:cNvSpPr>
            <a:spLocks noGrp="1"/>
          </p:cNvSpPr>
          <p:nvPr>
            <p:ph type="body" sz="quarter" idx="10"/>
          </p:nvPr>
        </p:nvSpPr>
        <p:spPr>
          <a:xfrm>
            <a:off x="586390" y="1434370"/>
            <a:ext cx="11018520" cy="5632311"/>
          </a:xfrm>
        </p:spPr>
        <p:txBody>
          <a:bodyPr/>
          <a:lstStyle/>
          <a:p>
            <a:pPr>
              <a:spcBef>
                <a:spcPts val="1200"/>
              </a:spcBef>
            </a:pPr>
            <a:r>
              <a:rPr lang="en-US"/>
              <a:t>Encapsulates business functionality into small targeted services, </a:t>
            </a:r>
            <a:br>
              <a:rPr lang="en-US"/>
            </a:br>
            <a:r>
              <a:rPr lang="en-US"/>
              <a:t>organized around business capabilities</a:t>
            </a:r>
          </a:p>
          <a:p>
            <a:pPr>
              <a:spcBef>
                <a:spcPts val="1200"/>
              </a:spcBef>
            </a:pPr>
            <a:r>
              <a:rPr lang="en-US"/>
              <a:t>Services deploy frequently and evolve independently</a:t>
            </a:r>
          </a:p>
          <a:p>
            <a:pPr>
              <a:spcBef>
                <a:spcPts val="1200"/>
              </a:spcBef>
            </a:pPr>
            <a:r>
              <a:rPr lang="en-US"/>
              <a:t>Services scale Independently</a:t>
            </a:r>
          </a:p>
          <a:p>
            <a:pPr>
              <a:spcBef>
                <a:spcPts val="1200"/>
              </a:spcBef>
            </a:pPr>
            <a:r>
              <a:rPr lang="en-US"/>
              <a:t>Enables technology diversity</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Mix multiple programming platforms and data-storage technologies—best tool for the job</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Rewriting/modernizing a single service is feasible</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Future-proofs” application investment against obsolete technology stacks</a:t>
            </a:r>
          </a:p>
          <a:p>
            <a:pPr>
              <a:spcBef>
                <a:spcPts val="1200"/>
              </a:spcBef>
            </a:pPr>
            <a:r>
              <a:rPr lang="en-US"/>
              <a:t>Failure in one service less likely to cause system-wide failure</a:t>
            </a:r>
          </a:p>
          <a:p>
            <a:pPr>
              <a:spcBef>
                <a:spcPts val="1200"/>
              </a:spcBef>
            </a:pPr>
            <a:endParaRPr lang="en-US" sz="2400"/>
          </a:p>
          <a:p>
            <a:pPr>
              <a:spcBef>
                <a:spcPts val="1200"/>
              </a:spcBef>
            </a:pPr>
            <a:endParaRPr lang="en-US" sz="2400"/>
          </a:p>
        </p:txBody>
      </p:sp>
      <p:grpSp>
        <p:nvGrpSpPr>
          <p:cNvPr id="15" name="Group 14">
            <a:extLst>
              <a:ext uri="{FF2B5EF4-FFF2-40B4-BE49-F238E27FC236}">
                <a16:creationId xmlns:a16="http://schemas.microsoft.com/office/drawing/2014/main" id="{AB706DCA-1F8F-44CD-B214-3655549EB0EB}"/>
              </a:ext>
            </a:extLst>
          </p:cNvPr>
          <p:cNvGrpSpPr/>
          <p:nvPr/>
        </p:nvGrpSpPr>
        <p:grpSpPr>
          <a:xfrm>
            <a:off x="10671586" y="359313"/>
            <a:ext cx="1160878" cy="1213761"/>
            <a:chOff x="9543380" y="750622"/>
            <a:chExt cx="1651935" cy="1727187"/>
          </a:xfrm>
          <a:solidFill>
            <a:schemeClr val="bg1"/>
          </a:solidFill>
        </p:grpSpPr>
        <p:sp>
          <p:nvSpPr>
            <p:cNvPr id="16" name="Hexagon 15">
              <a:extLst>
                <a:ext uri="{FF2B5EF4-FFF2-40B4-BE49-F238E27FC236}">
                  <a16:creationId xmlns:a16="http://schemas.microsoft.com/office/drawing/2014/main" id="{1772F944-A1AC-46F9-BDBC-7EFD3F6124C6}"/>
                </a:ext>
              </a:extLst>
            </p:cNvPr>
            <p:cNvSpPr/>
            <p:nvPr/>
          </p:nvSpPr>
          <p:spPr>
            <a:xfrm>
              <a:off x="10018442" y="750622"/>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Hexagon 16">
              <a:extLst>
                <a:ext uri="{FF2B5EF4-FFF2-40B4-BE49-F238E27FC236}">
                  <a16:creationId xmlns:a16="http://schemas.microsoft.com/office/drawing/2014/main" id="{7FCD86A3-47F8-40D5-A014-FE2212A14637}"/>
                </a:ext>
              </a:extLst>
            </p:cNvPr>
            <p:cNvSpPr/>
            <p:nvPr/>
          </p:nvSpPr>
          <p:spPr>
            <a:xfrm>
              <a:off x="10018443" y="1269197"/>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Hexagon 17">
              <a:extLst>
                <a:ext uri="{FF2B5EF4-FFF2-40B4-BE49-F238E27FC236}">
                  <a16:creationId xmlns:a16="http://schemas.microsoft.com/office/drawing/2014/main" id="{1CC27136-3A7D-4456-A002-31E0297EEE08}"/>
                </a:ext>
              </a:extLst>
            </p:cNvPr>
            <p:cNvSpPr/>
            <p:nvPr/>
          </p:nvSpPr>
          <p:spPr>
            <a:xfrm>
              <a:off x="10493501" y="1004414"/>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Hexagon 18">
              <a:extLst>
                <a:ext uri="{FF2B5EF4-FFF2-40B4-BE49-F238E27FC236}">
                  <a16:creationId xmlns:a16="http://schemas.microsoft.com/office/drawing/2014/main" id="{ADFF42BA-7505-49D1-8602-49E7AFC0FD3A}"/>
                </a:ext>
              </a:extLst>
            </p:cNvPr>
            <p:cNvSpPr/>
            <p:nvPr/>
          </p:nvSpPr>
          <p:spPr>
            <a:xfrm>
              <a:off x="9543380" y="986956"/>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Hexagon 19">
              <a:extLst>
                <a:ext uri="{FF2B5EF4-FFF2-40B4-BE49-F238E27FC236}">
                  <a16:creationId xmlns:a16="http://schemas.microsoft.com/office/drawing/2014/main" id="{3457AA96-46DA-466F-B2AD-D316BC3A4F97}"/>
                </a:ext>
              </a:extLst>
            </p:cNvPr>
            <p:cNvSpPr/>
            <p:nvPr/>
          </p:nvSpPr>
          <p:spPr>
            <a:xfrm>
              <a:off x="10218394" y="2020609"/>
              <a:ext cx="524934"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Hexagon 20">
              <a:extLst>
                <a:ext uri="{FF2B5EF4-FFF2-40B4-BE49-F238E27FC236}">
                  <a16:creationId xmlns:a16="http://schemas.microsoft.com/office/drawing/2014/main" id="{20E84C2F-57CE-43D8-B23C-0558573DBA18}"/>
                </a:ext>
              </a:extLst>
            </p:cNvPr>
            <p:cNvSpPr/>
            <p:nvPr/>
          </p:nvSpPr>
          <p:spPr>
            <a:xfrm>
              <a:off x="9552772" y="1533980"/>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Hexagon 21">
              <a:extLst>
                <a:ext uri="{FF2B5EF4-FFF2-40B4-BE49-F238E27FC236}">
                  <a16:creationId xmlns:a16="http://schemas.microsoft.com/office/drawing/2014/main" id="{3DB8ECD9-08EB-4724-A6C0-61D360D0C407}"/>
                </a:ext>
              </a:extLst>
            </p:cNvPr>
            <p:cNvSpPr/>
            <p:nvPr/>
          </p:nvSpPr>
          <p:spPr>
            <a:xfrm>
              <a:off x="10670382" y="1738004"/>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93559524"/>
      </p:ext>
    </p:extLst>
  </p:cSld>
  <p:clrMapOvr>
    <a:masterClrMapping/>
  </p:clrMapOvr>
  <mc:AlternateContent xmlns:mc="http://schemas.openxmlformats.org/markup-compatibility/2006" xmlns:p14="http://schemas.microsoft.com/office/powerpoint/2010/main">
    <mc:Choice Requires="p14">
      <p:transition spd="med" p14:dur="700" advTm="129136">
        <p:fade/>
      </p:transition>
    </mc:Choice>
    <mc:Fallback xmlns="">
      <p:transition spd="med" advTm="129136">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Challenges</a:t>
            </a:r>
          </a:p>
        </p:txBody>
      </p:sp>
      <p:sp>
        <p:nvSpPr>
          <p:cNvPr id="5" name="Text Placeholder 4">
            <a:extLst>
              <a:ext uri="{FF2B5EF4-FFF2-40B4-BE49-F238E27FC236}">
                <a16:creationId xmlns:a16="http://schemas.microsoft.com/office/drawing/2014/main" id="{4BBD6D25-93CA-48E5-82BB-29D83392F397}"/>
              </a:ext>
            </a:extLst>
          </p:cNvPr>
          <p:cNvSpPr>
            <a:spLocks noGrp="1"/>
          </p:cNvSpPr>
          <p:nvPr>
            <p:ph type="body" sz="quarter" idx="10"/>
          </p:nvPr>
        </p:nvSpPr>
        <p:spPr>
          <a:xfrm>
            <a:off x="584200" y="1435497"/>
            <a:ext cx="11018520" cy="5265544"/>
          </a:xfrm>
        </p:spPr>
        <p:txBody>
          <a:bodyPr vert="horz" wrap="square" lIns="0" tIns="0" rIns="0" bIns="0" rtlCol="0">
            <a:spAutoFit/>
          </a:bodyPr>
          <a:lstStyle/>
          <a:p>
            <a:pPr marL="0" lvl="1" indent="0">
              <a:spcBef>
                <a:spcPts val="1700"/>
              </a:spcBef>
              <a:buNone/>
            </a:pPr>
            <a:r>
              <a:rPr lang="en-US" sz="2800" dirty="0">
                <a:latin typeface="Segoe UI Semilight" panose="020B0402040204020203" pitchFamily="34" charset="0"/>
                <a:cs typeface="Segoe UI Semilight" panose="020B0402040204020203" pitchFamily="34" charset="0"/>
              </a:rPr>
              <a:t>No free lunch…</a:t>
            </a:r>
          </a:p>
          <a:p>
            <a:pPr marL="342900" lvl="1" indent="-342900">
              <a:spcBef>
                <a:spcPts val="1200"/>
              </a:spcBef>
            </a:pPr>
            <a:r>
              <a:rPr lang="en-US" sz="2400" dirty="0">
                <a:latin typeface="Segoe UI" panose="020B0502040204020203" pitchFamily="34" charset="0"/>
                <a:cs typeface="Segoe UI" panose="020B0502040204020203" pitchFamily="34" charset="0"/>
              </a:rPr>
              <a:t>Architectural and operational complexity increase</a:t>
            </a:r>
          </a:p>
          <a:p>
            <a:pPr marL="342900" lvl="1" indent="-342900">
              <a:spcBef>
                <a:spcPts val="1200"/>
              </a:spcBef>
            </a:pPr>
            <a:r>
              <a:rPr lang="en-US" sz="2400" dirty="0">
                <a:latin typeface="Segoe UI" panose="020B0502040204020203" pitchFamily="34" charset="0"/>
                <a:cs typeface="Segoe UI" panose="020B0502040204020203" pitchFamily="34" charset="0"/>
              </a:rPr>
              <a:t>Remote calls escalate network I/O, congestion and latency</a:t>
            </a:r>
          </a:p>
          <a:p>
            <a:pPr marL="342900" lvl="1" indent="-342900">
              <a:spcBef>
                <a:spcPts val="1200"/>
              </a:spcBef>
            </a:pPr>
            <a:r>
              <a:rPr lang="en-US" sz="2400" dirty="0">
                <a:latin typeface="Segoe UI" panose="020B0502040204020203" pitchFamily="34" charset="0"/>
                <a:cs typeface="Segoe UI" panose="020B0502040204020203" pitchFamily="34" charset="0"/>
              </a:rPr>
              <a:t>Distributed services expose points of failure, reducing reliability</a:t>
            </a:r>
          </a:p>
          <a:p>
            <a:pPr marL="342900" lvl="1" indent="-342900">
              <a:spcBef>
                <a:spcPts val="1200"/>
              </a:spcBef>
            </a:pPr>
            <a:r>
              <a:rPr lang="en-US" sz="2400" dirty="0">
                <a:latin typeface="Segoe UI" panose="020B0502040204020203" pitchFamily="34" charset="0"/>
                <a:cs typeface="Segoe UI" panose="020B0502040204020203" pitchFamily="34" charset="0"/>
              </a:rPr>
              <a:t>Decentralized data require eventual consistency delays </a:t>
            </a:r>
          </a:p>
          <a:p>
            <a:pPr marL="342900" lvl="1" indent="-342900">
              <a:spcBef>
                <a:spcPts val="1200"/>
              </a:spcBef>
            </a:pPr>
            <a:r>
              <a:rPr lang="en-US" sz="2400" dirty="0">
                <a:latin typeface="Segoe UI" panose="020B0502040204020203" pitchFamily="34" charset="0"/>
                <a:cs typeface="Segoe UI" panose="020B0502040204020203" pitchFamily="34" charset="0"/>
              </a:rPr>
              <a:t>Integration and versioning concerns become critical </a:t>
            </a:r>
          </a:p>
          <a:p>
            <a:pPr marL="342900" lvl="1" indent="-342900">
              <a:spcBef>
                <a:spcPts val="1200"/>
              </a:spcBef>
            </a:pPr>
            <a:r>
              <a:rPr lang="en-US" sz="2400" dirty="0">
                <a:latin typeface="Segoe UI" panose="020B0502040204020203" pitchFamily="34" charset="0"/>
                <a:cs typeface="Segoe UI" panose="020B0502040204020203" pitchFamily="34" charset="0"/>
              </a:rPr>
              <a:t>Service discovery and routing concerns must be handled</a:t>
            </a:r>
          </a:p>
          <a:p>
            <a:pPr marL="342900" lvl="1" indent="-342900">
              <a:spcBef>
                <a:spcPts val="1200"/>
              </a:spcBef>
            </a:pPr>
            <a:r>
              <a:rPr lang="en-US" sz="2400" dirty="0">
                <a:latin typeface="Segoe UI" panose="020B0502040204020203" pitchFamily="34" charset="0"/>
                <a:cs typeface="Segoe UI" panose="020B0502040204020203" pitchFamily="34" charset="0"/>
              </a:rPr>
              <a:t>Testing—stubs/mocks become key</a:t>
            </a:r>
          </a:p>
          <a:p>
            <a:pPr marL="342900" lvl="1" indent="-342900">
              <a:spcBef>
                <a:spcPts val="1200"/>
              </a:spcBef>
            </a:pPr>
            <a:r>
              <a:rPr lang="en-US" sz="2400" dirty="0">
                <a:latin typeface="Segoe UI" panose="020B0502040204020203" pitchFamily="34" charset="0"/>
                <a:cs typeface="Segoe UI" panose="020B0502040204020203" pitchFamily="34" charset="0"/>
              </a:rPr>
              <a:t>Orchestration, management, and monitoring are mandatory</a:t>
            </a:r>
          </a:p>
          <a:p>
            <a:pPr marL="0" lvl="1" indent="0">
              <a:spcBef>
                <a:spcPts val="1700"/>
              </a:spcBef>
              <a:buNone/>
            </a:pPr>
            <a:endParaRPr lang="en-US" sz="280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735485929"/>
      </p:ext>
    </p:extLst>
  </p:cSld>
  <p:clrMapOvr>
    <a:masterClrMapping/>
  </p:clrMapOvr>
  <mc:AlternateContent xmlns:mc="http://schemas.openxmlformats.org/markup-compatibility/2006" xmlns:p14="http://schemas.microsoft.com/office/powerpoint/2010/main">
    <mc:Choice Requires="p14">
      <p:transition spd="slow" p14:dur="2000" advTm="81277"/>
    </mc:Choice>
    <mc:Fallback xmlns="">
      <p:transition spd="slow" advTm="81277"/>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icroservice candidates</a:t>
            </a:r>
          </a:p>
        </p:txBody>
      </p:sp>
      <p:sp>
        <p:nvSpPr>
          <p:cNvPr id="6" name="Text Placeholder 5"/>
          <p:cNvSpPr>
            <a:spLocks noGrp="1"/>
          </p:cNvSpPr>
          <p:nvPr>
            <p:ph type="body" sz="quarter" idx="10"/>
          </p:nvPr>
        </p:nvSpPr>
        <p:spPr>
          <a:xfrm>
            <a:off x="584200" y="1435497"/>
            <a:ext cx="11018520" cy="4570482"/>
          </a:xfrm>
        </p:spPr>
        <p:txBody>
          <a:bodyPr/>
          <a:lstStyle/>
          <a:p>
            <a:pPr marL="0" lvl="1" indent="0">
              <a:spcBef>
                <a:spcPts val="1800"/>
              </a:spcBef>
              <a:buNone/>
            </a:pPr>
            <a:r>
              <a:rPr lang="en-US" sz="2800">
                <a:latin typeface="Segoe UI Semilight" panose="020B0402040204020203" pitchFamily="34" charset="0"/>
                <a:cs typeface="Segoe UI Semilight" panose="020B0402040204020203" pitchFamily="34" charset="0"/>
              </a:rPr>
              <a:t>Most solutions do not warrant a microservices architecture</a:t>
            </a:r>
          </a:p>
          <a:p>
            <a:pPr marL="0" lvl="1" indent="0">
              <a:spcBef>
                <a:spcPts val="1800"/>
              </a:spcBef>
              <a:buNone/>
            </a:pPr>
            <a:r>
              <a:rPr lang="en-US" sz="2800">
                <a:latin typeface="Segoe UI Semilight" panose="020B0402040204020203" pitchFamily="34" charset="0"/>
                <a:cs typeface="Segoe UI Semilight" panose="020B0402040204020203" pitchFamily="34" charset="0"/>
              </a:rPr>
              <a:t>Consider microservices, when…</a:t>
            </a:r>
          </a:p>
          <a:p>
            <a:pPr marL="288925" lvl="1" indent="-288925">
              <a:spcBef>
                <a:spcPts val="1200"/>
              </a:spcBef>
              <a:buFont typeface="Arial" panose="020B0604020202020204" pitchFamily="34" charset="0"/>
              <a:buChar char="•"/>
            </a:pPr>
            <a:r>
              <a:rPr lang="en-US"/>
              <a:t>Large, strategic enterprise systems that need to align business capabilities/features</a:t>
            </a:r>
            <a:endParaRPr lang="en-US">
              <a:latin typeface="Segoe UI" panose="020B0502040204020203" pitchFamily="34" charset="0"/>
              <a:cs typeface="Segoe UI" panose="020B0502040204020203" pitchFamily="34" charset="0"/>
            </a:endParaRPr>
          </a:p>
          <a:p>
            <a:pPr marL="288925" lvl="1" indent="-288925">
              <a:spcBef>
                <a:spcPts val="1200"/>
              </a:spcBef>
              <a:buFont typeface="Arial" panose="020B0604020202020204" pitchFamily="34" charset="0"/>
              <a:buChar char="•"/>
            </a:pPr>
            <a:r>
              <a:rPr lang="en-US"/>
              <a:t>Systems that require a high release velocity: Frequent feature releases with high confidence</a:t>
            </a:r>
          </a:p>
          <a:p>
            <a:pPr marL="288925" lvl="1" indent="-288925">
              <a:spcBef>
                <a:spcPts val="1200"/>
              </a:spcBef>
              <a:buFont typeface="Arial" panose="020B0604020202020204" pitchFamily="34" charset="0"/>
              <a:buChar char="•"/>
            </a:pPr>
            <a:r>
              <a:rPr lang="en-US"/>
              <a:t>Applications developed by heterogenous teams with expertise in different technology stacks – Polyglot languages and tools</a:t>
            </a:r>
          </a:p>
          <a:p>
            <a:pPr marL="288925" lvl="1" indent="-288925">
              <a:spcBef>
                <a:spcPts val="1200"/>
              </a:spcBef>
              <a:buFont typeface="Arial" panose="020B0604020202020204" pitchFamily="34" charset="0"/>
              <a:buChar char="•"/>
            </a:pPr>
            <a:r>
              <a:rPr lang="en-US"/>
              <a:t>Application with components that must scale independently</a:t>
            </a:r>
            <a:endParaRPr lang="en-US">
              <a:latin typeface="Segoe UI Semilight" panose="020B0402040204020203" pitchFamily="34" charset="0"/>
              <a:cs typeface="Segoe UI Semilight" panose="020B0402040204020203" pitchFamily="34" charset="0"/>
            </a:endParaRPr>
          </a:p>
          <a:p>
            <a:pPr marL="0" lvl="1" indent="0">
              <a:spcBef>
                <a:spcPts val="1800"/>
              </a:spcBef>
              <a:buNone/>
            </a:pPr>
            <a:endParaRPr lang="en-US" sz="2800">
              <a:latin typeface="Segoe UI Semilight" panose="020B0402040204020203" pitchFamily="34" charset="0"/>
              <a:cs typeface="Segoe UI Semilight" panose="020B0402040204020203" pitchFamily="34" charset="0"/>
            </a:endParaRPr>
          </a:p>
          <a:p>
            <a:pPr marL="0" lvl="1" indent="0">
              <a:spcBef>
                <a:spcPts val="1800"/>
              </a:spcBef>
              <a:buNone/>
            </a:pPr>
            <a:endParaRPr lang="en-US" sz="280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18798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F6073A-F649-43E9-8E1B-4DBE586B34FD}"/>
              </a:ext>
            </a:extLst>
          </p:cNvPr>
          <p:cNvSpPr>
            <a:spLocks noGrp="1"/>
          </p:cNvSpPr>
          <p:nvPr>
            <p:ph type="title"/>
          </p:nvPr>
        </p:nvSpPr>
        <p:spPr/>
        <p:txBody>
          <a:bodyPr/>
          <a:lstStyle/>
          <a:p>
            <a:r>
              <a:rPr lang="en-US"/>
              <a:t>Containers</a:t>
            </a:r>
          </a:p>
        </p:txBody>
      </p:sp>
    </p:spTree>
    <p:extLst>
      <p:ext uri="{BB962C8B-B14F-4D97-AF65-F5344CB8AC3E}">
        <p14:creationId xmlns:p14="http://schemas.microsoft.com/office/powerpoint/2010/main" val="304654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Hardware</a:t>
                </a:r>
                <a:endParaRPr lang="en-US" sz="2353">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Hypervisor 1</a:t>
                </a:r>
                <a:endParaRPr lang="en-US" sz="2353">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Hardware</a:t>
              </a:r>
              <a:endParaRPr lang="en-US" sz="2353">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Host OS</a:t>
              </a:r>
              <a:endParaRPr lang="en-US" sz="2353">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Hypervisor 2</a:t>
              </a:r>
              <a:endParaRPr lang="en-US" sz="2353">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Guest OS</a:t>
              </a:r>
              <a:endParaRPr lang="en-US" sz="2353">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Dependencies</a:t>
              </a:r>
              <a:endParaRPr lang="en-US" sz="2353">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Application</a:t>
              </a:r>
              <a:endParaRPr lang="en-US" sz="2353">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Hardware</a:t>
              </a:r>
              <a:endParaRPr lang="en-US" sz="2353">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Host OS</a:t>
              </a:r>
              <a:endParaRPr lang="en-US" sz="2353">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Docker Engine</a:t>
              </a:r>
              <a:endParaRPr lang="en-US" sz="2353">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App dependencies</a:t>
              </a:r>
              <a:endParaRPr lang="en-US" sz="2353">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rgbClr val="505050"/>
                  </a:solidFill>
                  <a:latin typeface="Segoe UI"/>
                  <a:ea typeface="Segoe UI" pitchFamily="34" charset="0"/>
                  <a:cs typeface="Segoe UI" pitchFamily="34" charset="0"/>
                </a:rPr>
                <a:t>Application XYZ</a:t>
              </a:r>
              <a:endParaRPr lang="en-US" sz="2353">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Virtualization versus </a:t>
            </a:r>
            <a:r>
              <a:rPr lang="en-US" sz="4705" spc="-10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030207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a:solidFill>
                    <a:srgbClr val="505050"/>
                  </a:solidFill>
                  <a:latin typeface="Segoe UI" panose="020B0502040204020203" pitchFamily="34" charset="0"/>
                  <a:cs typeface="Segoe UI" panose="020B0502040204020203" pitchFamily="34" charset="0"/>
                </a:rPr>
                <a:t>Fast </a:t>
              </a:r>
              <a:br>
                <a:rPr lang="en-US" sz="1765">
                  <a:solidFill>
                    <a:srgbClr val="505050"/>
                  </a:solidFill>
                  <a:latin typeface="Segoe UI" panose="020B0502040204020203" pitchFamily="34" charset="0"/>
                  <a:cs typeface="Segoe UI" panose="020B0502040204020203" pitchFamily="34" charset="0"/>
                </a:rPr>
              </a:br>
              <a:r>
                <a:rPr lang="en-US" sz="1765">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a:solidFill>
                    <a:srgbClr val="505050"/>
                  </a:solidFill>
                  <a:latin typeface="Segoe UI" panose="020B0502040204020203" pitchFamily="34" charset="0"/>
                  <a:cs typeface="Segoe UI" panose="020B0502040204020203" pitchFamily="34" charset="0"/>
                </a:rPr>
                <a:t>Agile </a:t>
              </a:r>
              <a:br>
                <a:rPr lang="en-US" sz="1765">
                  <a:solidFill>
                    <a:srgbClr val="505050"/>
                  </a:solidFill>
                  <a:latin typeface="Segoe UI" panose="020B0502040204020203" pitchFamily="34" charset="0"/>
                  <a:cs typeface="Segoe UI" panose="020B0502040204020203" pitchFamily="34" charset="0"/>
                </a:rPr>
              </a:br>
              <a:r>
                <a:rPr lang="en-US" sz="1765">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a:solidFill>
                    <a:srgbClr val="505050"/>
                  </a:solidFill>
                  <a:latin typeface="Segoe UI" panose="020B0502040204020203" pitchFamily="34" charset="0"/>
                  <a:cs typeface="Segoe UI" panose="020B0502040204020203" pitchFamily="34" charset="0"/>
                </a:rPr>
                <a:t>Cost </a:t>
              </a:r>
              <a:br>
                <a:rPr lang="en-US" sz="1765">
                  <a:solidFill>
                    <a:srgbClr val="505050"/>
                  </a:solidFill>
                  <a:latin typeface="Segoe UI" panose="020B0502040204020203" pitchFamily="34" charset="0"/>
                  <a:cs typeface="Segoe UI" panose="020B0502040204020203" pitchFamily="34" charset="0"/>
                </a:rPr>
              </a:br>
              <a:r>
                <a:rPr lang="en-US" sz="1765">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117039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a:solidFill>
                  <a:schemeClr val="tx1"/>
                </a:solidFill>
              </a:rPr>
              <a:t>Containers are gaining </a:t>
            </a:r>
            <a:r>
              <a:rPr lang="en-US" sz="4705">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a:solidFill>
                  <a:srgbClr val="0072C6"/>
                </a:solidFill>
                <a:latin typeface="Segoe UI"/>
              </a:rPr>
              <a:t>9</a:t>
            </a:r>
            <a:r>
              <a:rPr lang="en-US" sz="5294">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a:solidFill>
                  <a:srgbClr val="505050"/>
                </a:solidFill>
                <a:latin typeface="Segoe UI"/>
              </a:rPr>
              <a:t>Nearly </a:t>
            </a:r>
            <a:r>
              <a:rPr lang="en-US" sz="1176" b="1">
                <a:solidFill>
                  <a:srgbClr val="505050"/>
                </a:solidFill>
                <a:latin typeface="Segoe UI Semibold" panose="020B0702040204020203" pitchFamily="34" charset="0"/>
                <a:cs typeface="Segoe UI Semibold" panose="020B0702040204020203" pitchFamily="34" charset="0"/>
              </a:rPr>
              <a:t>60% percent </a:t>
            </a:r>
            <a:r>
              <a:rPr lang="en-US" sz="1176">
                <a:solidFill>
                  <a:srgbClr val="505050"/>
                </a:solidFill>
                <a:latin typeface="Segoe UI"/>
              </a:rPr>
              <a:t>of organizations running 500 or more hosts are classiﬁed as </a:t>
            </a:r>
            <a:r>
              <a:rPr lang="en-US" sz="1176" b="1">
                <a:solidFill>
                  <a:srgbClr val="505050"/>
                </a:solidFill>
                <a:latin typeface="Segoe UI Semibold" panose="020B0702040204020203" pitchFamily="34" charset="0"/>
                <a:cs typeface="Segoe UI Semibold" panose="020B0702040204020203" pitchFamily="34" charset="0"/>
              </a:rPr>
              <a:t>container dabblers </a:t>
            </a:r>
            <a:r>
              <a:rPr lang="en-US" sz="1176">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a:solidFill>
                  <a:srgbClr val="505050"/>
                </a:solidFill>
                <a:latin typeface="Segoe UI Semibold" panose="020B0702040204020203" pitchFamily="34" charset="0"/>
                <a:cs typeface="Segoe UI Semibold" panose="020B0702040204020203" pitchFamily="34" charset="0"/>
              </a:rPr>
              <a:t>Does your organization currently </a:t>
            </a:r>
            <a:br>
              <a:rPr lang="en-US" sz="1765">
                <a:solidFill>
                  <a:srgbClr val="505050"/>
                </a:solidFill>
                <a:latin typeface="Segoe UI Semibold" panose="020B0702040204020203" pitchFamily="34" charset="0"/>
                <a:cs typeface="Segoe UI Semibold" panose="020B0702040204020203" pitchFamily="34" charset="0"/>
              </a:rPr>
            </a:br>
            <a:r>
              <a:rPr lang="en-US" sz="1765">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a:solidFill>
                  <a:srgbClr val="505050"/>
                </a:solidFill>
                <a:latin typeface="Segoe UI Semibold" panose="020B0702040204020203" pitchFamily="34" charset="0"/>
                <a:cs typeface="Segoe UI Semibold" panose="020B0702040204020203" pitchFamily="34" charset="0"/>
              </a:rPr>
              <a:t>1</a:t>
            </a:r>
            <a:endParaRPr lang="en-US" sz="1765">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a:solidFill>
                  <a:srgbClr val="0072C6"/>
                </a:solidFill>
                <a:latin typeface="Segoe UI"/>
              </a:rPr>
              <a:t>5</a:t>
            </a:r>
            <a:r>
              <a:rPr lang="en-US" sz="5294">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a:solidFill>
                  <a:srgbClr val="505050"/>
                </a:solidFill>
                <a:latin typeface="Segoe UI Semibold" panose="020B0702040204020203" pitchFamily="34" charset="0"/>
                <a:cs typeface="Segoe UI Semibold" panose="020B0702040204020203" pitchFamily="34" charset="0"/>
              </a:rPr>
              <a:t>Larger companies</a:t>
            </a:r>
            <a:br>
              <a:rPr lang="en-US" sz="1765">
                <a:solidFill>
                  <a:srgbClr val="505050"/>
                </a:solidFill>
                <a:latin typeface="Segoe UI Semibold" panose="020B0702040204020203" pitchFamily="34" charset="0"/>
                <a:cs typeface="Segoe UI Semibold" panose="020B0702040204020203" pitchFamily="34" charset="0"/>
              </a:rPr>
            </a:br>
            <a:r>
              <a:rPr lang="en-US" sz="1765">
                <a:solidFill>
                  <a:srgbClr val="505050"/>
                </a:solidFill>
                <a:latin typeface="Segoe UI Semibold" panose="020B0702040204020203" pitchFamily="34" charset="0"/>
                <a:cs typeface="Segoe UI Semibold" panose="020B0702040204020203" pitchFamily="34" charset="0"/>
              </a:rPr>
              <a:t>are leading</a:t>
            </a:r>
            <a:br>
              <a:rPr lang="en-US" sz="1765">
                <a:solidFill>
                  <a:srgbClr val="505050"/>
                </a:solidFill>
                <a:latin typeface="Segoe UI Semibold" panose="020B0702040204020203" pitchFamily="34" charset="0"/>
                <a:cs typeface="Segoe UI Semibold" panose="020B0702040204020203" pitchFamily="34" charset="0"/>
              </a:rPr>
            </a:br>
            <a:r>
              <a:rPr lang="en-US" sz="1765">
                <a:solidFill>
                  <a:srgbClr val="505050"/>
                </a:solidFill>
                <a:latin typeface="Segoe UI Semibold" panose="020B0702040204020203" pitchFamily="34" charset="0"/>
                <a:cs typeface="Segoe UI Semibold" panose="020B0702040204020203" pitchFamily="34" charset="0"/>
              </a:rPr>
              <a:t>adoption.</a:t>
            </a:r>
            <a:r>
              <a:rPr lang="en-US" sz="1765" baseline="30000">
                <a:solidFill>
                  <a:srgbClr val="505050"/>
                </a:solidFill>
                <a:latin typeface="Segoe UI Semibold" panose="020B0702040204020203" pitchFamily="34" charset="0"/>
                <a:cs typeface="Segoe UI Semibold" panose="020B0702040204020203" pitchFamily="34" charset="0"/>
              </a:rPr>
              <a:t>2</a:t>
            </a:r>
            <a:endParaRPr lang="en-US" sz="1765">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a:solidFill>
                  <a:srgbClr val="505050"/>
                </a:solidFill>
                <a:latin typeface="Segoe UI Semibold" panose="020B0702040204020203" pitchFamily="34" charset="0"/>
                <a:cs typeface="Segoe UI Semibold" panose="020B0702040204020203" pitchFamily="34" charset="0"/>
              </a:rPr>
              <a:t>The average company </a:t>
            </a:r>
            <a:r>
              <a:rPr lang="en-US" sz="1765">
                <a:solidFill>
                  <a:srgbClr val="0072C6"/>
                </a:solidFill>
                <a:latin typeface="Segoe UI Semibold" panose="020B0702040204020203" pitchFamily="34" charset="0"/>
                <a:cs typeface="Segoe UI Semibold" panose="020B0702040204020203" pitchFamily="34" charset="0"/>
              </a:rPr>
              <a:t>QUINTUPLES</a:t>
            </a:r>
            <a:br>
              <a:rPr lang="en-US" sz="1765">
                <a:solidFill>
                  <a:srgbClr val="505050"/>
                </a:solidFill>
                <a:latin typeface="Segoe UI Semibold" panose="020B0702040204020203" pitchFamily="34" charset="0"/>
                <a:cs typeface="Segoe UI Semibold" panose="020B0702040204020203" pitchFamily="34" charset="0"/>
              </a:rPr>
            </a:br>
            <a:r>
              <a:rPr lang="en-US" sz="1765">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a:solidFill>
                  <a:srgbClr val="505050"/>
                </a:solidFill>
                <a:latin typeface="Segoe UI Semibold" panose="020B0702040204020203" pitchFamily="34" charset="0"/>
                <a:cs typeface="Segoe UI Semibold" panose="020B0702040204020203" pitchFamily="34" charset="0"/>
              </a:rPr>
              <a:t>1</a:t>
            </a:r>
            <a:endParaRPr lang="en-US" sz="1765">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a:solidFill>
                  <a:srgbClr val="0072C6"/>
                </a:solidFill>
                <a:latin typeface="Segoe UI"/>
              </a:rPr>
              <a:t>7</a:t>
            </a:r>
            <a:r>
              <a:rPr lang="en-US" sz="5294">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a:solidFill>
                  <a:srgbClr val="505050"/>
                </a:solidFill>
                <a:latin typeface="Segoe UI Semibold" panose="020B0702040204020203" pitchFamily="34" charset="0"/>
                <a:cs typeface="Segoe UI Semibold" panose="020B0702040204020203" pitchFamily="34" charset="0"/>
              </a:rPr>
              <a:t>Container hosts often run </a:t>
            </a:r>
            <a:r>
              <a:rPr lang="en-US" sz="1765">
                <a:solidFill>
                  <a:srgbClr val="0072C6"/>
                </a:solidFill>
                <a:latin typeface="Segoe UI Semibold" panose="020B0702040204020203" pitchFamily="34" charset="0"/>
                <a:cs typeface="Segoe UI Semibold" panose="020B0702040204020203" pitchFamily="34" charset="0"/>
              </a:rPr>
              <a:t>SEVEN</a:t>
            </a:r>
            <a:r>
              <a:rPr lang="en-US" sz="1765">
                <a:solidFill>
                  <a:srgbClr val="505050"/>
                </a:solidFill>
                <a:latin typeface="Segoe UI Semibold" panose="020B0702040204020203" pitchFamily="34" charset="0"/>
                <a:cs typeface="Segoe UI Semibold" panose="020B0702040204020203" pitchFamily="34" charset="0"/>
              </a:rPr>
              <a:t> containers</a:t>
            </a:r>
            <a:br>
              <a:rPr lang="en-US" sz="1765">
                <a:solidFill>
                  <a:srgbClr val="505050"/>
                </a:solidFill>
                <a:latin typeface="Segoe UI Semibold" panose="020B0702040204020203" pitchFamily="34" charset="0"/>
                <a:cs typeface="Segoe UI Semibold" panose="020B0702040204020203" pitchFamily="34" charset="0"/>
              </a:rPr>
            </a:br>
            <a:r>
              <a:rPr lang="en-US" sz="1765">
                <a:solidFill>
                  <a:srgbClr val="505050"/>
                </a:solidFill>
                <a:latin typeface="Segoe UI Semibold" panose="020B0702040204020203" pitchFamily="34" charset="0"/>
                <a:cs typeface="Segoe UI Semibold" panose="020B0702040204020203" pitchFamily="34" charset="0"/>
              </a:rPr>
              <a:t>at a time.</a:t>
            </a:r>
            <a:r>
              <a:rPr lang="en-US" sz="1765" baseline="30000">
                <a:solidFill>
                  <a:srgbClr val="505050"/>
                </a:solidFill>
                <a:latin typeface="Segoe UI Semibold" panose="020B0702040204020203" pitchFamily="34" charset="0"/>
                <a:cs typeface="Segoe UI Semibold" panose="020B0702040204020203" pitchFamily="34" charset="0"/>
              </a:rPr>
              <a:t>1</a:t>
            </a:r>
            <a:endParaRPr lang="en-US" sz="1765">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a:solidFill>
                  <a:srgbClr val="505050"/>
                </a:solidFill>
                <a:latin typeface="Segoe UI Semibold" panose="020B0702040204020203" pitchFamily="34" charset="0"/>
                <a:cs typeface="Segoe UI Semibold" panose="020B0702040204020203" pitchFamily="34" charset="0"/>
              </a:rPr>
              <a:t>Containers churn</a:t>
            </a:r>
            <a:br>
              <a:rPr lang="en-US" sz="1765">
                <a:solidFill>
                  <a:srgbClr val="505050"/>
                </a:solidFill>
                <a:latin typeface="Segoe UI Semibold" panose="020B0702040204020203" pitchFamily="34" charset="0"/>
                <a:cs typeface="Segoe UI Semibold" panose="020B0702040204020203" pitchFamily="34" charset="0"/>
              </a:rPr>
            </a:br>
            <a:r>
              <a:rPr lang="en-US" sz="1765">
                <a:solidFill>
                  <a:srgbClr val="505050"/>
                </a:solidFill>
                <a:latin typeface="Segoe UI Semibold" panose="020B0702040204020203" pitchFamily="34" charset="0"/>
                <a:cs typeface="Segoe UI Semibold" panose="020B0702040204020203" pitchFamily="34" charset="0"/>
              </a:rPr>
              <a:t>9 times</a:t>
            </a:r>
            <a:br>
              <a:rPr lang="en-US" sz="1765">
                <a:solidFill>
                  <a:srgbClr val="505050"/>
                </a:solidFill>
                <a:latin typeface="Segoe UI Semibold" panose="020B0702040204020203" pitchFamily="34" charset="0"/>
                <a:cs typeface="Segoe UI Semibold" panose="020B0702040204020203" pitchFamily="34" charset="0"/>
              </a:rPr>
            </a:br>
            <a:r>
              <a:rPr lang="en-US" sz="1765">
                <a:solidFill>
                  <a:srgbClr val="0072C6"/>
                </a:solidFill>
                <a:latin typeface="Segoe UI Semibold" panose="020B0702040204020203" pitchFamily="34" charset="0"/>
                <a:cs typeface="Segoe UI Semibold" panose="020B0702040204020203" pitchFamily="34" charset="0"/>
              </a:rPr>
              <a:t>FASTER</a:t>
            </a:r>
            <a:br>
              <a:rPr lang="en-US" sz="1765">
                <a:solidFill>
                  <a:srgbClr val="0072C6"/>
                </a:solidFill>
                <a:latin typeface="Segoe UI Semibold" panose="020B0702040204020203" pitchFamily="34" charset="0"/>
                <a:cs typeface="Segoe UI Semibold" panose="020B0702040204020203" pitchFamily="34" charset="0"/>
              </a:rPr>
            </a:br>
            <a:r>
              <a:rPr lang="en-US" sz="1765">
                <a:solidFill>
                  <a:srgbClr val="505050"/>
                </a:solidFill>
                <a:latin typeface="Segoe UI Semibold" panose="020B0702040204020203" pitchFamily="34" charset="0"/>
                <a:cs typeface="Segoe UI Semibold" panose="020B0702040204020203" pitchFamily="34" charset="0"/>
              </a:rPr>
              <a:t>than VMs.</a:t>
            </a:r>
            <a:r>
              <a:rPr lang="en-US" sz="1765" baseline="30000">
                <a:solidFill>
                  <a:srgbClr val="505050"/>
                </a:solidFill>
                <a:latin typeface="Segoe UI Semibold" panose="020B0702040204020203" pitchFamily="34" charset="0"/>
                <a:cs typeface="Segoe UI Semibold" panose="020B0702040204020203" pitchFamily="34" charset="0"/>
              </a:rPr>
              <a:t>1</a:t>
            </a:r>
            <a:endParaRPr lang="en-US" sz="1765">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a:solidFill>
                  <a:srgbClr val="505050"/>
                </a:solidFill>
                <a:latin typeface="Segoe UI"/>
              </a:rPr>
              <a:t>~60</a:t>
            </a:r>
            <a:r>
              <a:rPr lang="en-US" sz="3529">
                <a:solidFill>
                  <a:srgbClr val="505050"/>
                </a:solidFill>
                <a:latin typeface="Segoe UI Light"/>
              </a:rPr>
              <a:t>%</a:t>
            </a:r>
            <a:endParaRPr lang="en-US" sz="3921">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832989"/>
          </a:xfrm>
          <a:prstGeom prst="rect">
            <a:avLst/>
          </a:prstGeom>
          <a:noFill/>
        </p:spPr>
        <p:txBody>
          <a:bodyPr wrap="square" lIns="0" tIns="0" rIns="0" bIns="0" rtlCol="0">
            <a:spAutoFit/>
          </a:bodyPr>
          <a:lstStyle/>
          <a:p>
            <a:pPr defTabSz="896354">
              <a:lnSpc>
                <a:spcPct val="90000"/>
              </a:lnSpc>
              <a:spcAft>
                <a:spcPts val="576"/>
              </a:spcAft>
            </a:pPr>
            <a:r>
              <a:rPr lang="en-US" sz="784">
                <a:solidFill>
                  <a:srgbClr val="505050"/>
                </a:solidFill>
                <a:latin typeface="Segoe UI"/>
                <a:cs typeface="Segoe UI Semibold" panose="020B0702040204020203" pitchFamily="34" charset="0"/>
              </a:rPr>
              <a:t>My org. is </a:t>
            </a:r>
            <a:r>
              <a:rPr lang="en-US" sz="784" b="1">
                <a:solidFill>
                  <a:srgbClr val="505050"/>
                </a:solidFill>
                <a:latin typeface="Segoe UI Semibold" panose="020B0702040204020203" pitchFamily="34" charset="0"/>
                <a:cs typeface="Segoe UI Semibold" panose="020B0702040204020203" pitchFamily="34" charset="0"/>
              </a:rPr>
              <a:t>evaluating</a:t>
            </a:r>
            <a:r>
              <a:rPr lang="en-US" sz="784">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a:solidFill>
                <a:srgbClr val="505050"/>
              </a:solidFill>
              <a:latin typeface="Segoe UI"/>
              <a:cs typeface="Segoe UI Semibold" panose="020B0702040204020203" pitchFamily="34" charset="0"/>
            </a:endParaRPr>
          </a:p>
          <a:p>
            <a:pPr defTabSz="896354">
              <a:lnSpc>
                <a:spcPct val="90000"/>
              </a:lnSpc>
              <a:spcAft>
                <a:spcPts val="576"/>
              </a:spcAft>
            </a:pPr>
            <a:r>
              <a:rPr lang="en-US" sz="784" b="1">
                <a:solidFill>
                  <a:srgbClr val="505050"/>
                </a:solidFill>
                <a:latin typeface="Segoe UI Semibold" panose="020B0702040204020203" pitchFamily="34" charset="0"/>
                <a:cs typeface="Segoe UI Semibold" panose="020B0702040204020203" pitchFamily="34" charset="0"/>
              </a:rPr>
              <a:t>Yes</a:t>
            </a:r>
            <a:r>
              <a:rPr lang="en-US" sz="784">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a:solidFill>
                <a:srgbClr val="505050"/>
              </a:solidFill>
              <a:latin typeface="Segoe UI"/>
              <a:cs typeface="Segoe UI Semibold" panose="020B0702040204020203" pitchFamily="34" charset="0"/>
            </a:endParaRPr>
          </a:p>
          <a:p>
            <a:pPr defTabSz="896354">
              <a:lnSpc>
                <a:spcPct val="90000"/>
              </a:lnSpc>
              <a:spcAft>
                <a:spcPts val="576"/>
              </a:spcAft>
            </a:pPr>
            <a:r>
              <a:rPr lang="en-US" sz="784" b="1">
                <a:solidFill>
                  <a:srgbClr val="505050"/>
                </a:solidFill>
                <a:latin typeface="Segoe UI Semibold" panose="020B0702040204020203" pitchFamily="34" charset="0"/>
                <a:cs typeface="Segoe UI Semibold" panose="020B0702040204020203" pitchFamily="34" charset="0"/>
              </a:rPr>
              <a:t>No</a:t>
            </a:r>
            <a:r>
              <a:rPr lang="en-US" sz="784">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a:solidFill>
                <a:srgbClr val="505050"/>
              </a:solidFill>
              <a:latin typeface="Segoe UI"/>
              <a:cs typeface="Segoe UI Semibold" panose="020B0702040204020203" pitchFamily="34" charset="0"/>
            </a:endParaRPr>
          </a:p>
          <a:p>
            <a:pPr defTabSz="896354">
              <a:lnSpc>
                <a:spcPct val="90000"/>
              </a:lnSpc>
              <a:spcAft>
                <a:spcPts val="576"/>
              </a:spcAft>
            </a:pPr>
            <a:r>
              <a:rPr lang="en-US" sz="784" b="1">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a:solidFill>
                  <a:srgbClr val="505050"/>
                </a:solidFill>
                <a:latin typeface="Segoe UI"/>
                <a:cs typeface="Segoe UI Semibold" panose="020B0702040204020203" pitchFamily="34" charset="0"/>
              </a:rPr>
              <a:t>1: Datadog: 8 Surprising Facts About Real Docker Adoption; 2: </a:t>
            </a:r>
            <a:r>
              <a:rPr lang="en-US" sz="784" err="1">
                <a:solidFill>
                  <a:srgbClr val="505050"/>
                </a:solidFill>
                <a:latin typeface="Segoe UI"/>
                <a:cs typeface="Segoe UI Semibold" panose="020B0702040204020203" pitchFamily="34" charset="0"/>
              </a:rPr>
              <a:t>DZone</a:t>
            </a:r>
            <a:r>
              <a:rPr lang="en-US" sz="784">
                <a:solidFill>
                  <a:srgbClr val="505050"/>
                </a:solidFill>
                <a:latin typeface="Segoe UI"/>
                <a:cs typeface="Segoe UI Semibold" panose="020B0702040204020203" pitchFamily="34" charset="0"/>
              </a:rPr>
              <a:t>: The </a:t>
            </a:r>
            <a:r>
              <a:rPr lang="en-US" sz="784" err="1">
                <a:solidFill>
                  <a:srgbClr val="505050"/>
                </a:solidFill>
                <a:latin typeface="Segoe UI"/>
                <a:cs typeface="Segoe UI Semibold" panose="020B0702040204020203" pitchFamily="34" charset="0"/>
              </a:rPr>
              <a:t>DZone</a:t>
            </a:r>
            <a:r>
              <a:rPr lang="en-US" sz="784">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193806419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a:t>
            </a:r>
            <a:r>
              <a:rPr lang="en-US" sz="4705" spc="-10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4474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rgbClr val="505050"/>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9823EC40-4309-46F3-8D67-2DE5CDE3D90D}"/>
              </a:ext>
            </a:extLst>
          </p:cNvPr>
          <p:cNvPicPr>
            <a:picLocks noChangeAspect="1"/>
          </p:cNvPicPr>
          <p:nvPr/>
        </p:nvPicPr>
        <p:blipFill rotWithShape="1">
          <a:blip r:embed="rId3"/>
          <a:srcRect b="15589"/>
          <a:stretch/>
        </p:blipFill>
        <p:spPr>
          <a:xfrm>
            <a:off x="-94312" y="-45720"/>
            <a:ext cx="12284231" cy="6912801"/>
          </a:xfrm>
          <a:prstGeom prst="rect">
            <a:avLst/>
          </a:prstGeom>
        </p:spPr>
      </p:pic>
      <p:sp>
        <p:nvSpPr>
          <p:cNvPr id="8" name="Rectangle 7">
            <a:extLst>
              <a:ext uri="{FF2B5EF4-FFF2-40B4-BE49-F238E27FC236}">
                <a16:creationId xmlns:a16="http://schemas.microsoft.com/office/drawing/2014/main" id="{674C0796-61B8-4ADC-A377-86BF95EA9D3F}"/>
              </a:ext>
            </a:extLst>
          </p:cNvPr>
          <p:cNvSpPr/>
          <p:nvPr/>
        </p:nvSpPr>
        <p:spPr bwMode="auto">
          <a:xfrm>
            <a:off x="2360898" y="-45721"/>
            <a:ext cx="9831103" cy="6925381"/>
          </a:xfrm>
          <a:prstGeom prst="rect">
            <a:avLst/>
          </a:prstGeom>
          <a:gradFill>
            <a:gsLst>
              <a:gs pos="0">
                <a:schemeClr val="tx2">
                  <a:lumMod val="10000"/>
                  <a:alpha val="0"/>
                </a:schemeClr>
              </a:gs>
              <a:gs pos="100000">
                <a:schemeClr val="tx2">
                  <a:lumMod val="10000"/>
                </a:schemeClr>
              </a:gs>
            </a:gsLst>
            <a:lin ang="21594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DCBB8949-9C7A-47E0-ADB0-CF5F198E9F8D}"/>
              </a:ext>
            </a:extLst>
          </p:cNvPr>
          <p:cNvSpPr/>
          <p:nvPr/>
        </p:nvSpPr>
        <p:spPr bwMode="auto">
          <a:xfrm>
            <a:off x="-94312" y="-39502"/>
            <a:ext cx="12288395" cy="6919161"/>
          </a:xfrm>
          <a:prstGeom prst="rect">
            <a:avLst/>
          </a:prstGeom>
          <a:solidFill>
            <a:srgbClr val="0000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 name="Group 3">
            <a:extLst>
              <a:ext uri="{FF2B5EF4-FFF2-40B4-BE49-F238E27FC236}">
                <a16:creationId xmlns:a16="http://schemas.microsoft.com/office/drawing/2014/main" id="{CF768DAA-33FB-4399-BB58-270E85FECDE8}"/>
              </a:ext>
            </a:extLst>
          </p:cNvPr>
          <p:cNvGrpSpPr/>
          <p:nvPr/>
        </p:nvGrpSpPr>
        <p:grpSpPr>
          <a:xfrm>
            <a:off x="10303773" y="2600078"/>
            <a:ext cx="1419339" cy="1419339"/>
            <a:chOff x="10316328" y="2651718"/>
            <a:chExt cx="1447800" cy="1447800"/>
          </a:xfrm>
        </p:grpSpPr>
        <p:sp>
          <p:nvSpPr>
            <p:cNvPr id="18" name="Oval 17">
              <a:extLst>
                <a:ext uri="{FF2B5EF4-FFF2-40B4-BE49-F238E27FC236}">
                  <a16:creationId xmlns:a16="http://schemas.microsoft.com/office/drawing/2014/main" id="{C06767A2-8434-4894-8A35-362D909B614F}"/>
                </a:ext>
              </a:extLst>
            </p:cNvPr>
            <p:cNvSpPr/>
            <p:nvPr/>
          </p:nvSpPr>
          <p:spPr bwMode="auto">
            <a:xfrm>
              <a:off x="10316328" y="2651718"/>
              <a:ext cx="1447800" cy="1447800"/>
            </a:xfrm>
            <a:prstGeom prst="ellipse">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0078D7"/>
                </a:solidFill>
                <a:latin typeface="Segoe UI Semilight"/>
                <a:ea typeface="Segoe UI" pitchFamily="34" charset="0"/>
                <a:cs typeface="Segoe UI" pitchFamily="34" charset="0"/>
              </a:endParaRPr>
            </a:p>
          </p:txBody>
        </p:sp>
        <p:pic>
          <p:nvPicPr>
            <p:cNvPr id="23" name="Graphic 22">
              <a:extLst>
                <a:ext uri="{FF2B5EF4-FFF2-40B4-BE49-F238E27FC236}">
                  <a16:creationId xmlns:a16="http://schemas.microsoft.com/office/drawing/2014/main" id="{272FD989-6B8D-4528-8854-BD0498E69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96534" y="2916470"/>
              <a:ext cx="901020" cy="901020"/>
            </a:xfrm>
            <a:prstGeom prst="rect">
              <a:avLst/>
            </a:prstGeom>
          </p:spPr>
        </p:pic>
      </p:grpSp>
      <p:grpSp>
        <p:nvGrpSpPr>
          <p:cNvPr id="5" name="Group 4">
            <a:extLst>
              <a:ext uri="{FF2B5EF4-FFF2-40B4-BE49-F238E27FC236}">
                <a16:creationId xmlns:a16="http://schemas.microsoft.com/office/drawing/2014/main" id="{18F031FE-49F7-4817-B8C3-4C25BAC9A723}"/>
              </a:ext>
            </a:extLst>
          </p:cNvPr>
          <p:cNvGrpSpPr/>
          <p:nvPr/>
        </p:nvGrpSpPr>
        <p:grpSpPr>
          <a:xfrm>
            <a:off x="5435986" y="2600078"/>
            <a:ext cx="1419339" cy="1419339"/>
            <a:chOff x="5269845" y="2651718"/>
            <a:chExt cx="1447800" cy="1447800"/>
          </a:xfrm>
        </p:grpSpPr>
        <p:sp>
          <p:nvSpPr>
            <p:cNvPr id="20" name="Oval 19">
              <a:extLst>
                <a:ext uri="{FF2B5EF4-FFF2-40B4-BE49-F238E27FC236}">
                  <a16:creationId xmlns:a16="http://schemas.microsoft.com/office/drawing/2014/main" id="{46AE1BE9-5266-435E-8413-0AD450B14F1D}"/>
                </a:ext>
              </a:extLst>
            </p:cNvPr>
            <p:cNvSpPr/>
            <p:nvPr/>
          </p:nvSpPr>
          <p:spPr bwMode="auto">
            <a:xfrm>
              <a:off x="5269845" y="2651718"/>
              <a:ext cx="1447800" cy="1447800"/>
            </a:xfrm>
            <a:prstGeom prst="ellipse">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0078D7"/>
                </a:solidFill>
                <a:latin typeface="Segoe UI Semilight"/>
                <a:ea typeface="Segoe UI" pitchFamily="34" charset="0"/>
                <a:cs typeface="Segoe UI" pitchFamily="34" charset="0"/>
              </a:endParaRPr>
            </a:p>
          </p:txBody>
        </p:sp>
        <p:pic>
          <p:nvPicPr>
            <p:cNvPr id="24" name="Graphic 23">
              <a:extLst>
                <a:ext uri="{FF2B5EF4-FFF2-40B4-BE49-F238E27FC236}">
                  <a16:creationId xmlns:a16="http://schemas.microsoft.com/office/drawing/2014/main" id="{D18ADFB7-C6EF-4029-9014-8D9CF97C11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11847" y="2863842"/>
              <a:ext cx="973324" cy="973324"/>
            </a:xfrm>
            <a:prstGeom prst="rect">
              <a:avLst/>
            </a:prstGeom>
          </p:spPr>
        </p:pic>
      </p:grpSp>
      <p:sp>
        <p:nvSpPr>
          <p:cNvPr id="27" name="Title 1">
            <a:extLst>
              <a:ext uri="{FF2B5EF4-FFF2-40B4-BE49-F238E27FC236}">
                <a16:creationId xmlns:a16="http://schemas.microsoft.com/office/drawing/2014/main" id="{B0C4C025-11E8-4D69-999A-D3332A21F73A}"/>
              </a:ext>
            </a:extLst>
          </p:cNvPr>
          <p:cNvSpPr txBox="1">
            <a:spLocks/>
          </p:cNvSpPr>
          <p:nvPr/>
        </p:nvSpPr>
        <p:spPr>
          <a:xfrm>
            <a:off x="194537" y="963832"/>
            <a:ext cx="11818491" cy="778454"/>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367">
              <a:defRPr/>
            </a:pPr>
            <a:r>
              <a:rPr lang="en-US" sz="4313" spc="-98">
                <a:gradFill>
                  <a:gsLst>
                    <a:gs pos="0">
                      <a:srgbClr val="FFFFFF"/>
                    </a:gs>
                    <a:gs pos="100000">
                      <a:srgbClr val="FFFFFF"/>
                    </a:gs>
                  </a:gsLst>
                  <a:lin ang="5400000" scaled="0"/>
                </a:gradFill>
                <a:latin typeface="Segoe UI Light"/>
              </a:rPr>
              <a:t>Deploy containers everywhere </a:t>
            </a:r>
            <a:r>
              <a:rPr lang="en-US" sz="4313" spc="-98" err="1">
                <a:gradFill>
                  <a:gsLst>
                    <a:gs pos="0">
                      <a:srgbClr val="FFFFFF"/>
                    </a:gs>
                    <a:gs pos="100000">
                      <a:srgbClr val="FFFFFF"/>
                    </a:gs>
                  </a:gsLst>
                  <a:lin ang="5400000" scaled="0"/>
                </a:gradFill>
                <a:latin typeface="Segoe UI Light"/>
              </a:rPr>
              <a:t>i</a:t>
            </a:r>
            <a:r>
              <a:rPr lang="en-US" sz="4313" spc="-98">
                <a:gradFill>
                  <a:gsLst>
                    <a:gs pos="0">
                      <a:srgbClr val="FFFFFF"/>
                    </a:gs>
                    <a:gs pos="100000">
                      <a:srgbClr val="FFFFFF"/>
                    </a:gs>
                  </a:gsLst>
                  <a:lin ang="5400000" scaled="0"/>
                </a:gradFill>
                <a:latin typeface="Segoe UI Light"/>
              </a:rPr>
              <a:t>n Azure</a:t>
            </a:r>
          </a:p>
        </p:txBody>
      </p:sp>
      <p:grpSp>
        <p:nvGrpSpPr>
          <p:cNvPr id="2" name="Group 1">
            <a:extLst>
              <a:ext uri="{FF2B5EF4-FFF2-40B4-BE49-F238E27FC236}">
                <a16:creationId xmlns:a16="http://schemas.microsoft.com/office/drawing/2014/main" id="{A65935F1-0026-462C-9C57-D05A45023252}"/>
              </a:ext>
            </a:extLst>
          </p:cNvPr>
          <p:cNvGrpSpPr/>
          <p:nvPr/>
        </p:nvGrpSpPr>
        <p:grpSpPr>
          <a:xfrm>
            <a:off x="7827341" y="2600078"/>
            <a:ext cx="1419339" cy="1419339"/>
            <a:chOff x="7793087" y="2651718"/>
            <a:chExt cx="1447800" cy="1447800"/>
          </a:xfrm>
        </p:grpSpPr>
        <p:sp>
          <p:nvSpPr>
            <p:cNvPr id="11" name="Oval 10">
              <a:extLst>
                <a:ext uri="{FF2B5EF4-FFF2-40B4-BE49-F238E27FC236}">
                  <a16:creationId xmlns:a16="http://schemas.microsoft.com/office/drawing/2014/main" id="{C9C9E628-7043-4801-85BC-580687567B21}"/>
                </a:ext>
              </a:extLst>
            </p:cNvPr>
            <p:cNvSpPr/>
            <p:nvPr/>
          </p:nvSpPr>
          <p:spPr bwMode="auto">
            <a:xfrm>
              <a:off x="7793087" y="2651718"/>
              <a:ext cx="1447800" cy="1447800"/>
            </a:xfrm>
            <a:prstGeom prst="ellipse">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0078D7"/>
                </a:solidFill>
                <a:latin typeface="Segoe UI Semilight"/>
                <a:ea typeface="Segoe UI" pitchFamily="34" charset="0"/>
                <a:cs typeface="Segoe UI" pitchFamily="34" charset="0"/>
              </a:endParaRPr>
            </a:p>
          </p:txBody>
        </p:sp>
        <p:pic>
          <p:nvPicPr>
            <p:cNvPr id="3" name="Graphic 2">
              <a:extLst>
                <a:ext uri="{FF2B5EF4-FFF2-40B4-BE49-F238E27FC236}">
                  <a16:creationId xmlns:a16="http://schemas.microsoft.com/office/drawing/2014/main" id="{F540B0B7-1D2E-4754-A9F1-E7B5FC621D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26658" y="2873078"/>
              <a:ext cx="987804" cy="987804"/>
            </a:xfrm>
            <a:prstGeom prst="rect">
              <a:avLst/>
            </a:prstGeom>
          </p:spPr>
        </p:pic>
      </p:grpSp>
      <p:grpSp>
        <p:nvGrpSpPr>
          <p:cNvPr id="6" name="Group 5">
            <a:extLst>
              <a:ext uri="{FF2B5EF4-FFF2-40B4-BE49-F238E27FC236}">
                <a16:creationId xmlns:a16="http://schemas.microsoft.com/office/drawing/2014/main" id="{CA92BCE5-6700-4EEB-8608-25FC9DD40214}"/>
              </a:ext>
            </a:extLst>
          </p:cNvPr>
          <p:cNvGrpSpPr/>
          <p:nvPr/>
        </p:nvGrpSpPr>
        <p:grpSpPr>
          <a:xfrm>
            <a:off x="2548347" y="2589635"/>
            <a:ext cx="2082766" cy="1429782"/>
            <a:chOff x="2410932" y="2641066"/>
            <a:chExt cx="2124530" cy="1458452"/>
          </a:xfrm>
        </p:grpSpPr>
        <p:sp>
          <p:nvSpPr>
            <p:cNvPr id="19" name="Oval 18">
              <a:extLst>
                <a:ext uri="{FF2B5EF4-FFF2-40B4-BE49-F238E27FC236}">
                  <a16:creationId xmlns:a16="http://schemas.microsoft.com/office/drawing/2014/main" id="{D31200D1-681D-4D3E-B036-1BCE5532C820}"/>
                </a:ext>
              </a:extLst>
            </p:cNvPr>
            <p:cNvSpPr/>
            <p:nvPr/>
          </p:nvSpPr>
          <p:spPr bwMode="auto">
            <a:xfrm>
              <a:off x="2749297" y="2651718"/>
              <a:ext cx="1447800" cy="1447800"/>
            </a:xfrm>
            <a:prstGeom prst="ellipse">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0078D7"/>
                </a:solidFill>
                <a:latin typeface="Segoe UI Semilight"/>
                <a:ea typeface="Segoe UI" pitchFamily="34" charset="0"/>
                <a:cs typeface="Segoe UI" pitchFamily="34" charset="0"/>
              </a:endParaRPr>
            </a:p>
          </p:txBody>
        </p:sp>
        <p:pic>
          <p:nvPicPr>
            <p:cNvPr id="29" name="Picture 10" descr="https://www.packet.net/media/images/m7S2-kubernetes.png">
              <a:extLst>
                <a:ext uri="{FF2B5EF4-FFF2-40B4-BE49-F238E27FC236}">
                  <a16:creationId xmlns:a16="http://schemas.microsoft.com/office/drawing/2014/main" id="{8089396F-B4D1-42B7-86F5-8AA5F7B13CB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2410932" y="2641066"/>
              <a:ext cx="2124530" cy="1289698"/>
            </a:xfrm>
            <a:prstGeom prst="rect">
              <a:avLst/>
            </a:prstGeom>
            <a:noFill/>
            <a:extLst>
              <a:ext uri="{909E8E84-426E-40DD-AFC4-6F175D3DCCD1}">
                <a14:hiddenFill xmlns:a14="http://schemas.microsoft.com/office/drawing/2010/main">
                  <a:solidFill>
                    <a:srgbClr val="FFFFFF"/>
                  </a:solidFill>
                </a14:hiddenFill>
              </a:ext>
            </a:extLst>
          </p:spPr>
        </p:pic>
      </p:grpSp>
      <p:sp>
        <p:nvSpPr>
          <p:cNvPr id="34" name="Rectangle 33">
            <a:extLst>
              <a:ext uri="{FF2B5EF4-FFF2-40B4-BE49-F238E27FC236}">
                <a16:creationId xmlns:a16="http://schemas.microsoft.com/office/drawing/2014/main" id="{226A5F1D-7E4B-4A9D-ABD9-953ECA468CCE}"/>
              </a:ext>
            </a:extLst>
          </p:cNvPr>
          <p:cNvSpPr/>
          <p:nvPr/>
        </p:nvSpPr>
        <p:spPr bwMode="auto">
          <a:xfrm>
            <a:off x="-253676" y="4173293"/>
            <a:ext cx="2769561" cy="575090"/>
          </a:xfrm>
          <a:prstGeom prst="rect">
            <a:avLst/>
          </a:prstGeom>
          <a:noFill/>
          <a:ln w="12700" cap="flat" cmpd="sng" algn="ctr">
            <a:noFill/>
            <a:prstDash val="dash"/>
            <a:headEnd type="none" w="med" len="med"/>
            <a:tailEnd type="none" w="med" len="med"/>
          </a:ln>
          <a:effectLst/>
        </p:spPr>
        <p:txBody>
          <a:bodyPr rot="0" spcFirstLastPara="0" vert="horz" wrap="square" lIns="137102" tIns="179259" rIns="91401" bIns="137102" numCol="1" spcCol="0" rtlCol="0" fromWordArt="0" anchor="b" anchorCtr="0" forceAA="0" compatLnSpc="1">
            <a:prstTxWarp prst="textNoShape">
              <a:avLst/>
            </a:prstTxWarp>
            <a:noAutofit/>
          </a:bodyPr>
          <a:lstStyle/>
          <a:p>
            <a:pPr algn="ctr" defTabSz="913837">
              <a:defRPr/>
            </a:pPr>
            <a:r>
              <a:rPr lang="en-US" sz="1961" kern="0">
                <a:solidFill>
                  <a:srgbClr val="FFFFFF"/>
                </a:solidFill>
                <a:latin typeface="Segoe UI Semilight" panose="020B0402040204020203" pitchFamily="34" charset="0"/>
                <a:cs typeface="Segoe UI Semilight" panose="020B0402040204020203" pitchFamily="34" charset="0"/>
              </a:rPr>
              <a:t>ACI</a:t>
            </a:r>
          </a:p>
        </p:txBody>
      </p:sp>
      <p:grpSp>
        <p:nvGrpSpPr>
          <p:cNvPr id="7" name="Group 6">
            <a:extLst>
              <a:ext uri="{FF2B5EF4-FFF2-40B4-BE49-F238E27FC236}">
                <a16:creationId xmlns:a16="http://schemas.microsoft.com/office/drawing/2014/main" id="{10F9FF5D-C264-4433-92C0-EA8D4D90B57F}"/>
              </a:ext>
            </a:extLst>
          </p:cNvPr>
          <p:cNvGrpSpPr/>
          <p:nvPr/>
        </p:nvGrpSpPr>
        <p:grpSpPr>
          <a:xfrm>
            <a:off x="421435" y="2600078"/>
            <a:ext cx="1419339" cy="1419339"/>
            <a:chOff x="297606" y="2651718"/>
            <a:chExt cx="1447800" cy="1447800"/>
          </a:xfrm>
        </p:grpSpPr>
        <p:sp>
          <p:nvSpPr>
            <p:cNvPr id="36" name="Oval 35">
              <a:extLst>
                <a:ext uri="{FF2B5EF4-FFF2-40B4-BE49-F238E27FC236}">
                  <a16:creationId xmlns:a16="http://schemas.microsoft.com/office/drawing/2014/main" id="{BEB46914-9277-4E87-AB2F-93A593F510BF}"/>
                </a:ext>
              </a:extLst>
            </p:cNvPr>
            <p:cNvSpPr/>
            <p:nvPr/>
          </p:nvSpPr>
          <p:spPr bwMode="auto">
            <a:xfrm>
              <a:off x="297606" y="2651718"/>
              <a:ext cx="1447800" cy="1447800"/>
            </a:xfrm>
            <a:prstGeom prst="ellipse">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0078D7"/>
                </a:solidFill>
                <a:latin typeface="Segoe UI Semilight"/>
                <a:ea typeface="Segoe UI" pitchFamily="34" charset="0"/>
                <a:cs typeface="Segoe UI" pitchFamily="34" charset="0"/>
              </a:endParaRPr>
            </a:p>
          </p:txBody>
        </p:sp>
        <p:pic>
          <p:nvPicPr>
            <p:cNvPr id="37" name="Picture 36">
              <a:extLst>
                <a:ext uri="{FF2B5EF4-FFF2-40B4-BE49-F238E27FC236}">
                  <a16:creationId xmlns:a16="http://schemas.microsoft.com/office/drawing/2014/main" id="{CCB9C893-FF48-4E67-8EFA-B5B3738E5DC5}"/>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343522" y="2787369"/>
              <a:ext cx="1357843" cy="1159222"/>
            </a:xfrm>
            <a:prstGeom prst="rect">
              <a:avLst/>
            </a:prstGeom>
          </p:spPr>
        </p:pic>
      </p:grpSp>
      <p:sp>
        <p:nvSpPr>
          <p:cNvPr id="13" name="Rectangle 12">
            <a:extLst>
              <a:ext uri="{FF2B5EF4-FFF2-40B4-BE49-F238E27FC236}">
                <a16:creationId xmlns:a16="http://schemas.microsoft.com/office/drawing/2014/main" id="{E2ADD82B-7EBE-48BC-A86E-AFA34415540C}"/>
              </a:ext>
            </a:extLst>
          </p:cNvPr>
          <p:cNvSpPr/>
          <p:nvPr/>
        </p:nvSpPr>
        <p:spPr bwMode="auto">
          <a:xfrm>
            <a:off x="9619149" y="4164083"/>
            <a:ext cx="2769561" cy="575090"/>
          </a:xfrm>
          <a:prstGeom prst="rect">
            <a:avLst/>
          </a:prstGeom>
          <a:noFill/>
          <a:ln w="12700" cap="flat" cmpd="sng" algn="ctr">
            <a:noFill/>
            <a:prstDash val="dash"/>
            <a:headEnd type="none" w="med" len="med"/>
            <a:tailEnd type="none" w="med" len="med"/>
          </a:ln>
          <a:effectLst/>
        </p:spPr>
        <p:txBody>
          <a:bodyPr rot="0" spcFirstLastPara="0" vert="horz" wrap="square" lIns="137102" tIns="179259" rIns="91401" bIns="137102" numCol="1" spcCol="0" rtlCol="0" fromWordArt="0" anchor="b" anchorCtr="0" forceAA="0" compatLnSpc="1">
            <a:prstTxWarp prst="textNoShape">
              <a:avLst/>
            </a:prstTxWarp>
            <a:noAutofit/>
          </a:bodyPr>
          <a:lstStyle/>
          <a:p>
            <a:pPr algn="ctr" defTabSz="913837">
              <a:defRPr/>
            </a:pPr>
            <a:r>
              <a:rPr lang="en-US" sz="1961" kern="0">
                <a:solidFill>
                  <a:srgbClr val="FFFFFF"/>
                </a:solidFill>
                <a:latin typeface="Segoe UI Semilight" panose="020B0402040204020203" pitchFamily="34" charset="0"/>
                <a:cs typeface="Segoe UI Semilight" panose="020B0402040204020203" pitchFamily="34" charset="0"/>
              </a:rPr>
              <a:t>Batch</a:t>
            </a:r>
          </a:p>
        </p:txBody>
      </p:sp>
      <p:sp>
        <p:nvSpPr>
          <p:cNvPr id="14" name="Rectangle 13">
            <a:extLst>
              <a:ext uri="{FF2B5EF4-FFF2-40B4-BE49-F238E27FC236}">
                <a16:creationId xmlns:a16="http://schemas.microsoft.com/office/drawing/2014/main" id="{CEBA48C6-C06C-45FA-A985-1F01F0879159}"/>
              </a:ext>
            </a:extLst>
          </p:cNvPr>
          <p:cNvSpPr/>
          <p:nvPr/>
        </p:nvSpPr>
        <p:spPr bwMode="auto">
          <a:xfrm>
            <a:off x="4751363" y="4168821"/>
            <a:ext cx="2769561" cy="575090"/>
          </a:xfrm>
          <a:prstGeom prst="rect">
            <a:avLst/>
          </a:prstGeom>
          <a:noFill/>
          <a:ln w="12700" cap="flat" cmpd="sng" algn="ctr">
            <a:noFill/>
            <a:prstDash val="dash"/>
            <a:headEnd type="none" w="med" len="med"/>
            <a:tailEnd type="none" w="med" len="med"/>
          </a:ln>
          <a:effectLst/>
        </p:spPr>
        <p:txBody>
          <a:bodyPr rot="0" spcFirstLastPara="0" vert="horz" wrap="square" lIns="137102" tIns="179259" rIns="91401" bIns="137102" numCol="1" spcCol="0" rtlCol="0" fromWordArt="0" anchor="b" anchorCtr="0" forceAA="0" compatLnSpc="1">
            <a:prstTxWarp prst="textNoShape">
              <a:avLst/>
            </a:prstTxWarp>
            <a:noAutofit/>
          </a:bodyPr>
          <a:lstStyle/>
          <a:p>
            <a:pPr algn="ctr" defTabSz="913837">
              <a:defRPr/>
            </a:pPr>
            <a:r>
              <a:rPr lang="en-US" sz="1961" kern="0">
                <a:solidFill>
                  <a:srgbClr val="FFFFFF"/>
                </a:solidFill>
                <a:latin typeface="Segoe UI Semilight" panose="020B0402040204020203" pitchFamily="34" charset="0"/>
                <a:cs typeface="Segoe UI Semilight" panose="020B0402040204020203" pitchFamily="34" charset="0"/>
              </a:rPr>
              <a:t>Service Fabric</a:t>
            </a:r>
          </a:p>
        </p:txBody>
      </p:sp>
      <p:sp>
        <p:nvSpPr>
          <p:cNvPr id="15" name="Rectangle 14">
            <a:extLst>
              <a:ext uri="{FF2B5EF4-FFF2-40B4-BE49-F238E27FC236}">
                <a16:creationId xmlns:a16="http://schemas.microsoft.com/office/drawing/2014/main" id="{144667FC-BA78-41B2-A9B0-6845A7BD6409}"/>
              </a:ext>
            </a:extLst>
          </p:cNvPr>
          <p:cNvSpPr/>
          <p:nvPr/>
        </p:nvSpPr>
        <p:spPr bwMode="auto">
          <a:xfrm>
            <a:off x="2204949" y="4168821"/>
            <a:ext cx="2769561" cy="575090"/>
          </a:xfrm>
          <a:prstGeom prst="rect">
            <a:avLst/>
          </a:prstGeom>
          <a:noFill/>
          <a:ln w="12700" cap="flat" cmpd="sng" algn="ctr">
            <a:noFill/>
            <a:prstDash val="dash"/>
            <a:headEnd type="none" w="med" len="med"/>
            <a:tailEnd type="none" w="med" len="med"/>
          </a:ln>
          <a:effectLst/>
        </p:spPr>
        <p:txBody>
          <a:bodyPr rot="0" spcFirstLastPara="0" vert="horz" wrap="square" lIns="137102" tIns="179259" rIns="91401" bIns="137102" numCol="1" spcCol="0" rtlCol="0" fromWordArt="0" anchor="b" anchorCtr="0" forceAA="0" compatLnSpc="1">
            <a:prstTxWarp prst="textNoShape">
              <a:avLst/>
            </a:prstTxWarp>
            <a:noAutofit/>
          </a:bodyPr>
          <a:lstStyle/>
          <a:p>
            <a:pPr algn="ctr" defTabSz="913837">
              <a:defRPr/>
            </a:pPr>
            <a:r>
              <a:rPr lang="en-US" sz="1961" kern="0">
                <a:solidFill>
                  <a:srgbClr val="FFFFFF"/>
                </a:solidFill>
                <a:latin typeface="Segoe UI Semilight" panose="020B0402040204020203" pitchFamily="34" charset="0"/>
                <a:cs typeface="Segoe UI Semilight" panose="020B0402040204020203" pitchFamily="34" charset="0"/>
              </a:rPr>
              <a:t>AKS</a:t>
            </a:r>
          </a:p>
        </p:txBody>
      </p:sp>
      <p:sp>
        <p:nvSpPr>
          <p:cNvPr id="16" name="Rectangle 15">
            <a:extLst>
              <a:ext uri="{FF2B5EF4-FFF2-40B4-BE49-F238E27FC236}">
                <a16:creationId xmlns:a16="http://schemas.microsoft.com/office/drawing/2014/main" id="{6B88915B-74A6-4FCD-87A8-2EE3F53037BA}"/>
              </a:ext>
            </a:extLst>
          </p:cNvPr>
          <p:cNvSpPr/>
          <p:nvPr/>
        </p:nvSpPr>
        <p:spPr bwMode="auto">
          <a:xfrm>
            <a:off x="7142718" y="4179264"/>
            <a:ext cx="2769561" cy="575090"/>
          </a:xfrm>
          <a:prstGeom prst="rect">
            <a:avLst/>
          </a:prstGeom>
          <a:noFill/>
          <a:ln w="6350" cap="flat" cmpd="sng" algn="ctr">
            <a:noFill/>
            <a:prstDash val="dash"/>
            <a:headEnd type="none" w="med" len="med"/>
            <a:tailEnd type="none" w="med" len="med"/>
          </a:ln>
          <a:effectLst/>
        </p:spPr>
        <p:txBody>
          <a:bodyPr rot="0" spcFirstLastPara="0" vert="horz" wrap="square" lIns="137102" tIns="179259" rIns="91401" bIns="13710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37">
              <a:defRPr/>
            </a:pPr>
            <a:r>
              <a:rPr lang="en-US" sz="1961" kern="0">
                <a:solidFill>
                  <a:srgbClr val="FFFFFF"/>
                </a:solidFill>
                <a:latin typeface="Segoe UI Semilight" panose="020B0402040204020203" pitchFamily="34" charset="0"/>
                <a:cs typeface="Segoe UI Semilight" panose="020B0402040204020203" pitchFamily="34" charset="0"/>
              </a:rPr>
              <a:t>Web Apps</a:t>
            </a:r>
          </a:p>
        </p:txBody>
      </p:sp>
    </p:spTree>
    <p:extLst>
      <p:ext uri="{BB962C8B-B14F-4D97-AF65-F5344CB8AC3E}">
        <p14:creationId xmlns:p14="http://schemas.microsoft.com/office/powerpoint/2010/main" val="211452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 presetClass="entr" presetSubtype="0" fill="hold" grpId="0" nodeType="withEffect">
                                  <p:stCondLst>
                                    <p:cond delay="500"/>
                                  </p:stCondLst>
                                  <p:childTnLst>
                                    <p:set>
                                      <p:cBhvr>
                                        <p:cTn id="9" dur="1" fill="hold">
                                          <p:stCondLst>
                                            <p:cond delay="0"/>
                                          </p:stCondLst>
                                        </p:cTn>
                                        <p:tgtEl>
                                          <p:spTgt spid="34"/>
                                        </p:tgtEl>
                                        <p:attrNameLst>
                                          <p:attrName>style.visibility</p:attrName>
                                        </p:attrNameLst>
                                      </p:cBhvr>
                                      <p:to>
                                        <p:strVal val="visible"/>
                                      </p:to>
                                    </p:set>
                                  </p:childTnLst>
                                </p:cTn>
                              </p:par>
                              <p:par>
                                <p:cTn id="10" presetID="1" presetClass="entr" presetSubtype="0" fill="hold" grpId="0" nodeType="withEffect">
                                  <p:stCondLst>
                                    <p:cond delay="500"/>
                                  </p:stCondLst>
                                  <p:childTnLst>
                                    <p:set>
                                      <p:cBhvr>
                                        <p:cTn id="11" dur="1" fill="hold">
                                          <p:stCondLst>
                                            <p:cond delay="0"/>
                                          </p:stCondLst>
                                        </p:cTn>
                                        <p:tgtEl>
                                          <p:spTgt spid="15"/>
                                        </p:tgtEl>
                                        <p:attrNameLst>
                                          <p:attrName>style.visibility</p:attrName>
                                        </p:attrNameLst>
                                      </p:cBhvr>
                                      <p:to>
                                        <p:strVal val="visible"/>
                                      </p:to>
                                    </p:set>
                                  </p:childTnLst>
                                </p:cTn>
                              </p:par>
                              <p:par>
                                <p:cTn id="12" presetID="1" presetClass="entr" presetSubtype="0" fill="hold" grpId="0" nodeType="withEffect">
                                  <p:stCondLst>
                                    <p:cond delay="500"/>
                                  </p:stCondLst>
                                  <p:childTnLst>
                                    <p:set>
                                      <p:cBhvr>
                                        <p:cTn id="13" dur="1" fill="hold">
                                          <p:stCondLst>
                                            <p:cond delay="0"/>
                                          </p:stCondLst>
                                        </p:cTn>
                                        <p:tgtEl>
                                          <p:spTgt spid="14"/>
                                        </p:tgtEl>
                                        <p:attrNameLst>
                                          <p:attrName>style.visibility</p:attrName>
                                        </p:attrNameLst>
                                      </p:cBhvr>
                                      <p:to>
                                        <p:strVal val="visible"/>
                                      </p:to>
                                    </p:set>
                                  </p:childTnLst>
                                </p:cTn>
                              </p:par>
                              <p:par>
                                <p:cTn id="14" presetID="1" presetClass="entr" presetSubtype="0" fill="hold" grpId="0" nodeType="withEffect">
                                  <p:stCondLst>
                                    <p:cond delay="500"/>
                                  </p:stCondLst>
                                  <p:childTnLst>
                                    <p:set>
                                      <p:cBhvr>
                                        <p:cTn id="15" dur="1" fill="hold">
                                          <p:stCondLst>
                                            <p:cond delay="0"/>
                                          </p:stCondLst>
                                        </p:cTn>
                                        <p:tgtEl>
                                          <p:spTgt spid="16"/>
                                        </p:tgtEl>
                                        <p:attrNameLst>
                                          <p:attrName>style.visibility</p:attrName>
                                        </p:attrNameLst>
                                      </p:cBhvr>
                                      <p:to>
                                        <p:strVal val="visible"/>
                                      </p:to>
                                    </p:set>
                                  </p:childTnLst>
                                </p:cTn>
                              </p:par>
                              <p:par>
                                <p:cTn id="16" presetID="1" presetClass="entr" presetSubtype="0" fill="hold" grpId="0" nodeType="withEffect">
                                  <p:stCondLst>
                                    <p:cond delay="500"/>
                                  </p:stCondLst>
                                  <p:childTnLst>
                                    <p:set>
                                      <p:cBhvr>
                                        <p:cTn id="17"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4" grpId="0"/>
      <p:bldP spid="13" grpId="0"/>
      <p:bldP spid="14" grpId="0"/>
      <p:bldP spid="15" grpId="0"/>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926F1-DE1B-4E16-96CE-A94CE44DE602}"/>
              </a:ext>
            </a:extLst>
          </p:cNvPr>
          <p:cNvSpPr/>
          <p:nvPr/>
        </p:nvSpPr>
        <p:spPr bwMode="auto">
          <a:xfrm flipV="1">
            <a:off x="866" y="2756777"/>
            <a:ext cx="12190271" cy="41002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Title 1"/>
          <p:cNvSpPr txBox="1">
            <a:spLocks/>
          </p:cNvSpPr>
          <p:nvPr/>
        </p:nvSpPr>
        <p:spPr>
          <a:xfrm>
            <a:off x="643523" y="3039562"/>
            <a:ext cx="11278412" cy="762895"/>
          </a:xfrm>
          <a:prstGeom prst="rect">
            <a:avLst/>
          </a:prstGeom>
        </p:spPr>
        <p:txBody>
          <a:bodyPr lIns="146243" tIns="9141" rIns="146243" bIns="914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14016" fontAlgn="base">
              <a:spcBef>
                <a:spcPts val="1174"/>
              </a:spcBef>
              <a:spcAft>
                <a:spcPct val="0"/>
              </a:spcAft>
              <a:defRPr/>
            </a:pPr>
            <a:r>
              <a:rPr lang="en-US" sz="5293" spc="-98">
                <a:solidFill>
                  <a:srgbClr val="43A1FF"/>
                </a:solidFill>
                <a:latin typeface="Segoe UI Light"/>
              </a:rPr>
              <a:t>Azure Container Instances (ACI)</a:t>
            </a:r>
          </a:p>
        </p:txBody>
      </p:sp>
      <p:sp>
        <p:nvSpPr>
          <p:cNvPr id="7" name="Rectangle 6"/>
          <p:cNvSpPr/>
          <p:nvPr/>
        </p:nvSpPr>
        <p:spPr>
          <a:xfrm>
            <a:off x="643522" y="4026534"/>
            <a:ext cx="11129030" cy="1507891"/>
          </a:xfrm>
          <a:prstGeom prst="rect">
            <a:avLst/>
          </a:prstGeom>
        </p:spPr>
        <p:txBody>
          <a:bodyPr wrap="square" lIns="146243">
            <a:spAutoFit/>
          </a:bodyPr>
          <a:lstStyle/>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Easily deploy and run containers with a single command</a:t>
            </a:r>
          </a:p>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Launch container instances in seconds</a:t>
            </a:r>
          </a:p>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Cost effective per second billing</a:t>
            </a:r>
          </a:p>
        </p:txBody>
      </p:sp>
      <p:pic>
        <p:nvPicPr>
          <p:cNvPr id="30" name="Picture 2" descr="https://azure.microsoft.com/svghandler/container-instances/?width=600&amp;height=315">
            <a:extLst>
              <a:ext uri="{FF2B5EF4-FFF2-40B4-BE49-F238E27FC236}">
                <a16:creationId xmlns:a16="http://schemas.microsoft.com/office/drawing/2014/main" id="{B3D02DCF-48BC-40D7-8AA0-77A467EA27D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03862" y="291598"/>
            <a:ext cx="2532402" cy="2123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819064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600"/>
                                        <p:tgtEl>
                                          <p:spTgt spid="30"/>
                                        </p:tgtEl>
                                      </p:cBhvr>
                                    </p:animEffect>
                                  </p:childTnLst>
                                </p:cTn>
                              </p:par>
                              <p:par>
                                <p:cTn id="13" presetID="35" presetClass="path" presetSubtype="0" decel="100000" fill="hold" nodeType="withEffect">
                                  <p:stCondLst>
                                    <p:cond delay="0"/>
                                  </p:stCondLst>
                                  <p:childTnLst>
                                    <p:animMotion origin="layout" path="M -0.05553 0.00023 L 9.9566E-8 0.00023 " pathEditMode="relative" rAng="0" ptsTypes="AA">
                                      <p:cBhvr>
                                        <p:cTn id="14" dur="800" fill="hold"/>
                                        <p:tgtEl>
                                          <p:spTgt spid="30"/>
                                        </p:tgtEl>
                                        <p:attrNameLst>
                                          <p:attrName>ppt_x</p:attrName>
                                          <p:attrName>ppt_y</p:attrName>
                                        </p:attrNameLst>
                                      </p:cBhvr>
                                      <p:rCtr x="2770" y="0"/>
                                    </p:animMotion>
                                  </p:childTnLst>
                                </p:cTn>
                              </p:par>
                            </p:childTnLst>
                          </p:cTn>
                        </p:par>
                        <p:par>
                          <p:cTn id="15" fill="hold">
                            <p:stCondLst>
                              <p:cond delay="1300"/>
                            </p:stCondLst>
                            <p:childTnLst>
                              <p:par>
                                <p:cTn id="16" presetID="10" presetClass="entr" presetSubtype="0" fill="hold" grpId="0" nodeType="afterEffect">
                                  <p:stCondLst>
                                    <p:cond delay="1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600"/>
                                        <p:tgtEl>
                                          <p:spTgt spid="5"/>
                                        </p:tgtEl>
                                      </p:cBhvr>
                                    </p:animEffect>
                                  </p:childTnLst>
                                </p:cTn>
                              </p:par>
                              <p:par>
                                <p:cTn id="19" presetID="35" presetClass="path" presetSubtype="0" decel="100000" fill="hold" grpId="1" nodeType="withEffect">
                                  <p:stCondLst>
                                    <p:cond delay="50"/>
                                  </p:stCondLst>
                                  <p:childTnLst>
                                    <p:animMotion origin="layout" path="M -0.05553 0.00022 L 2.15471E-6 0.00022 " pathEditMode="relative" rAng="0" ptsTypes="AA">
                                      <p:cBhvr>
                                        <p:cTn id="20" dur="800" fill="hold"/>
                                        <p:tgtEl>
                                          <p:spTgt spid="5"/>
                                        </p:tgtEl>
                                        <p:attrNameLst>
                                          <p:attrName>ppt_x</p:attrName>
                                          <p:attrName>ppt_y</p:attrName>
                                        </p:attrNameLst>
                                      </p:cBhvr>
                                      <p:rCtr x="2770" y="0"/>
                                    </p:animMotion>
                                  </p:childTnLst>
                                </p:cTn>
                              </p:par>
                              <p:par>
                                <p:cTn id="21" presetID="10" presetClass="entr" presetSubtype="0" fill="hold" grpId="0" nodeType="withEffect">
                                  <p:stCondLst>
                                    <p:cond delay="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600"/>
                                        <p:tgtEl>
                                          <p:spTgt spid="7"/>
                                        </p:tgtEl>
                                      </p:cBhvr>
                                    </p:animEffect>
                                  </p:childTnLst>
                                </p:cTn>
                              </p:par>
                              <p:par>
                                <p:cTn id="24" presetID="35" presetClass="path" presetSubtype="0" decel="100000" fill="hold" grpId="1" nodeType="withEffect">
                                  <p:stCondLst>
                                    <p:cond delay="300"/>
                                  </p:stCondLst>
                                  <p:childTnLst>
                                    <p:animMotion origin="layout" path="M -0.05553 0.00023 L -7.07174E-7 0.00023 " pathEditMode="relative" rAng="0" ptsTypes="AA">
                                      <p:cBhvr>
                                        <p:cTn id="25" dur="800" fill="hold"/>
                                        <p:tgtEl>
                                          <p:spTgt spid="7"/>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5" grpId="1"/>
      <p:bldP spid="7" grpId="0"/>
      <p:bldP spid="7"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ession objectives and takeaways</a:t>
            </a:r>
          </a:p>
        </p:txBody>
      </p:sp>
      <p:sp>
        <p:nvSpPr>
          <p:cNvPr id="5" name="Text Placeholder 4"/>
          <p:cNvSpPr>
            <a:spLocks noGrp="1"/>
          </p:cNvSpPr>
          <p:nvPr>
            <p:ph type="body" sz="quarter" idx="10"/>
          </p:nvPr>
        </p:nvSpPr>
        <p:spPr>
          <a:xfrm>
            <a:off x="586390" y="1434370"/>
            <a:ext cx="8665765" cy="4651798"/>
          </a:xfrm>
        </p:spPr>
        <p:txBody>
          <a:bodyPr/>
          <a:lstStyle/>
          <a:p>
            <a:pPr marL="347663" indent="-347663">
              <a:spcBef>
                <a:spcPts val="1200"/>
              </a:spcBef>
              <a:buFont typeface="Arial" panose="020B0604020202020204" pitchFamily="34" charset="0"/>
              <a:buChar char="•"/>
            </a:pPr>
            <a:r>
              <a:rPr lang="en-US" dirty="0"/>
              <a:t>Learn more about microservice-based architecture (MSA), and its pros and cons</a:t>
            </a:r>
          </a:p>
          <a:p>
            <a:pPr marL="347663" indent="-347663">
              <a:spcBef>
                <a:spcPts val="1200"/>
              </a:spcBef>
              <a:buFont typeface="Arial" panose="020B0604020202020204" pitchFamily="34" charset="0"/>
              <a:buChar char="•"/>
            </a:pPr>
            <a:r>
              <a:rPr lang="en-US" dirty="0"/>
              <a:t>Learn about deploying microservices on Azure using ACI, AKS and Service Fabric. </a:t>
            </a:r>
          </a:p>
          <a:p>
            <a:pPr>
              <a:spcBef>
                <a:spcPts val="1200"/>
              </a:spcBef>
            </a:pPr>
            <a:endParaRPr lang="en-US" sz="3200" dirty="0"/>
          </a:p>
          <a:p>
            <a:pPr lvl="1">
              <a:spcBef>
                <a:spcPts val="1200"/>
              </a:spcBef>
            </a:pPr>
            <a:endParaRPr lang="en-US" sz="1800" dirty="0"/>
          </a:p>
        </p:txBody>
      </p:sp>
    </p:spTree>
    <p:extLst>
      <p:ext uri="{BB962C8B-B14F-4D97-AF65-F5344CB8AC3E}">
        <p14:creationId xmlns:p14="http://schemas.microsoft.com/office/powerpoint/2010/main" val="6726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16062" y="491948"/>
            <a:ext cx="8555292" cy="854250"/>
          </a:xfrm>
        </p:spPr>
        <p:txBody>
          <a:bodyPr/>
          <a:lstStyle/>
          <a:p>
            <a:pPr algn="ctr"/>
            <a:r>
              <a:rPr lang="en-US">
                <a:solidFill>
                  <a:schemeClr val="tx1"/>
                </a:solidFill>
              </a:rPr>
              <a:t>Azure Container Instances (ACI)</a:t>
            </a:r>
            <a:endParaRPr lang="en-US">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2303843" y="1288707"/>
            <a:ext cx="8107146" cy="658896"/>
          </a:xfrm>
          <a:prstGeom prst="rect">
            <a:avLst/>
          </a:prstGeom>
          <a:noFill/>
        </p:spPr>
        <p:txBody>
          <a:bodyPr wrap="square" lIns="143407" tIns="143407" rIns="143407" bIns="143407" rtlCol="0">
            <a:spAutoFit/>
          </a:bodyPr>
          <a:lstStyle/>
          <a:p>
            <a:pPr algn="ctr" defTabSz="914192">
              <a:spcAft>
                <a:spcPts val="588"/>
              </a:spcAft>
            </a:pPr>
            <a:r>
              <a:rPr lang="en-US" sz="2353">
                <a:solidFill>
                  <a:srgbClr val="0078D7"/>
                </a:solidFill>
                <a:latin typeface="Segoe UI Semilight"/>
                <a:cs typeface="Segoe UI Semibold" panose="020B0702040204020203" pitchFamily="34" charset="0"/>
              </a:rPr>
              <a:t>Easily run containers on demand without managing servers</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088250"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6285416"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9482580"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4882050" y="4516078"/>
            <a:ext cx="2806727" cy="112049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Increase infrastructure agility with containers on demand</a:t>
            </a:r>
          </a:p>
        </p:txBody>
      </p:sp>
      <p:sp>
        <p:nvSpPr>
          <p:cNvPr id="68" name="TextBox 67">
            <a:extLst>
              <a:ext uri="{FF2B5EF4-FFF2-40B4-BE49-F238E27FC236}">
                <a16:creationId xmlns:a16="http://schemas.microsoft.com/office/drawing/2014/main" id="{DC844172-066C-4246-8B5E-6CDE9153EF7B}"/>
              </a:ext>
            </a:extLst>
          </p:cNvPr>
          <p:cNvSpPr txBox="1"/>
          <p:nvPr/>
        </p:nvSpPr>
        <p:spPr>
          <a:xfrm>
            <a:off x="8193053" y="4486140"/>
            <a:ext cx="2723054" cy="84353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Secure applications with 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1872238" y="4512059"/>
            <a:ext cx="2432019" cy="112049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Run containers without managing servers</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3353106" y="5662304"/>
            <a:ext cx="28114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6550272" y="5662304"/>
            <a:ext cx="28114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6" name="Graphic 46">
            <a:extLst>
              <a:ext uri="{FF2B5EF4-FFF2-40B4-BE49-F238E27FC236}">
                <a16:creationId xmlns:a16="http://schemas.microsoft.com/office/drawing/2014/main" id="{63D99B85-1767-4EB2-B56B-2563A7D217ED}"/>
              </a:ext>
            </a:extLst>
          </p:cNvPr>
          <p:cNvPicPr/>
          <p:nvPr/>
        </p:nvPicPr>
        <p:blipFill>
          <a:blip r:embed="rId3">
            <a:extLst>
              <a:ext uri="{96DAC541-7B7A-43D3-8B79-37D633B846F1}">
                <asvg:svgBlip xmlns:asvg="http://schemas.microsoft.com/office/drawing/2016/SVG/main" r:embed="rId4"/>
              </a:ext>
            </a:extLst>
          </a:blip>
          <a:stretch>
            <a:fillRect/>
          </a:stretch>
        </p:blipFill>
        <p:spPr>
          <a:xfrm>
            <a:off x="2206692" y="2416173"/>
            <a:ext cx="1907122" cy="1739066"/>
          </a:xfrm>
          <a:prstGeom prst="rect">
            <a:avLst/>
          </a:prstGeom>
        </p:spPr>
      </p:pic>
      <p:pic>
        <p:nvPicPr>
          <p:cNvPr id="87" name="Graphic 75">
            <a:extLst>
              <a:ext uri="{FF2B5EF4-FFF2-40B4-BE49-F238E27FC236}">
                <a16:creationId xmlns:a16="http://schemas.microsoft.com/office/drawing/2014/main" id="{1D9322DA-4B09-4EFB-93F1-62D65BBDCB83}"/>
              </a:ext>
            </a:extLst>
          </p:cNvPr>
          <p:cNvPicPr/>
          <p:nvPr/>
        </p:nvPicPr>
        <p:blipFill>
          <a:blip r:embed="rId5">
            <a:extLst>
              <a:ext uri="{96DAC541-7B7A-43D3-8B79-37D633B846F1}">
                <asvg:svgBlip xmlns:asvg="http://schemas.microsoft.com/office/drawing/2016/SVG/main" r:embed="rId6"/>
              </a:ext>
            </a:extLst>
          </a:blip>
          <a:stretch>
            <a:fillRect/>
          </a:stretch>
        </p:blipFill>
        <p:spPr>
          <a:xfrm>
            <a:off x="5308625" y="2340205"/>
            <a:ext cx="2097585" cy="2073932"/>
          </a:xfrm>
          <a:prstGeom prst="rect">
            <a:avLst/>
          </a:prstGeom>
        </p:spPr>
      </p:pic>
      <p:pic>
        <p:nvPicPr>
          <p:cNvPr id="88" name="Graphic 82">
            <a:extLst>
              <a:ext uri="{FF2B5EF4-FFF2-40B4-BE49-F238E27FC236}">
                <a16:creationId xmlns:a16="http://schemas.microsoft.com/office/drawing/2014/main" id="{9E963723-F5A8-4307-9349-B3CBAACAB0B2}"/>
              </a:ext>
            </a:extLst>
          </p:cNvPr>
          <p:cNvPicPr/>
          <p:nvPr/>
        </p:nvPicPr>
        <p:blipFill>
          <a:blip r:embed="rId7">
            <a:extLst>
              <a:ext uri="{96DAC541-7B7A-43D3-8B79-37D633B846F1}">
                <asvg:svgBlip xmlns:asvg="http://schemas.microsoft.com/office/drawing/2016/SVG/main" r:embed="rId8"/>
              </a:ext>
            </a:extLst>
          </a:blip>
          <a:stretch>
            <a:fillRect/>
          </a:stretch>
        </p:blipFill>
        <p:spPr>
          <a:xfrm>
            <a:off x="8733287" y="2658298"/>
            <a:ext cx="1642590" cy="1254817"/>
          </a:xfrm>
          <a:prstGeom prst="rect">
            <a:avLst/>
          </a:prstGeom>
        </p:spPr>
      </p:pic>
    </p:spTree>
    <p:extLst>
      <p:ext uri="{BB962C8B-B14F-4D97-AF65-F5344CB8AC3E}">
        <p14:creationId xmlns:p14="http://schemas.microsoft.com/office/powerpoint/2010/main" val="242607027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924FF6-CE02-42F9-9FFE-41491ADAFF11}"/>
              </a:ext>
            </a:extLst>
          </p:cNvPr>
          <p:cNvSpPr>
            <a:spLocks noGrp="1"/>
          </p:cNvSpPr>
          <p:nvPr>
            <p:ph type="body" sz="quarter" idx="10"/>
          </p:nvPr>
        </p:nvSpPr>
        <p:spPr>
          <a:xfrm>
            <a:off x="269240" y="1963269"/>
            <a:ext cx="6723185" cy="3041402"/>
          </a:xfrm>
        </p:spPr>
        <p:txBody>
          <a:bodyPr/>
          <a:lstStyle/>
          <a:p>
            <a:pPr>
              <a:spcBef>
                <a:spcPts val="2353"/>
              </a:spcBef>
            </a:pPr>
            <a:r>
              <a:rPr lang="en-US"/>
              <a:t>No infrastructure to manage</a:t>
            </a:r>
          </a:p>
          <a:p>
            <a:pPr>
              <a:spcBef>
                <a:spcPts val="2353"/>
              </a:spcBef>
            </a:pPr>
            <a:r>
              <a:rPr lang="en-US"/>
              <a:t>Fast start and stop</a:t>
            </a:r>
          </a:p>
          <a:p>
            <a:pPr>
              <a:spcBef>
                <a:spcPts val="2353"/>
              </a:spcBef>
            </a:pPr>
            <a:r>
              <a:rPr lang="en-US"/>
              <a:t>Fast scale without VM start-up</a:t>
            </a:r>
          </a:p>
          <a:p>
            <a:pPr>
              <a:spcBef>
                <a:spcPts val="2353"/>
              </a:spcBef>
            </a:pPr>
            <a:endParaRPr lang="en-US"/>
          </a:p>
        </p:txBody>
      </p:sp>
      <p:pic>
        <p:nvPicPr>
          <p:cNvPr id="4" name="Picture 3">
            <a:extLst>
              <a:ext uri="{FF2B5EF4-FFF2-40B4-BE49-F238E27FC236}">
                <a16:creationId xmlns:a16="http://schemas.microsoft.com/office/drawing/2014/main" id="{DF0F80BB-1FD7-44EE-8480-15EF1653844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431987" y="1553804"/>
            <a:ext cx="3587648" cy="3062857"/>
          </a:xfrm>
          <a:prstGeom prst="rect">
            <a:avLst/>
          </a:prstGeom>
        </p:spPr>
      </p:pic>
      <p:grpSp>
        <p:nvGrpSpPr>
          <p:cNvPr id="5" name="Group 4">
            <a:extLst>
              <a:ext uri="{FF2B5EF4-FFF2-40B4-BE49-F238E27FC236}">
                <a16:creationId xmlns:a16="http://schemas.microsoft.com/office/drawing/2014/main" id="{B22EFDAD-A060-4AAE-A325-0E3C9245E1D5}"/>
              </a:ext>
            </a:extLst>
          </p:cNvPr>
          <p:cNvGrpSpPr/>
          <p:nvPr/>
        </p:nvGrpSpPr>
        <p:grpSpPr>
          <a:xfrm>
            <a:off x="325698" y="470488"/>
            <a:ext cx="998574" cy="559782"/>
            <a:chOff x="3523102" y="1791568"/>
            <a:chExt cx="6746733" cy="3782104"/>
          </a:xfrm>
          <a:solidFill>
            <a:schemeClr val="tx1"/>
          </a:solidFill>
        </p:grpSpPr>
        <p:sp>
          <p:nvSpPr>
            <p:cNvPr id="6" name="Rectangle 5">
              <a:extLst>
                <a:ext uri="{FF2B5EF4-FFF2-40B4-BE49-F238E27FC236}">
                  <a16:creationId xmlns:a16="http://schemas.microsoft.com/office/drawing/2014/main" id="{07C4517C-E7C3-438E-9D04-74E40BF1FAE8}"/>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7" name="Freeform 189">
              <a:extLst>
                <a:ext uri="{FF2B5EF4-FFF2-40B4-BE49-F238E27FC236}">
                  <a16:creationId xmlns:a16="http://schemas.microsoft.com/office/drawing/2014/main" id="{DDA29DC3-4BF2-49D7-8586-745A6DC28532}"/>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8" name="Freeform 190">
              <a:extLst>
                <a:ext uri="{FF2B5EF4-FFF2-40B4-BE49-F238E27FC236}">
                  <a16:creationId xmlns:a16="http://schemas.microsoft.com/office/drawing/2014/main" id="{C0DDA0ED-054D-4656-9CC6-84D24C68E917}"/>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9" name="Group 8">
            <a:extLst>
              <a:ext uri="{FF2B5EF4-FFF2-40B4-BE49-F238E27FC236}">
                <a16:creationId xmlns:a16="http://schemas.microsoft.com/office/drawing/2014/main" id="{909AA065-B8C2-4D65-AA9B-DD186CE19FD4}"/>
              </a:ext>
            </a:extLst>
          </p:cNvPr>
          <p:cNvGrpSpPr/>
          <p:nvPr/>
        </p:nvGrpSpPr>
        <p:grpSpPr>
          <a:xfrm>
            <a:off x="1497035" y="470488"/>
            <a:ext cx="998574" cy="559782"/>
            <a:chOff x="3523102" y="1791568"/>
            <a:chExt cx="6746733" cy="3782104"/>
          </a:xfrm>
          <a:solidFill>
            <a:schemeClr val="tx1"/>
          </a:solidFill>
        </p:grpSpPr>
        <p:sp>
          <p:nvSpPr>
            <p:cNvPr id="10" name="Rectangle 9">
              <a:extLst>
                <a:ext uri="{FF2B5EF4-FFF2-40B4-BE49-F238E27FC236}">
                  <a16:creationId xmlns:a16="http://schemas.microsoft.com/office/drawing/2014/main" id="{DD2EE2B4-C2B6-478D-AFDF-C2D7D943D874}"/>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11" name="Freeform 189">
              <a:extLst>
                <a:ext uri="{FF2B5EF4-FFF2-40B4-BE49-F238E27FC236}">
                  <a16:creationId xmlns:a16="http://schemas.microsoft.com/office/drawing/2014/main" id="{16C7BC99-9DC1-48E7-B34D-6B0AD8F9F607}"/>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12" name="Freeform 190">
              <a:extLst>
                <a:ext uri="{FF2B5EF4-FFF2-40B4-BE49-F238E27FC236}">
                  <a16:creationId xmlns:a16="http://schemas.microsoft.com/office/drawing/2014/main" id="{AE28DC86-93C3-434B-8B51-628F24458814}"/>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13" name="Group 12">
            <a:extLst>
              <a:ext uri="{FF2B5EF4-FFF2-40B4-BE49-F238E27FC236}">
                <a16:creationId xmlns:a16="http://schemas.microsoft.com/office/drawing/2014/main" id="{44AA74FE-841A-47B3-B933-3C2E804BA9D0}"/>
              </a:ext>
            </a:extLst>
          </p:cNvPr>
          <p:cNvGrpSpPr/>
          <p:nvPr/>
        </p:nvGrpSpPr>
        <p:grpSpPr>
          <a:xfrm>
            <a:off x="2668372" y="470488"/>
            <a:ext cx="998574" cy="559782"/>
            <a:chOff x="3523102" y="1791568"/>
            <a:chExt cx="6746733" cy="3782104"/>
          </a:xfrm>
          <a:solidFill>
            <a:schemeClr val="tx1"/>
          </a:solidFill>
        </p:grpSpPr>
        <p:sp>
          <p:nvSpPr>
            <p:cNvPr id="14" name="Rectangle 13">
              <a:extLst>
                <a:ext uri="{FF2B5EF4-FFF2-40B4-BE49-F238E27FC236}">
                  <a16:creationId xmlns:a16="http://schemas.microsoft.com/office/drawing/2014/main" id="{CACE6F07-77D5-4D33-AFC5-56E9E9B0BA1C}"/>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15" name="Freeform 189">
              <a:extLst>
                <a:ext uri="{FF2B5EF4-FFF2-40B4-BE49-F238E27FC236}">
                  <a16:creationId xmlns:a16="http://schemas.microsoft.com/office/drawing/2014/main" id="{320F04BA-8BAF-47BF-85CA-06C820B5A044}"/>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16" name="Freeform 190">
              <a:extLst>
                <a:ext uri="{FF2B5EF4-FFF2-40B4-BE49-F238E27FC236}">
                  <a16:creationId xmlns:a16="http://schemas.microsoft.com/office/drawing/2014/main" id="{F1E2C275-75AA-454C-87C7-9FA9AB72D1A9}"/>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17" name="Group 16">
            <a:extLst>
              <a:ext uri="{FF2B5EF4-FFF2-40B4-BE49-F238E27FC236}">
                <a16:creationId xmlns:a16="http://schemas.microsoft.com/office/drawing/2014/main" id="{C08C49F1-163E-453E-AAB3-FDD09C0A23F4}"/>
              </a:ext>
            </a:extLst>
          </p:cNvPr>
          <p:cNvGrpSpPr/>
          <p:nvPr/>
        </p:nvGrpSpPr>
        <p:grpSpPr>
          <a:xfrm>
            <a:off x="3839710" y="470488"/>
            <a:ext cx="998574" cy="559782"/>
            <a:chOff x="3523102" y="1791568"/>
            <a:chExt cx="6746733" cy="3782104"/>
          </a:xfrm>
          <a:solidFill>
            <a:schemeClr val="tx1"/>
          </a:solidFill>
        </p:grpSpPr>
        <p:sp>
          <p:nvSpPr>
            <p:cNvPr id="18" name="Rectangle 17">
              <a:extLst>
                <a:ext uri="{FF2B5EF4-FFF2-40B4-BE49-F238E27FC236}">
                  <a16:creationId xmlns:a16="http://schemas.microsoft.com/office/drawing/2014/main" id="{A0C2389C-5BB3-455A-88FB-79969B84B837}"/>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19" name="Freeform 189">
              <a:extLst>
                <a:ext uri="{FF2B5EF4-FFF2-40B4-BE49-F238E27FC236}">
                  <a16:creationId xmlns:a16="http://schemas.microsoft.com/office/drawing/2014/main" id="{7D45B972-2DBF-418F-9373-0688092404CE}"/>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20" name="Freeform 190">
              <a:extLst>
                <a:ext uri="{FF2B5EF4-FFF2-40B4-BE49-F238E27FC236}">
                  <a16:creationId xmlns:a16="http://schemas.microsoft.com/office/drawing/2014/main" id="{46675966-3743-4C30-A490-23629BBF7487}"/>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21" name="Group 20">
            <a:extLst>
              <a:ext uri="{FF2B5EF4-FFF2-40B4-BE49-F238E27FC236}">
                <a16:creationId xmlns:a16="http://schemas.microsoft.com/office/drawing/2014/main" id="{B0C0952C-E583-4A22-99CD-28350E32676C}"/>
              </a:ext>
            </a:extLst>
          </p:cNvPr>
          <p:cNvGrpSpPr/>
          <p:nvPr/>
        </p:nvGrpSpPr>
        <p:grpSpPr>
          <a:xfrm>
            <a:off x="5011047" y="470488"/>
            <a:ext cx="998574" cy="559782"/>
            <a:chOff x="3523102" y="1791568"/>
            <a:chExt cx="6746733" cy="3782104"/>
          </a:xfrm>
          <a:solidFill>
            <a:schemeClr val="tx1"/>
          </a:solidFill>
        </p:grpSpPr>
        <p:sp>
          <p:nvSpPr>
            <p:cNvPr id="22" name="Rectangle 21">
              <a:extLst>
                <a:ext uri="{FF2B5EF4-FFF2-40B4-BE49-F238E27FC236}">
                  <a16:creationId xmlns:a16="http://schemas.microsoft.com/office/drawing/2014/main" id="{84DB77FE-7D97-47FE-A82E-D33D66D61AE1}"/>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23" name="Freeform 189">
              <a:extLst>
                <a:ext uri="{FF2B5EF4-FFF2-40B4-BE49-F238E27FC236}">
                  <a16:creationId xmlns:a16="http://schemas.microsoft.com/office/drawing/2014/main" id="{DAE54269-A9CA-40A4-8182-C11425AAACED}"/>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24" name="Freeform 190">
              <a:extLst>
                <a:ext uri="{FF2B5EF4-FFF2-40B4-BE49-F238E27FC236}">
                  <a16:creationId xmlns:a16="http://schemas.microsoft.com/office/drawing/2014/main" id="{845B2314-5DC2-4956-8D9D-74FDAF945B5B}"/>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25" name="Group 24">
            <a:extLst>
              <a:ext uri="{FF2B5EF4-FFF2-40B4-BE49-F238E27FC236}">
                <a16:creationId xmlns:a16="http://schemas.microsoft.com/office/drawing/2014/main" id="{6A32C98B-874E-4175-B733-942B31917BEA}"/>
              </a:ext>
            </a:extLst>
          </p:cNvPr>
          <p:cNvGrpSpPr/>
          <p:nvPr/>
        </p:nvGrpSpPr>
        <p:grpSpPr>
          <a:xfrm>
            <a:off x="6182384" y="470488"/>
            <a:ext cx="998574" cy="559782"/>
            <a:chOff x="3523102" y="1791568"/>
            <a:chExt cx="6746733" cy="3782104"/>
          </a:xfrm>
          <a:solidFill>
            <a:schemeClr val="tx1"/>
          </a:solidFill>
        </p:grpSpPr>
        <p:sp>
          <p:nvSpPr>
            <p:cNvPr id="26" name="Rectangle 25">
              <a:extLst>
                <a:ext uri="{FF2B5EF4-FFF2-40B4-BE49-F238E27FC236}">
                  <a16:creationId xmlns:a16="http://schemas.microsoft.com/office/drawing/2014/main" id="{213FEE21-F1D4-4273-969B-13C5D1E0505F}"/>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27" name="Freeform 189">
              <a:extLst>
                <a:ext uri="{FF2B5EF4-FFF2-40B4-BE49-F238E27FC236}">
                  <a16:creationId xmlns:a16="http://schemas.microsoft.com/office/drawing/2014/main" id="{B33A7AA6-2875-43D0-AD5B-9B70E851076C}"/>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28" name="Freeform 190">
              <a:extLst>
                <a:ext uri="{FF2B5EF4-FFF2-40B4-BE49-F238E27FC236}">
                  <a16:creationId xmlns:a16="http://schemas.microsoft.com/office/drawing/2014/main" id="{E290C37E-B770-4952-B986-9D7615B3A1E4}"/>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29" name="Group 28">
            <a:extLst>
              <a:ext uri="{FF2B5EF4-FFF2-40B4-BE49-F238E27FC236}">
                <a16:creationId xmlns:a16="http://schemas.microsoft.com/office/drawing/2014/main" id="{13B384F4-A2A2-4D70-B6F4-54F3A284097C}"/>
              </a:ext>
            </a:extLst>
          </p:cNvPr>
          <p:cNvGrpSpPr/>
          <p:nvPr/>
        </p:nvGrpSpPr>
        <p:grpSpPr>
          <a:xfrm>
            <a:off x="7353721" y="470488"/>
            <a:ext cx="998574" cy="559782"/>
            <a:chOff x="3523102" y="1791568"/>
            <a:chExt cx="6746733" cy="3782104"/>
          </a:xfrm>
          <a:solidFill>
            <a:schemeClr val="tx1"/>
          </a:solidFill>
        </p:grpSpPr>
        <p:sp>
          <p:nvSpPr>
            <p:cNvPr id="30" name="Rectangle 29">
              <a:extLst>
                <a:ext uri="{FF2B5EF4-FFF2-40B4-BE49-F238E27FC236}">
                  <a16:creationId xmlns:a16="http://schemas.microsoft.com/office/drawing/2014/main" id="{70B9573C-58F4-4127-B277-4A0185CB24B8}"/>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31" name="Freeform 189">
              <a:extLst>
                <a:ext uri="{FF2B5EF4-FFF2-40B4-BE49-F238E27FC236}">
                  <a16:creationId xmlns:a16="http://schemas.microsoft.com/office/drawing/2014/main" id="{4E7FEB7B-2576-4369-8CF1-820A453E7778}"/>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32" name="Freeform 190">
              <a:extLst>
                <a:ext uri="{FF2B5EF4-FFF2-40B4-BE49-F238E27FC236}">
                  <a16:creationId xmlns:a16="http://schemas.microsoft.com/office/drawing/2014/main" id="{867A1FE2-BA86-4DBD-8CFB-45FF3C6231C6}"/>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33" name="Group 32">
            <a:extLst>
              <a:ext uri="{FF2B5EF4-FFF2-40B4-BE49-F238E27FC236}">
                <a16:creationId xmlns:a16="http://schemas.microsoft.com/office/drawing/2014/main" id="{765E04DC-E10D-4E0C-BFD6-A18A7AB80A7F}"/>
              </a:ext>
            </a:extLst>
          </p:cNvPr>
          <p:cNvGrpSpPr/>
          <p:nvPr/>
        </p:nvGrpSpPr>
        <p:grpSpPr>
          <a:xfrm>
            <a:off x="8525059" y="470488"/>
            <a:ext cx="998574" cy="559782"/>
            <a:chOff x="3523102" y="1791568"/>
            <a:chExt cx="6746733" cy="3782104"/>
          </a:xfrm>
          <a:solidFill>
            <a:schemeClr val="tx1"/>
          </a:solidFill>
        </p:grpSpPr>
        <p:sp>
          <p:nvSpPr>
            <p:cNvPr id="34" name="Rectangle 33">
              <a:extLst>
                <a:ext uri="{FF2B5EF4-FFF2-40B4-BE49-F238E27FC236}">
                  <a16:creationId xmlns:a16="http://schemas.microsoft.com/office/drawing/2014/main" id="{9B61EB6A-498D-4649-9AAD-3A8E58813F90}"/>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35" name="Freeform 189">
              <a:extLst>
                <a:ext uri="{FF2B5EF4-FFF2-40B4-BE49-F238E27FC236}">
                  <a16:creationId xmlns:a16="http://schemas.microsoft.com/office/drawing/2014/main" id="{2EE1DA1D-77C0-40E1-8D89-D9011ABFAE13}"/>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36" name="Freeform 190">
              <a:extLst>
                <a:ext uri="{FF2B5EF4-FFF2-40B4-BE49-F238E27FC236}">
                  <a16:creationId xmlns:a16="http://schemas.microsoft.com/office/drawing/2014/main" id="{7F453297-0ACD-4D4A-8685-F320056AC950}"/>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37" name="Group 36">
            <a:extLst>
              <a:ext uri="{FF2B5EF4-FFF2-40B4-BE49-F238E27FC236}">
                <a16:creationId xmlns:a16="http://schemas.microsoft.com/office/drawing/2014/main" id="{BA19E2FB-C2C6-4FD8-897D-447DB5B096A8}"/>
              </a:ext>
            </a:extLst>
          </p:cNvPr>
          <p:cNvGrpSpPr/>
          <p:nvPr/>
        </p:nvGrpSpPr>
        <p:grpSpPr>
          <a:xfrm>
            <a:off x="9696396" y="470488"/>
            <a:ext cx="998574" cy="559782"/>
            <a:chOff x="3523102" y="1791568"/>
            <a:chExt cx="6746733" cy="3782104"/>
          </a:xfrm>
          <a:solidFill>
            <a:schemeClr val="tx1"/>
          </a:solidFill>
        </p:grpSpPr>
        <p:sp>
          <p:nvSpPr>
            <p:cNvPr id="38" name="Rectangle 37">
              <a:extLst>
                <a:ext uri="{FF2B5EF4-FFF2-40B4-BE49-F238E27FC236}">
                  <a16:creationId xmlns:a16="http://schemas.microsoft.com/office/drawing/2014/main" id="{30B06AE5-3589-4D3D-8C51-4CCDEE0643B0}"/>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39" name="Freeform 189">
              <a:extLst>
                <a:ext uri="{FF2B5EF4-FFF2-40B4-BE49-F238E27FC236}">
                  <a16:creationId xmlns:a16="http://schemas.microsoft.com/office/drawing/2014/main" id="{9C5891D8-9E84-433E-81A6-9DFD944C6FBF}"/>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40" name="Freeform 190">
              <a:extLst>
                <a:ext uri="{FF2B5EF4-FFF2-40B4-BE49-F238E27FC236}">
                  <a16:creationId xmlns:a16="http://schemas.microsoft.com/office/drawing/2014/main" id="{D9C83276-9D5C-4901-B26E-B138C89F984D}"/>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grpSp>
        <p:nvGrpSpPr>
          <p:cNvPr id="41" name="Group 40">
            <a:extLst>
              <a:ext uri="{FF2B5EF4-FFF2-40B4-BE49-F238E27FC236}">
                <a16:creationId xmlns:a16="http://schemas.microsoft.com/office/drawing/2014/main" id="{E4908F28-C96C-4D21-AD1F-A743EA5B0EA3}"/>
              </a:ext>
            </a:extLst>
          </p:cNvPr>
          <p:cNvGrpSpPr/>
          <p:nvPr/>
        </p:nvGrpSpPr>
        <p:grpSpPr>
          <a:xfrm>
            <a:off x="10867730" y="470488"/>
            <a:ext cx="998574" cy="559782"/>
            <a:chOff x="3523102" y="1791568"/>
            <a:chExt cx="6746733" cy="3782104"/>
          </a:xfrm>
          <a:solidFill>
            <a:schemeClr val="tx1"/>
          </a:solidFill>
        </p:grpSpPr>
        <p:sp>
          <p:nvSpPr>
            <p:cNvPr id="42" name="Rectangle 41">
              <a:extLst>
                <a:ext uri="{FF2B5EF4-FFF2-40B4-BE49-F238E27FC236}">
                  <a16:creationId xmlns:a16="http://schemas.microsoft.com/office/drawing/2014/main" id="{A1EB08E2-14DE-4FCB-91E0-8A831CF6CD69}"/>
                </a:ext>
              </a:extLst>
            </p:cNvPr>
            <p:cNvSpPr/>
            <p:nvPr/>
          </p:nvSpPr>
          <p:spPr>
            <a:xfrm>
              <a:off x="3757141" y="2148418"/>
              <a:ext cx="6278654" cy="3068395"/>
            </a:xfrm>
            <a:prstGeom prst="rect">
              <a:avLst/>
            </a:pr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43" name="Freeform 189">
              <a:extLst>
                <a:ext uri="{FF2B5EF4-FFF2-40B4-BE49-F238E27FC236}">
                  <a16:creationId xmlns:a16="http://schemas.microsoft.com/office/drawing/2014/main" id="{EA37BA5F-7732-448B-8DFC-8BDD2B307EE9}"/>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sp>
          <p:nvSpPr>
            <p:cNvPr id="44" name="Freeform 190">
              <a:extLst>
                <a:ext uri="{FF2B5EF4-FFF2-40B4-BE49-F238E27FC236}">
                  <a16:creationId xmlns:a16="http://schemas.microsoft.com/office/drawing/2014/main" id="{EBD43E16-6F47-4F15-83B9-F7A2961EC1A8}"/>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w="10795" cap="flat" cmpd="sng" algn="ctr">
              <a:noFill/>
              <a:prstDash val="solid"/>
            </a:ln>
            <a:effectLst/>
          </p:spPr>
          <p:txBody>
            <a:bodyPr rtlCol="0" anchor="t"/>
            <a:lstStyle/>
            <a:p>
              <a:pPr defTabSz="633092" fontAlgn="base">
                <a:spcBef>
                  <a:spcPct val="0"/>
                </a:spcBef>
                <a:spcAft>
                  <a:spcPct val="0"/>
                </a:spcAft>
                <a:defRPr/>
              </a:pPr>
              <a:endParaRPr lang="en-US" sz="1291" kern="0">
                <a:gradFill>
                  <a:gsLst>
                    <a:gs pos="0">
                      <a:srgbClr val="FFFFFF"/>
                    </a:gs>
                    <a:gs pos="100000">
                      <a:srgbClr val="FFFFFF"/>
                    </a:gs>
                  </a:gsLst>
                  <a:lin ang="5400000" scaled="0"/>
                </a:gradFill>
                <a:latin typeface="Segoe UI"/>
                <a:cs typeface="Segoe UI Light" pitchFamily="34" charset="0"/>
              </a:endParaRPr>
            </a:p>
          </p:txBody>
        </p:sp>
      </p:grpSp>
    </p:spTree>
    <p:extLst>
      <p:ext uri="{BB962C8B-B14F-4D97-AF65-F5344CB8AC3E}">
        <p14:creationId xmlns:p14="http://schemas.microsoft.com/office/powerpoint/2010/main" val="185000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250"/>
                                        <p:tgtEl>
                                          <p:spTgt spid="5"/>
                                        </p:tgtEl>
                                      </p:cBhvr>
                                    </p:animEffect>
                                  </p:childTnLst>
                                </p:cTn>
                              </p:par>
                              <p:par>
                                <p:cTn id="21" presetID="42" presetClass="path" presetSubtype="0" decel="100000" fill="hold" nodeType="withEffect">
                                  <p:stCondLst>
                                    <p:cond delay="0"/>
                                  </p:stCondLst>
                                  <p:childTnLst>
                                    <p:animMotion origin="layout" path="M -3.8167E-6 3.7222E-6 L -3.8167E-6 0.06377 " pathEditMode="relative" rAng="0" ptsTypes="AA">
                                      <p:cBhvr>
                                        <p:cTn id="22" dur="500" spd="-100000" fill="hold"/>
                                        <p:tgtEl>
                                          <p:spTgt spid="5"/>
                                        </p:tgtEl>
                                        <p:attrNameLst>
                                          <p:attrName>ppt_x</p:attrName>
                                          <p:attrName>ppt_y</p:attrName>
                                        </p:attrNameLst>
                                      </p:cBhvr>
                                      <p:rCtr x="0" y="3177"/>
                                    </p:animMotion>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250"/>
                                        <p:tgtEl>
                                          <p:spTgt spid="9"/>
                                        </p:tgtEl>
                                      </p:cBhvr>
                                    </p:animEffect>
                                  </p:childTnLst>
                                </p:cTn>
                              </p:par>
                              <p:par>
                                <p:cTn id="27" presetID="42" presetClass="path" presetSubtype="0" decel="100000" fill="hold" nodeType="withEffect">
                                  <p:stCondLst>
                                    <p:cond delay="0"/>
                                  </p:stCondLst>
                                  <p:childTnLst>
                                    <p:animMotion origin="layout" path="M -3.29589E-6 3.7222E-6 L -3.29589E-6 0.06377 " pathEditMode="relative" rAng="0" ptsTypes="AA">
                                      <p:cBhvr>
                                        <p:cTn id="28" dur="500" spd="-100000" fill="hold"/>
                                        <p:tgtEl>
                                          <p:spTgt spid="9"/>
                                        </p:tgtEl>
                                        <p:attrNameLst>
                                          <p:attrName>ppt_x</p:attrName>
                                          <p:attrName>ppt_y</p:attrName>
                                        </p:attrNameLst>
                                      </p:cBhvr>
                                      <p:rCtr x="0" y="3177"/>
                                    </p:animMotion>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250"/>
                                        <p:tgtEl>
                                          <p:spTgt spid="13"/>
                                        </p:tgtEl>
                                      </p:cBhvr>
                                    </p:animEffect>
                                  </p:childTnLst>
                                </p:cTn>
                              </p:par>
                              <p:par>
                                <p:cTn id="33" presetID="42" presetClass="path" presetSubtype="0" decel="100000" fill="hold" nodeType="withEffect">
                                  <p:stCondLst>
                                    <p:cond delay="0"/>
                                  </p:stCondLst>
                                  <p:childTnLst>
                                    <p:animMotion origin="layout" path="M 4.87363E-6 3.7222E-6 L 4.87363E-6 0.06377 " pathEditMode="relative" rAng="0" ptsTypes="AA">
                                      <p:cBhvr>
                                        <p:cTn id="34" dur="500" spd="-100000" fill="hold"/>
                                        <p:tgtEl>
                                          <p:spTgt spid="13"/>
                                        </p:tgtEl>
                                        <p:attrNameLst>
                                          <p:attrName>ppt_x</p:attrName>
                                          <p:attrName>ppt_y</p:attrName>
                                        </p:attrNameLst>
                                      </p:cBhvr>
                                      <p:rCtr x="0" y="3177"/>
                                    </p:animMotion>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50"/>
                                        <p:tgtEl>
                                          <p:spTgt spid="17"/>
                                        </p:tgtEl>
                                      </p:cBhvr>
                                    </p:animEffect>
                                  </p:childTnLst>
                                </p:cTn>
                              </p:par>
                              <p:par>
                                <p:cTn id="39" presetID="42" presetClass="path" presetSubtype="0" decel="100000" fill="hold" nodeType="withEffect">
                                  <p:stCondLst>
                                    <p:cond delay="0"/>
                                  </p:stCondLst>
                                  <p:childTnLst>
                                    <p:animMotion origin="layout" path="M -4.60557E-6 3.7222E-6 L -4.60557E-6 0.06377 " pathEditMode="relative" rAng="0" ptsTypes="AA">
                                      <p:cBhvr>
                                        <p:cTn id="40" dur="500" spd="-100000" fill="hold"/>
                                        <p:tgtEl>
                                          <p:spTgt spid="17"/>
                                        </p:tgtEl>
                                        <p:attrNameLst>
                                          <p:attrName>ppt_x</p:attrName>
                                          <p:attrName>ppt_y</p:attrName>
                                        </p:attrNameLst>
                                      </p:cBhvr>
                                      <p:rCtr x="0" y="3177"/>
                                    </p:animMotion>
                                  </p:childTnLst>
                                </p:cTn>
                              </p:par>
                            </p:childTnLst>
                          </p:cTn>
                        </p:par>
                        <p:par>
                          <p:cTn id="41" fill="hold">
                            <p:stCondLst>
                              <p:cond delay="2500"/>
                            </p:stCondLst>
                            <p:childTnLst>
                              <p:par>
                                <p:cTn id="42" presetID="10" presetClass="entr" presetSubtype="0" fill="hold" nodeType="after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fade">
                                      <p:cBhvr>
                                        <p:cTn id="44" dur="250"/>
                                        <p:tgtEl>
                                          <p:spTgt spid="21"/>
                                        </p:tgtEl>
                                      </p:cBhvr>
                                    </p:animEffect>
                                  </p:childTnLst>
                                </p:cTn>
                              </p:par>
                              <p:par>
                                <p:cTn id="45" presetID="42" presetClass="path" presetSubtype="0" decel="100000" fill="hold" nodeType="withEffect">
                                  <p:stCondLst>
                                    <p:cond delay="0"/>
                                  </p:stCondLst>
                                  <p:childTnLst>
                                    <p:animMotion origin="layout" path="M 3.56395E-6 3.7222E-6 L 3.56395E-6 0.06377 " pathEditMode="relative" rAng="0" ptsTypes="AA">
                                      <p:cBhvr>
                                        <p:cTn id="46" dur="500" spd="-100000" fill="hold"/>
                                        <p:tgtEl>
                                          <p:spTgt spid="21"/>
                                        </p:tgtEl>
                                        <p:attrNameLst>
                                          <p:attrName>ppt_x</p:attrName>
                                          <p:attrName>ppt_y</p:attrName>
                                        </p:attrNameLst>
                                      </p:cBhvr>
                                      <p:rCtr x="0" y="3177"/>
                                    </p:animMotion>
                                  </p:childTnLst>
                                </p:cTn>
                              </p:par>
                            </p:childTnLst>
                          </p:cTn>
                        </p:par>
                        <p:par>
                          <p:cTn id="47" fill="hold">
                            <p:stCondLst>
                              <p:cond delay="3000"/>
                            </p:stCondLst>
                            <p:childTnLst>
                              <p:par>
                                <p:cTn id="48" presetID="10" presetClass="entr" presetSubtype="0" fill="hold" nodeType="after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250"/>
                                        <p:tgtEl>
                                          <p:spTgt spid="25"/>
                                        </p:tgtEl>
                                      </p:cBhvr>
                                    </p:animEffect>
                                  </p:childTnLst>
                                </p:cTn>
                              </p:par>
                              <p:par>
                                <p:cTn id="51" presetID="42" presetClass="path" presetSubtype="0" decel="100000" fill="hold" nodeType="withEffect">
                                  <p:stCondLst>
                                    <p:cond delay="0"/>
                                  </p:stCondLst>
                                  <p:childTnLst>
                                    <p:animMotion origin="layout" path="M 4.08476E-6 3.7222E-6 L 4.08476E-6 0.06377 " pathEditMode="relative" rAng="0" ptsTypes="AA">
                                      <p:cBhvr>
                                        <p:cTn id="52" dur="500" spd="-100000" fill="hold"/>
                                        <p:tgtEl>
                                          <p:spTgt spid="25"/>
                                        </p:tgtEl>
                                        <p:attrNameLst>
                                          <p:attrName>ppt_x</p:attrName>
                                          <p:attrName>ppt_y</p:attrName>
                                        </p:attrNameLst>
                                      </p:cBhvr>
                                      <p:rCtr x="0" y="3177"/>
                                    </p:animMotion>
                                  </p:childTnLst>
                                </p:cTn>
                              </p:par>
                            </p:childTnLst>
                          </p:cTn>
                        </p:par>
                        <p:par>
                          <p:cTn id="53" fill="hold">
                            <p:stCondLst>
                              <p:cond delay="3500"/>
                            </p:stCondLst>
                            <p:childTnLst>
                              <p:par>
                                <p:cTn id="54" presetID="10" presetClass="entr" presetSubtype="0" fill="hold" nodeType="after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fade">
                                      <p:cBhvr>
                                        <p:cTn id="56" dur="250"/>
                                        <p:tgtEl>
                                          <p:spTgt spid="29"/>
                                        </p:tgtEl>
                                      </p:cBhvr>
                                    </p:animEffect>
                                  </p:childTnLst>
                                </p:cTn>
                              </p:par>
                              <p:par>
                                <p:cTn id="57" presetID="42" presetClass="path" presetSubtype="0" decel="100000" fill="hold" nodeType="withEffect">
                                  <p:stCondLst>
                                    <p:cond delay="0"/>
                                  </p:stCondLst>
                                  <p:childTnLst>
                                    <p:animMotion origin="layout" path="M 4.60557E-6 3.7222E-6 L 4.60557E-6 0.06377 " pathEditMode="relative" rAng="0" ptsTypes="AA">
                                      <p:cBhvr>
                                        <p:cTn id="58" dur="500" spd="-100000" fill="hold"/>
                                        <p:tgtEl>
                                          <p:spTgt spid="29"/>
                                        </p:tgtEl>
                                        <p:attrNameLst>
                                          <p:attrName>ppt_x</p:attrName>
                                          <p:attrName>ppt_y</p:attrName>
                                        </p:attrNameLst>
                                      </p:cBhvr>
                                      <p:rCtr x="0" y="3177"/>
                                    </p:animMotion>
                                  </p:childTnLst>
                                </p:cTn>
                              </p:par>
                            </p:childTnLst>
                          </p:cTn>
                        </p:par>
                        <p:par>
                          <p:cTn id="59" fill="hold">
                            <p:stCondLst>
                              <p:cond delay="4000"/>
                            </p:stCondLst>
                            <p:childTnLst>
                              <p:par>
                                <p:cTn id="60" presetID="10" presetClass="entr" presetSubtype="0" fill="hold" nodeType="afterEffect">
                                  <p:stCondLst>
                                    <p:cond delay="0"/>
                                  </p:stCondLst>
                                  <p:childTnLst>
                                    <p:set>
                                      <p:cBhvr>
                                        <p:cTn id="61" dur="1" fill="hold">
                                          <p:stCondLst>
                                            <p:cond delay="0"/>
                                          </p:stCondLst>
                                        </p:cTn>
                                        <p:tgtEl>
                                          <p:spTgt spid="33"/>
                                        </p:tgtEl>
                                        <p:attrNameLst>
                                          <p:attrName>style.visibility</p:attrName>
                                        </p:attrNameLst>
                                      </p:cBhvr>
                                      <p:to>
                                        <p:strVal val="visible"/>
                                      </p:to>
                                    </p:set>
                                    <p:animEffect transition="in" filter="fade">
                                      <p:cBhvr>
                                        <p:cTn id="62" dur="250"/>
                                        <p:tgtEl>
                                          <p:spTgt spid="33"/>
                                        </p:tgtEl>
                                      </p:cBhvr>
                                    </p:animEffect>
                                  </p:childTnLst>
                                </p:cTn>
                              </p:par>
                              <p:par>
                                <p:cTn id="63" presetID="42" presetClass="path" presetSubtype="0" decel="100000" fill="hold" nodeType="withEffect">
                                  <p:stCondLst>
                                    <p:cond delay="0"/>
                                  </p:stCondLst>
                                  <p:childTnLst>
                                    <p:animMotion origin="layout" path="M 2.77508E-6 3.7222E-6 L 2.77508E-6 0.06377 " pathEditMode="relative" rAng="0" ptsTypes="AA">
                                      <p:cBhvr>
                                        <p:cTn id="64" dur="500" spd="-100000" fill="hold"/>
                                        <p:tgtEl>
                                          <p:spTgt spid="33"/>
                                        </p:tgtEl>
                                        <p:attrNameLst>
                                          <p:attrName>ppt_x</p:attrName>
                                          <p:attrName>ppt_y</p:attrName>
                                        </p:attrNameLst>
                                      </p:cBhvr>
                                      <p:rCtr x="0" y="3177"/>
                                    </p:animMotion>
                                  </p:childTnLst>
                                </p:cTn>
                              </p:par>
                            </p:childTnLst>
                          </p:cTn>
                        </p:par>
                        <p:par>
                          <p:cTn id="65" fill="hold">
                            <p:stCondLst>
                              <p:cond delay="4500"/>
                            </p:stCondLst>
                            <p:childTnLst>
                              <p:par>
                                <p:cTn id="66" presetID="10" presetClass="entr" presetSubtype="0" fill="hold" nodeType="afterEffect">
                                  <p:stCondLst>
                                    <p:cond delay="0"/>
                                  </p:stCondLst>
                                  <p:childTnLst>
                                    <p:set>
                                      <p:cBhvr>
                                        <p:cTn id="67" dur="1" fill="hold">
                                          <p:stCondLst>
                                            <p:cond delay="0"/>
                                          </p:stCondLst>
                                        </p:cTn>
                                        <p:tgtEl>
                                          <p:spTgt spid="37"/>
                                        </p:tgtEl>
                                        <p:attrNameLst>
                                          <p:attrName>style.visibility</p:attrName>
                                        </p:attrNameLst>
                                      </p:cBhvr>
                                      <p:to>
                                        <p:strVal val="visible"/>
                                      </p:to>
                                    </p:set>
                                    <p:animEffect transition="in" filter="fade">
                                      <p:cBhvr>
                                        <p:cTn id="68" dur="250"/>
                                        <p:tgtEl>
                                          <p:spTgt spid="37"/>
                                        </p:tgtEl>
                                      </p:cBhvr>
                                    </p:animEffect>
                                  </p:childTnLst>
                                </p:cTn>
                              </p:par>
                              <p:par>
                                <p:cTn id="69" presetID="42" presetClass="path" presetSubtype="0" decel="100000" fill="hold" nodeType="withEffect">
                                  <p:stCondLst>
                                    <p:cond delay="0"/>
                                  </p:stCondLst>
                                  <p:childTnLst>
                                    <p:animMotion origin="layout" path="M 3.29589E-6 3.7222E-6 L 3.29589E-6 0.06377 " pathEditMode="relative" rAng="0" ptsTypes="AA">
                                      <p:cBhvr>
                                        <p:cTn id="70" dur="500" spd="-100000" fill="hold"/>
                                        <p:tgtEl>
                                          <p:spTgt spid="37"/>
                                        </p:tgtEl>
                                        <p:attrNameLst>
                                          <p:attrName>ppt_x</p:attrName>
                                          <p:attrName>ppt_y</p:attrName>
                                        </p:attrNameLst>
                                      </p:cBhvr>
                                      <p:rCtr x="0" y="3177"/>
                                    </p:animMotion>
                                  </p:childTnLst>
                                </p:cTn>
                              </p:par>
                            </p:childTnLst>
                          </p:cTn>
                        </p:par>
                        <p:par>
                          <p:cTn id="71" fill="hold">
                            <p:stCondLst>
                              <p:cond delay="5000"/>
                            </p:stCondLst>
                            <p:childTnLst>
                              <p:par>
                                <p:cTn id="72" presetID="10" presetClass="entr" presetSubtype="0" fill="hold" nodeType="afterEffect">
                                  <p:stCondLst>
                                    <p:cond delay="0"/>
                                  </p:stCondLst>
                                  <p:childTnLst>
                                    <p:set>
                                      <p:cBhvr>
                                        <p:cTn id="73" dur="1" fill="hold">
                                          <p:stCondLst>
                                            <p:cond delay="0"/>
                                          </p:stCondLst>
                                        </p:cTn>
                                        <p:tgtEl>
                                          <p:spTgt spid="41"/>
                                        </p:tgtEl>
                                        <p:attrNameLst>
                                          <p:attrName>style.visibility</p:attrName>
                                        </p:attrNameLst>
                                      </p:cBhvr>
                                      <p:to>
                                        <p:strVal val="visible"/>
                                      </p:to>
                                    </p:set>
                                    <p:animEffect transition="in" filter="fade">
                                      <p:cBhvr>
                                        <p:cTn id="74" dur="250"/>
                                        <p:tgtEl>
                                          <p:spTgt spid="41"/>
                                        </p:tgtEl>
                                      </p:cBhvr>
                                    </p:animEffect>
                                  </p:childTnLst>
                                </p:cTn>
                              </p:par>
                              <p:par>
                                <p:cTn id="75" presetID="42" presetClass="path" presetSubtype="0" decel="100000" fill="hold" nodeType="withEffect">
                                  <p:stCondLst>
                                    <p:cond delay="0"/>
                                  </p:stCondLst>
                                  <p:childTnLst>
                                    <p:animMotion origin="layout" path="M 3.8167E-6 3.7222E-6 L 3.8167E-6 0.06377 " pathEditMode="relative" rAng="0" ptsTypes="AA">
                                      <p:cBhvr>
                                        <p:cTn id="76" dur="500" spd="-100000" fill="hold"/>
                                        <p:tgtEl>
                                          <p:spTgt spid="41"/>
                                        </p:tgtEl>
                                        <p:attrNameLst>
                                          <p:attrName>ppt_x</p:attrName>
                                          <p:attrName>ppt_y</p:attrName>
                                        </p:attrNameLst>
                                      </p:cBhvr>
                                      <p:rCtr x="0" y="3177"/>
                                    </p:animMotion>
                                  </p:childTnLst>
                                </p:cTn>
                              </p:par>
                            </p:childTnLst>
                          </p:cTn>
                        </p:par>
                        <p:par>
                          <p:cTn id="77" fill="hold">
                            <p:stCondLst>
                              <p:cond delay="5500"/>
                            </p:stCondLst>
                            <p:childTnLst>
                              <p:par>
                                <p:cTn id="78" presetID="10" presetClass="exit" presetSubtype="0" fill="hold" nodeType="afterEffect">
                                  <p:stCondLst>
                                    <p:cond delay="0"/>
                                  </p:stCondLst>
                                  <p:childTnLst>
                                    <p:animEffect transition="out" filter="fade">
                                      <p:cBhvr>
                                        <p:cTn id="79" dur="500"/>
                                        <p:tgtEl>
                                          <p:spTgt spid="17"/>
                                        </p:tgtEl>
                                      </p:cBhvr>
                                    </p:animEffect>
                                    <p:set>
                                      <p:cBhvr>
                                        <p:cTn id="80" dur="1" fill="hold">
                                          <p:stCondLst>
                                            <p:cond delay="499"/>
                                          </p:stCondLst>
                                        </p:cTn>
                                        <p:tgtEl>
                                          <p:spTgt spid="17"/>
                                        </p:tgtEl>
                                        <p:attrNameLst>
                                          <p:attrName>style.visibility</p:attrName>
                                        </p:attrNameLst>
                                      </p:cBhvr>
                                      <p:to>
                                        <p:strVal val="hidden"/>
                                      </p:to>
                                    </p:set>
                                  </p:childTnLst>
                                </p:cTn>
                              </p:par>
                            </p:childTnLst>
                          </p:cTn>
                        </p:par>
                        <p:par>
                          <p:cTn id="81" fill="hold">
                            <p:stCondLst>
                              <p:cond delay="6000"/>
                            </p:stCondLst>
                            <p:childTnLst>
                              <p:par>
                                <p:cTn id="82" presetID="10" presetClass="exit" presetSubtype="0" fill="hold" nodeType="afterEffect">
                                  <p:stCondLst>
                                    <p:cond delay="0"/>
                                  </p:stCondLst>
                                  <p:childTnLst>
                                    <p:animEffect transition="out" filter="fade">
                                      <p:cBhvr>
                                        <p:cTn id="83" dur="500"/>
                                        <p:tgtEl>
                                          <p:spTgt spid="21"/>
                                        </p:tgtEl>
                                      </p:cBhvr>
                                    </p:animEffect>
                                    <p:set>
                                      <p:cBhvr>
                                        <p:cTn id="84" dur="1" fill="hold">
                                          <p:stCondLst>
                                            <p:cond delay="499"/>
                                          </p:stCondLst>
                                        </p:cTn>
                                        <p:tgtEl>
                                          <p:spTgt spid="21"/>
                                        </p:tgtEl>
                                        <p:attrNameLst>
                                          <p:attrName>style.visibility</p:attrName>
                                        </p:attrNameLst>
                                      </p:cBhvr>
                                      <p:to>
                                        <p:strVal val="hidden"/>
                                      </p:to>
                                    </p:set>
                                  </p:childTnLst>
                                </p:cTn>
                              </p:par>
                            </p:childTnLst>
                          </p:cTn>
                        </p:par>
                        <p:par>
                          <p:cTn id="85" fill="hold">
                            <p:stCondLst>
                              <p:cond delay="6500"/>
                            </p:stCondLst>
                            <p:childTnLst>
                              <p:par>
                                <p:cTn id="86" presetID="10" presetClass="exit" presetSubtype="0" fill="hold" nodeType="afterEffect">
                                  <p:stCondLst>
                                    <p:cond delay="0"/>
                                  </p:stCondLst>
                                  <p:childTnLst>
                                    <p:animEffect transition="out" filter="fade">
                                      <p:cBhvr>
                                        <p:cTn id="87" dur="500"/>
                                        <p:tgtEl>
                                          <p:spTgt spid="29"/>
                                        </p:tgtEl>
                                      </p:cBhvr>
                                    </p:animEffect>
                                    <p:set>
                                      <p:cBhvr>
                                        <p:cTn id="88" dur="1" fill="hold">
                                          <p:stCondLst>
                                            <p:cond delay="499"/>
                                          </p:stCondLst>
                                        </p:cTn>
                                        <p:tgtEl>
                                          <p:spTgt spid="29"/>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grpId="1" nodeType="clickEffect">
                                  <p:stCondLst>
                                    <p:cond delay="0"/>
                                  </p:stCondLst>
                                  <p:childTnLst>
                                    <p:animEffect transition="out" filter="fade">
                                      <p:cBhvr>
                                        <p:cTn id="92" dur="500"/>
                                        <p:tgtEl>
                                          <p:spTgt spid="3">
                                            <p:txEl>
                                              <p:pRg st="0" end="0"/>
                                            </p:txEl>
                                          </p:spTgt>
                                        </p:tgtEl>
                                      </p:cBhvr>
                                    </p:animEffect>
                                    <p:set>
                                      <p:cBhvr>
                                        <p:cTn id="93" dur="1" fill="hold">
                                          <p:stCondLst>
                                            <p:cond delay="499"/>
                                          </p:stCondLst>
                                        </p:cTn>
                                        <p:tgtEl>
                                          <p:spTgt spid="3">
                                            <p:txEl>
                                              <p:pRg st="0" end="0"/>
                                            </p:txEl>
                                          </p:spTgt>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
                                            <p:txEl>
                                              <p:pRg st="1" end="1"/>
                                            </p:txEl>
                                          </p:spTgt>
                                        </p:tgtEl>
                                      </p:cBhvr>
                                    </p:animEffect>
                                    <p:set>
                                      <p:cBhvr>
                                        <p:cTn id="96" dur="1" fill="hold">
                                          <p:stCondLst>
                                            <p:cond delay="499"/>
                                          </p:stCondLst>
                                        </p:cTn>
                                        <p:tgtEl>
                                          <p:spTgt spid="3">
                                            <p:txEl>
                                              <p:pRg st="1" end="1"/>
                                            </p:txEl>
                                          </p:spTgt>
                                        </p:tgtEl>
                                        <p:attrNameLst>
                                          <p:attrName>style.visibility</p:attrName>
                                        </p:attrNameLst>
                                      </p:cBhvr>
                                      <p:to>
                                        <p:strVal val="hidden"/>
                                      </p:to>
                                    </p:set>
                                  </p:childTnLst>
                                </p:cTn>
                              </p:par>
                              <p:par>
                                <p:cTn id="97" presetID="10" presetClass="exit" presetSubtype="0" fill="hold" grpId="1" nodeType="withEffect">
                                  <p:stCondLst>
                                    <p:cond delay="0"/>
                                  </p:stCondLst>
                                  <p:childTnLst>
                                    <p:animEffect transition="out" filter="fade">
                                      <p:cBhvr>
                                        <p:cTn id="98" dur="500"/>
                                        <p:tgtEl>
                                          <p:spTgt spid="3">
                                            <p:txEl>
                                              <p:pRg st="2" end="2"/>
                                            </p:txEl>
                                          </p:spTgt>
                                        </p:tgtEl>
                                      </p:cBhvr>
                                    </p:animEffect>
                                    <p:set>
                                      <p:cBhvr>
                                        <p:cTn id="99" dur="1" fill="hold">
                                          <p:stCondLst>
                                            <p:cond delay="499"/>
                                          </p:stCondLst>
                                        </p:cTn>
                                        <p:tgtEl>
                                          <p:spTgt spid="3">
                                            <p:txEl>
                                              <p:pRg st="2" end="2"/>
                                            </p:txEl>
                                          </p:spTgt>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4"/>
                                        </p:tgtEl>
                                      </p:cBhvr>
                                    </p:animEffect>
                                    <p:set>
                                      <p:cBhvr>
                                        <p:cTn id="102" dur="1" fill="hold">
                                          <p:stCondLst>
                                            <p:cond delay="499"/>
                                          </p:stCondLst>
                                        </p:cTn>
                                        <p:tgtEl>
                                          <p:spTgt spid="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5"/>
                                        </p:tgtEl>
                                      </p:cBhvr>
                                    </p:animEffect>
                                    <p:set>
                                      <p:cBhvr>
                                        <p:cTn id="105" dur="1" fill="hold">
                                          <p:stCondLst>
                                            <p:cond delay="499"/>
                                          </p:stCondLst>
                                        </p:cTn>
                                        <p:tgtEl>
                                          <p:spTgt spid="5"/>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9"/>
                                        </p:tgtEl>
                                      </p:cBhvr>
                                    </p:animEffect>
                                    <p:set>
                                      <p:cBhvr>
                                        <p:cTn id="108" dur="1" fill="hold">
                                          <p:stCondLst>
                                            <p:cond delay="499"/>
                                          </p:stCondLst>
                                        </p:cTn>
                                        <p:tgtEl>
                                          <p:spTgt spid="9"/>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13"/>
                                        </p:tgtEl>
                                      </p:cBhvr>
                                    </p:animEffect>
                                    <p:set>
                                      <p:cBhvr>
                                        <p:cTn id="111" dur="1" fill="hold">
                                          <p:stCondLst>
                                            <p:cond delay="499"/>
                                          </p:stCondLst>
                                        </p:cTn>
                                        <p:tgtEl>
                                          <p:spTgt spid="1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25"/>
                                        </p:tgtEl>
                                      </p:cBhvr>
                                    </p:animEffect>
                                    <p:set>
                                      <p:cBhvr>
                                        <p:cTn id="114" dur="1" fill="hold">
                                          <p:stCondLst>
                                            <p:cond delay="499"/>
                                          </p:stCondLst>
                                        </p:cTn>
                                        <p:tgtEl>
                                          <p:spTgt spid="25"/>
                                        </p:tgtEl>
                                        <p:attrNameLst>
                                          <p:attrName>style.visibility</p:attrName>
                                        </p:attrNameLst>
                                      </p:cBhvr>
                                      <p:to>
                                        <p:strVal val="hidden"/>
                                      </p:to>
                                    </p:set>
                                  </p:childTnLst>
                                </p:cTn>
                              </p:par>
                              <p:par>
                                <p:cTn id="115" presetID="10" presetClass="exit" presetSubtype="0" fill="hold" nodeType="withEffect">
                                  <p:stCondLst>
                                    <p:cond delay="0"/>
                                  </p:stCondLst>
                                  <p:childTnLst>
                                    <p:animEffect transition="out" filter="fade">
                                      <p:cBhvr>
                                        <p:cTn id="116" dur="500"/>
                                        <p:tgtEl>
                                          <p:spTgt spid="33"/>
                                        </p:tgtEl>
                                      </p:cBhvr>
                                    </p:animEffect>
                                    <p:set>
                                      <p:cBhvr>
                                        <p:cTn id="117" dur="1" fill="hold">
                                          <p:stCondLst>
                                            <p:cond delay="499"/>
                                          </p:stCondLst>
                                        </p:cTn>
                                        <p:tgtEl>
                                          <p:spTgt spid="33"/>
                                        </p:tgtEl>
                                        <p:attrNameLst>
                                          <p:attrName>style.visibility</p:attrName>
                                        </p:attrNameLst>
                                      </p:cBhvr>
                                      <p:to>
                                        <p:strVal val="hidden"/>
                                      </p:to>
                                    </p:set>
                                  </p:childTnLst>
                                </p:cTn>
                              </p:par>
                              <p:par>
                                <p:cTn id="118" presetID="10" presetClass="exit" presetSubtype="0" fill="hold" nodeType="withEffect">
                                  <p:stCondLst>
                                    <p:cond delay="0"/>
                                  </p:stCondLst>
                                  <p:childTnLst>
                                    <p:animEffect transition="out" filter="fade">
                                      <p:cBhvr>
                                        <p:cTn id="119" dur="500"/>
                                        <p:tgtEl>
                                          <p:spTgt spid="37"/>
                                        </p:tgtEl>
                                      </p:cBhvr>
                                    </p:animEffect>
                                    <p:set>
                                      <p:cBhvr>
                                        <p:cTn id="120" dur="1" fill="hold">
                                          <p:stCondLst>
                                            <p:cond delay="499"/>
                                          </p:stCondLst>
                                        </p:cTn>
                                        <p:tgtEl>
                                          <p:spTgt spid="37"/>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500"/>
                                        <p:tgtEl>
                                          <p:spTgt spid="41"/>
                                        </p:tgtEl>
                                      </p:cBhvr>
                                    </p:animEffect>
                                    <p:set>
                                      <p:cBhvr>
                                        <p:cTn id="123" dur="1" fill="hold">
                                          <p:stCondLst>
                                            <p:cond delay="499"/>
                                          </p:stCondLst>
                                        </p:cTn>
                                        <p:tgtEl>
                                          <p:spTgt spid="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EDE449EB-625C-4B3E-A108-31B7A2030949}"/>
              </a:ext>
            </a:extLst>
          </p:cNvPr>
          <p:cNvSpPr/>
          <p:nvPr/>
        </p:nvSpPr>
        <p:spPr bwMode="auto">
          <a:xfrm>
            <a:off x="9122970" y="5229231"/>
            <a:ext cx="2959412" cy="146913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SQL - Grey Back">
            <a:extLst>
              <a:ext uri="{FF2B5EF4-FFF2-40B4-BE49-F238E27FC236}">
                <a16:creationId xmlns:a16="http://schemas.microsoft.com/office/drawing/2014/main" id="{3B426E5B-7F87-4A3F-9393-FD78F2A0011D}"/>
              </a:ext>
            </a:extLst>
          </p:cNvPr>
          <p:cNvSpPr/>
          <p:nvPr/>
        </p:nvSpPr>
        <p:spPr bwMode="auto">
          <a:xfrm>
            <a:off x="344757" y="4902944"/>
            <a:ext cx="4779278" cy="1532517"/>
          </a:xfrm>
          <a:prstGeom prst="rect">
            <a:avLst/>
          </a:prstGeom>
          <a:solidFill>
            <a:schemeClr val="bg2">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2" name="SQL - VM icon">
            <a:extLst>
              <a:ext uri="{FF2B5EF4-FFF2-40B4-BE49-F238E27FC236}">
                <a16:creationId xmlns:a16="http://schemas.microsoft.com/office/drawing/2014/main" id="{DC7B776C-99ED-4EE9-97AF-43EA9839931D}"/>
              </a:ext>
            </a:extLst>
          </p:cNvPr>
          <p:cNvPicPr>
            <a:picLocks noChangeAspect="1"/>
          </p:cNvPicPr>
          <p:nvPr/>
        </p:nvPicPr>
        <p:blipFill>
          <a:blip r:embed="rId3"/>
          <a:stretch>
            <a:fillRect/>
          </a:stretch>
        </p:blipFill>
        <p:spPr>
          <a:xfrm>
            <a:off x="614470" y="5834091"/>
            <a:ext cx="480010" cy="480010"/>
          </a:xfrm>
          <a:prstGeom prst="rect">
            <a:avLst/>
          </a:prstGeom>
        </p:spPr>
      </p:pic>
      <p:sp>
        <p:nvSpPr>
          <p:cNvPr id="96" name="Rectangle 95">
            <a:extLst>
              <a:ext uri="{FF2B5EF4-FFF2-40B4-BE49-F238E27FC236}">
                <a16:creationId xmlns:a16="http://schemas.microsoft.com/office/drawing/2014/main" id="{ACE31B2E-4945-4DF9-A79A-96064B88F293}"/>
              </a:ext>
            </a:extLst>
          </p:cNvPr>
          <p:cNvSpPr/>
          <p:nvPr/>
        </p:nvSpPr>
        <p:spPr bwMode="auto">
          <a:xfrm>
            <a:off x="1314769" y="5134530"/>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 tier</a:t>
            </a:r>
          </a:p>
          <a:p>
            <a:pPr marL="339192" algn="ctr" defTabSz="913927" fontAlgn="base">
              <a:lnSpc>
                <a:spcPct val="90000"/>
              </a:lnSpc>
              <a:spcBef>
                <a:spcPct val="0"/>
              </a:spcBef>
              <a:spcAft>
                <a:spcPct val="0"/>
              </a:spcAft>
              <a:defRPr/>
            </a:pPr>
            <a:r>
              <a:rPr lang="en-US" sz="1765">
                <a:solidFill>
                  <a:srgbClr val="505050"/>
                </a:solidFill>
                <a:latin typeface="Segoe UI Light"/>
                <a:cs typeface="Segoe UI" pitchFamily="34" charset="0"/>
              </a:rPr>
              <a:t>(SQL VM)</a:t>
            </a:r>
          </a:p>
        </p:txBody>
      </p:sp>
      <p:sp>
        <p:nvSpPr>
          <p:cNvPr id="107" name="On-prem - DB Server icon">
            <a:extLst>
              <a:ext uri="{FF2B5EF4-FFF2-40B4-BE49-F238E27FC236}">
                <a16:creationId xmlns:a16="http://schemas.microsoft.com/office/drawing/2014/main" id="{EB641180-4A29-438E-8FE4-F2D05B89C6DF}"/>
              </a:ext>
            </a:extLst>
          </p:cNvPr>
          <p:cNvSpPr>
            <a:spLocks noChangeAspect="1" noEditPoints="1"/>
          </p:cNvSpPr>
          <p:nvPr/>
        </p:nvSpPr>
        <p:spPr bwMode="auto">
          <a:xfrm>
            <a:off x="465856" y="5690223"/>
            <a:ext cx="756499" cy="60543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gradFill>
              <a:latin typeface="Segoe UI Semilight"/>
            </a:endParaRPr>
          </a:p>
        </p:txBody>
      </p:sp>
      <p:sp>
        <p:nvSpPr>
          <p:cNvPr id="100" name="Server white out">
            <a:extLst>
              <a:ext uri="{FF2B5EF4-FFF2-40B4-BE49-F238E27FC236}">
                <a16:creationId xmlns:a16="http://schemas.microsoft.com/office/drawing/2014/main" id="{13E7CF94-8E41-43A7-87FB-FA99DBFE64B9}"/>
              </a:ext>
            </a:extLst>
          </p:cNvPr>
          <p:cNvSpPr/>
          <p:nvPr/>
        </p:nvSpPr>
        <p:spPr bwMode="auto">
          <a:xfrm>
            <a:off x="240923" y="1132818"/>
            <a:ext cx="5340125" cy="54150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4" name="SQL Azure">
            <a:extLst>
              <a:ext uri="{FF2B5EF4-FFF2-40B4-BE49-F238E27FC236}">
                <a16:creationId xmlns:a16="http://schemas.microsoft.com/office/drawing/2014/main" id="{E9760218-EC49-472E-9866-7B33182F3F84}"/>
              </a:ext>
            </a:extLst>
          </p:cNvPr>
          <p:cNvGrpSpPr/>
          <p:nvPr/>
        </p:nvGrpSpPr>
        <p:grpSpPr>
          <a:xfrm>
            <a:off x="1314759" y="5136477"/>
            <a:ext cx="3642618" cy="1278157"/>
            <a:chOff x="2504837" y="5524011"/>
            <a:chExt cx="3716188" cy="1303972"/>
          </a:xfrm>
        </p:grpSpPr>
        <p:sp>
          <p:nvSpPr>
            <p:cNvPr id="70" name="Rectangle 69">
              <a:extLst>
                <a:ext uri="{FF2B5EF4-FFF2-40B4-BE49-F238E27FC236}">
                  <a16:creationId xmlns:a16="http://schemas.microsoft.com/office/drawing/2014/main" id="{00B5997A-E18A-4D60-BA6C-292EB7EC95BD}"/>
                </a:ext>
              </a:extLst>
            </p:cNvPr>
            <p:cNvSpPr/>
            <p:nvPr/>
          </p:nvSpPr>
          <p:spPr bwMode="auto">
            <a:xfrm>
              <a:off x="2743469" y="5761183"/>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QL Azure)</a:t>
              </a:r>
            </a:p>
          </p:txBody>
        </p:sp>
        <p:sp>
          <p:nvSpPr>
            <p:cNvPr id="71" name="Rectangle 70">
              <a:extLst>
                <a:ext uri="{FF2B5EF4-FFF2-40B4-BE49-F238E27FC236}">
                  <a16:creationId xmlns:a16="http://schemas.microsoft.com/office/drawing/2014/main" id="{215594ED-295E-490E-B378-906C0A7068F4}"/>
                </a:ext>
              </a:extLst>
            </p:cNvPr>
            <p:cNvSpPr/>
            <p:nvPr/>
          </p:nvSpPr>
          <p:spPr bwMode="auto">
            <a:xfrm>
              <a:off x="2622600" y="5649326"/>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QL Azure)</a:t>
              </a:r>
            </a:p>
          </p:txBody>
        </p:sp>
        <p:sp>
          <p:nvSpPr>
            <p:cNvPr id="72" name="Rectangle 71">
              <a:extLst>
                <a:ext uri="{FF2B5EF4-FFF2-40B4-BE49-F238E27FC236}">
                  <a16:creationId xmlns:a16="http://schemas.microsoft.com/office/drawing/2014/main" id="{8B36A4ED-954B-493D-9C3B-82954F96E9DB}"/>
                </a:ext>
              </a:extLst>
            </p:cNvPr>
            <p:cNvSpPr/>
            <p:nvPr/>
          </p:nvSpPr>
          <p:spPr bwMode="auto">
            <a:xfrm>
              <a:off x="2504837" y="5524011"/>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SQL DB)</a:t>
              </a:r>
            </a:p>
          </p:txBody>
        </p:sp>
        <p:pic>
          <p:nvPicPr>
            <p:cNvPr id="73" name="Picture 2" descr="Image result for sql cloud azure">
              <a:extLst>
                <a:ext uri="{FF2B5EF4-FFF2-40B4-BE49-F238E27FC236}">
                  <a16:creationId xmlns:a16="http://schemas.microsoft.com/office/drawing/2014/main" id="{B568D690-2D9E-4DD2-832D-82D553D4E7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6548" y="5652425"/>
              <a:ext cx="835405" cy="835405"/>
            </a:xfrm>
            <a:prstGeom prst="rect">
              <a:avLst/>
            </a:prstGeom>
            <a:noFill/>
            <a:extLst>
              <a:ext uri="{909E8E84-426E-40DD-AFC4-6F175D3DCCD1}">
                <a14:hiddenFill xmlns:a14="http://schemas.microsoft.com/office/drawing/2010/main">
                  <a:solidFill>
                    <a:srgbClr val="FFFFFF"/>
                  </a:solidFill>
                </a14:hiddenFill>
              </a:ext>
            </a:extLst>
          </p:spPr>
        </p:pic>
      </p:grpSp>
      <p:sp>
        <p:nvSpPr>
          <p:cNvPr id="103" name="On-prem - web">
            <a:extLst>
              <a:ext uri="{FF2B5EF4-FFF2-40B4-BE49-F238E27FC236}">
                <a16:creationId xmlns:a16="http://schemas.microsoft.com/office/drawing/2014/main" id="{D4FE071A-097F-4B20-852F-70F86132CE1E}"/>
              </a:ext>
            </a:extLst>
          </p:cNvPr>
          <p:cNvSpPr/>
          <p:nvPr/>
        </p:nvSpPr>
        <p:spPr bwMode="auto">
          <a:xfrm>
            <a:off x="344757" y="1295126"/>
            <a:ext cx="4779278" cy="3172079"/>
          </a:xfrm>
          <a:prstGeom prst="rect">
            <a:avLst/>
          </a:prstGeom>
          <a:solidFill>
            <a:schemeClr val="bg2">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5" name="On-prem - VM icon">
            <a:extLst>
              <a:ext uri="{FF2B5EF4-FFF2-40B4-BE49-F238E27FC236}">
                <a16:creationId xmlns:a16="http://schemas.microsoft.com/office/drawing/2014/main" id="{4D7BD077-76F4-491B-A224-68AF6E9F0184}"/>
              </a:ext>
            </a:extLst>
          </p:cNvPr>
          <p:cNvPicPr>
            <a:picLocks noChangeAspect="1"/>
          </p:cNvPicPr>
          <p:nvPr/>
        </p:nvPicPr>
        <p:blipFill>
          <a:blip r:embed="rId3"/>
          <a:stretch>
            <a:fillRect/>
          </a:stretch>
        </p:blipFill>
        <p:spPr>
          <a:xfrm>
            <a:off x="626391" y="3894983"/>
            <a:ext cx="480010" cy="480010"/>
          </a:xfrm>
          <a:prstGeom prst="rect">
            <a:avLst/>
          </a:prstGeom>
        </p:spPr>
      </p:pic>
      <p:sp>
        <p:nvSpPr>
          <p:cNvPr id="106" name="On-prem - Web Server icon">
            <a:extLst>
              <a:ext uri="{FF2B5EF4-FFF2-40B4-BE49-F238E27FC236}">
                <a16:creationId xmlns:a16="http://schemas.microsoft.com/office/drawing/2014/main" id="{DB3A380A-E12B-46FD-B6E7-DCED7D3C0081}"/>
              </a:ext>
            </a:extLst>
          </p:cNvPr>
          <p:cNvSpPr>
            <a:spLocks noChangeAspect="1" noEditPoints="1"/>
          </p:cNvSpPr>
          <p:nvPr/>
        </p:nvSpPr>
        <p:spPr bwMode="auto">
          <a:xfrm>
            <a:off x="484555" y="3727200"/>
            <a:ext cx="756499" cy="60543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gradFill>
              <a:latin typeface="Segoe UI Semilight"/>
            </a:endParaRPr>
          </a:p>
        </p:txBody>
      </p:sp>
      <p:grpSp>
        <p:nvGrpSpPr>
          <p:cNvPr id="63" name="SF - Grey - Services">
            <a:extLst>
              <a:ext uri="{FF2B5EF4-FFF2-40B4-BE49-F238E27FC236}">
                <a16:creationId xmlns:a16="http://schemas.microsoft.com/office/drawing/2014/main" id="{B935E7C5-1784-49FD-8849-EFB89884B5D8}"/>
              </a:ext>
            </a:extLst>
          </p:cNvPr>
          <p:cNvGrpSpPr/>
          <p:nvPr/>
        </p:nvGrpSpPr>
        <p:grpSpPr>
          <a:xfrm>
            <a:off x="344757" y="2942164"/>
            <a:ext cx="4779278" cy="1532517"/>
            <a:chOff x="350837" y="3000593"/>
            <a:chExt cx="4875803" cy="1563469"/>
          </a:xfrm>
          <a:solidFill>
            <a:schemeClr val="accent1">
              <a:lumMod val="20000"/>
              <a:lumOff val="80000"/>
            </a:schemeClr>
          </a:solidFill>
        </p:grpSpPr>
        <p:sp>
          <p:nvSpPr>
            <p:cNvPr id="3" name="Rectangle 2">
              <a:extLst>
                <a:ext uri="{FF2B5EF4-FFF2-40B4-BE49-F238E27FC236}">
                  <a16:creationId xmlns:a16="http://schemas.microsoft.com/office/drawing/2014/main" id="{205129B4-BB7B-4F2A-8A8E-AAC5D5907A36}"/>
                </a:ext>
              </a:extLst>
            </p:cNvPr>
            <p:cNvSpPr/>
            <p:nvPr/>
          </p:nvSpPr>
          <p:spPr bwMode="auto">
            <a:xfrm>
              <a:off x="350837" y="3000593"/>
              <a:ext cx="4875803" cy="1563469"/>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 name="Picture 4" descr="Image result for service fabric azure">
              <a:extLst>
                <a:ext uri="{FF2B5EF4-FFF2-40B4-BE49-F238E27FC236}">
                  <a16:creationId xmlns:a16="http://schemas.microsoft.com/office/drawing/2014/main" id="{2CD3EAAE-70F4-4A09-99DD-61B664158B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6831" y="3951034"/>
              <a:ext cx="872362" cy="457990"/>
            </a:xfrm>
            <a:prstGeom prst="rect">
              <a:avLst/>
            </a:prstGeom>
            <a:grpFill/>
            <a:extLst/>
          </p:spPr>
        </p:pic>
      </p:grpSp>
      <p:cxnSp>
        <p:nvCxnSpPr>
          <p:cNvPr id="9" name="Conn - Services to DB">
            <a:extLst>
              <a:ext uri="{FF2B5EF4-FFF2-40B4-BE49-F238E27FC236}">
                <a16:creationId xmlns:a16="http://schemas.microsoft.com/office/drawing/2014/main" id="{4DA31F93-BE92-4A31-AC1D-099958EA6FF7}"/>
              </a:ext>
            </a:extLst>
          </p:cNvPr>
          <p:cNvCxnSpPr>
            <a:cxnSpLocks/>
            <a:stCxn id="5" idx="2"/>
            <a:endCxn id="72" idx="0"/>
          </p:cNvCxnSpPr>
          <p:nvPr/>
        </p:nvCxnSpPr>
        <p:spPr>
          <a:xfrm flipH="1">
            <a:off x="3019114" y="4141137"/>
            <a:ext cx="2693" cy="99533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SF - Services - Box 3">
            <a:extLst>
              <a:ext uri="{FF2B5EF4-FFF2-40B4-BE49-F238E27FC236}">
                <a16:creationId xmlns:a16="http://schemas.microsoft.com/office/drawing/2014/main" id="{13B29248-85AA-4B7E-8457-36A3B6961238}"/>
              </a:ext>
            </a:extLst>
          </p:cNvPr>
          <p:cNvSpPr/>
          <p:nvPr/>
        </p:nvSpPr>
        <p:spPr bwMode="auto">
          <a:xfrm>
            <a:off x="1465493" y="3277033"/>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21" name="SF - Services - Box 2">
            <a:extLst>
              <a:ext uri="{FF2B5EF4-FFF2-40B4-BE49-F238E27FC236}">
                <a16:creationId xmlns:a16="http://schemas.microsoft.com/office/drawing/2014/main" id="{74347BDA-DF94-46D3-8192-530E9009D891}"/>
              </a:ext>
            </a:extLst>
          </p:cNvPr>
          <p:cNvSpPr/>
          <p:nvPr/>
        </p:nvSpPr>
        <p:spPr bwMode="auto">
          <a:xfrm>
            <a:off x="1389461" y="3174525"/>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5" name="SF - Service Tier">
            <a:extLst>
              <a:ext uri="{FF2B5EF4-FFF2-40B4-BE49-F238E27FC236}">
                <a16:creationId xmlns:a16="http://schemas.microsoft.com/office/drawing/2014/main" id="{C09FFB11-6212-4016-81A1-A54C102F81A3}"/>
              </a:ext>
            </a:extLst>
          </p:cNvPr>
          <p:cNvSpPr/>
          <p:nvPr/>
        </p:nvSpPr>
        <p:spPr bwMode="auto">
          <a:xfrm>
            <a:off x="1317451" y="3095457"/>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ervice tier</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WCF)</a:t>
            </a:r>
          </a:p>
        </p:txBody>
      </p:sp>
      <p:grpSp>
        <p:nvGrpSpPr>
          <p:cNvPr id="62" name="SF - Grey - Web">
            <a:extLst>
              <a:ext uri="{FF2B5EF4-FFF2-40B4-BE49-F238E27FC236}">
                <a16:creationId xmlns:a16="http://schemas.microsoft.com/office/drawing/2014/main" id="{CBDD1A5C-5316-4133-8572-81A3D79447F6}"/>
              </a:ext>
            </a:extLst>
          </p:cNvPr>
          <p:cNvGrpSpPr/>
          <p:nvPr/>
        </p:nvGrpSpPr>
        <p:grpSpPr>
          <a:xfrm>
            <a:off x="344757" y="1295126"/>
            <a:ext cx="4779278" cy="1532517"/>
            <a:chOff x="350837" y="1320290"/>
            <a:chExt cx="4875803" cy="1563469"/>
          </a:xfrm>
          <a:solidFill>
            <a:schemeClr val="accent1">
              <a:lumMod val="20000"/>
              <a:lumOff val="80000"/>
            </a:schemeClr>
          </a:solidFill>
        </p:grpSpPr>
        <p:sp>
          <p:nvSpPr>
            <p:cNvPr id="38" name="Rectangle 37">
              <a:extLst>
                <a:ext uri="{FF2B5EF4-FFF2-40B4-BE49-F238E27FC236}">
                  <a16:creationId xmlns:a16="http://schemas.microsoft.com/office/drawing/2014/main" id="{A89CCC8B-8206-40F4-B6EE-B842496983DB}"/>
                </a:ext>
              </a:extLst>
            </p:cNvPr>
            <p:cNvSpPr/>
            <p:nvPr/>
          </p:nvSpPr>
          <p:spPr bwMode="auto">
            <a:xfrm>
              <a:off x="350837" y="1320290"/>
              <a:ext cx="4875803" cy="1563469"/>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9" name="Picture 4" descr="Image result for service fabric azure">
              <a:extLst>
                <a:ext uri="{FF2B5EF4-FFF2-40B4-BE49-F238E27FC236}">
                  <a16:creationId xmlns:a16="http://schemas.microsoft.com/office/drawing/2014/main" id="{5EF661C7-E0A7-4317-A2C4-EC2968F359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6831" y="2306606"/>
              <a:ext cx="872362" cy="457990"/>
            </a:xfrm>
            <a:prstGeom prst="rect">
              <a:avLst/>
            </a:prstGeom>
            <a:grpFill/>
            <a:extLst/>
          </p:spPr>
        </p:pic>
      </p:grpSp>
      <p:cxnSp>
        <p:nvCxnSpPr>
          <p:cNvPr id="45" name="Conn - Web to Services">
            <a:extLst>
              <a:ext uri="{FF2B5EF4-FFF2-40B4-BE49-F238E27FC236}">
                <a16:creationId xmlns:a16="http://schemas.microsoft.com/office/drawing/2014/main" id="{F1B6882F-7FA4-4379-AB3D-20DD2C536317}"/>
              </a:ext>
            </a:extLst>
          </p:cNvPr>
          <p:cNvCxnSpPr>
            <a:cxnSpLocks/>
            <a:stCxn id="4" idx="2"/>
            <a:endCxn id="5" idx="0"/>
          </p:cNvCxnSpPr>
          <p:nvPr/>
        </p:nvCxnSpPr>
        <p:spPr>
          <a:xfrm>
            <a:off x="3019125" y="2489167"/>
            <a:ext cx="2681" cy="60628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9" name="SF - Services - Container">
            <a:extLst>
              <a:ext uri="{FF2B5EF4-FFF2-40B4-BE49-F238E27FC236}">
                <a16:creationId xmlns:a16="http://schemas.microsoft.com/office/drawing/2014/main" id="{720B8C73-E396-47DD-AC3B-BD787D87696C}"/>
              </a:ext>
            </a:extLst>
          </p:cNvPr>
          <p:cNvPicPr>
            <a:picLocks noChangeAspect="1"/>
          </p:cNvPicPr>
          <p:nvPr/>
        </p:nvPicPr>
        <p:blipFill>
          <a:blip r:embed="rId6"/>
          <a:stretch>
            <a:fillRect/>
          </a:stretch>
        </p:blipFill>
        <p:spPr>
          <a:xfrm>
            <a:off x="1465494" y="3445088"/>
            <a:ext cx="432061" cy="432061"/>
          </a:xfrm>
          <a:prstGeom prst="rect">
            <a:avLst/>
          </a:prstGeom>
        </p:spPr>
      </p:pic>
      <p:sp>
        <p:nvSpPr>
          <p:cNvPr id="18" name="SF - Web - Box 3">
            <a:extLst>
              <a:ext uri="{FF2B5EF4-FFF2-40B4-BE49-F238E27FC236}">
                <a16:creationId xmlns:a16="http://schemas.microsoft.com/office/drawing/2014/main" id="{C9F22C49-DFCE-423C-98F3-9286404732A4}"/>
              </a:ext>
            </a:extLst>
          </p:cNvPr>
          <p:cNvSpPr/>
          <p:nvPr/>
        </p:nvSpPr>
        <p:spPr bwMode="auto">
          <a:xfrm>
            <a:off x="1465493" y="1635080"/>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17" name="SF - Web - Box 2">
            <a:extLst>
              <a:ext uri="{FF2B5EF4-FFF2-40B4-BE49-F238E27FC236}">
                <a16:creationId xmlns:a16="http://schemas.microsoft.com/office/drawing/2014/main" id="{3D53DB77-B600-461C-B9AF-B0E08A80C49C}"/>
              </a:ext>
            </a:extLst>
          </p:cNvPr>
          <p:cNvSpPr/>
          <p:nvPr/>
        </p:nvSpPr>
        <p:spPr bwMode="auto">
          <a:xfrm>
            <a:off x="1389461" y="1532574"/>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4" name="SF - Web">
            <a:extLst>
              <a:ext uri="{FF2B5EF4-FFF2-40B4-BE49-F238E27FC236}">
                <a16:creationId xmlns:a16="http://schemas.microsoft.com/office/drawing/2014/main" id="{CB2A68C2-6A79-4134-8A46-1C179007482A}"/>
              </a:ext>
            </a:extLst>
          </p:cNvPr>
          <p:cNvSpPr/>
          <p:nvPr/>
        </p:nvSpPr>
        <p:spPr bwMode="auto">
          <a:xfrm>
            <a:off x="1314769" y="1443487"/>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Web front-end</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Web Forms)</a:t>
            </a:r>
          </a:p>
        </p:txBody>
      </p:sp>
      <p:pic>
        <p:nvPicPr>
          <p:cNvPr id="43" name="SF - Web - Container">
            <a:extLst>
              <a:ext uri="{FF2B5EF4-FFF2-40B4-BE49-F238E27FC236}">
                <a16:creationId xmlns:a16="http://schemas.microsoft.com/office/drawing/2014/main" id="{886A7370-91D7-499F-97DF-0E56E05EB5F8}"/>
              </a:ext>
            </a:extLst>
          </p:cNvPr>
          <p:cNvPicPr>
            <a:picLocks noChangeAspect="1"/>
          </p:cNvPicPr>
          <p:nvPr/>
        </p:nvPicPr>
        <p:blipFill>
          <a:blip r:embed="rId6"/>
          <a:stretch>
            <a:fillRect/>
          </a:stretch>
        </p:blipFill>
        <p:spPr>
          <a:xfrm>
            <a:off x="1438368" y="1725859"/>
            <a:ext cx="432061" cy="432061"/>
          </a:xfrm>
          <a:prstGeom prst="rect">
            <a:avLst/>
          </a:prstGeom>
        </p:spPr>
      </p:pic>
      <p:cxnSp>
        <p:nvCxnSpPr>
          <p:cNvPr id="42" name="Conn - Twitter to Listener">
            <a:extLst>
              <a:ext uri="{FF2B5EF4-FFF2-40B4-BE49-F238E27FC236}">
                <a16:creationId xmlns:a16="http://schemas.microsoft.com/office/drawing/2014/main" id="{29095BBC-669B-43B3-9D2F-63F8B33D01E8}"/>
              </a:ext>
            </a:extLst>
          </p:cNvPr>
          <p:cNvCxnSpPr>
            <a:cxnSpLocks/>
            <a:stCxn id="41" idx="2"/>
            <a:endCxn id="75" idx="0"/>
          </p:cNvCxnSpPr>
          <p:nvPr/>
        </p:nvCxnSpPr>
        <p:spPr>
          <a:xfrm>
            <a:off x="7320600" y="1150859"/>
            <a:ext cx="425" cy="864832"/>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witter">
            <a:extLst>
              <a:ext uri="{FF2B5EF4-FFF2-40B4-BE49-F238E27FC236}">
                <a16:creationId xmlns:a16="http://schemas.microsoft.com/office/drawing/2014/main" id="{755F5BB6-EEB2-4BAE-B0B0-D87424553041}"/>
              </a:ext>
            </a:extLst>
          </p:cNvPr>
          <p:cNvSpPr/>
          <p:nvPr/>
        </p:nvSpPr>
        <p:spPr bwMode="auto">
          <a:xfrm>
            <a:off x="5964310" y="105178"/>
            <a:ext cx="2712580"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Twitter</a:t>
            </a:r>
          </a:p>
        </p:txBody>
      </p:sp>
      <p:cxnSp>
        <p:nvCxnSpPr>
          <p:cNvPr id="33" name="Straight Arrow Connector 32">
            <a:extLst>
              <a:ext uri="{FF2B5EF4-FFF2-40B4-BE49-F238E27FC236}">
                <a16:creationId xmlns:a16="http://schemas.microsoft.com/office/drawing/2014/main" id="{1E87B76A-AF40-4B80-8A2E-1CC8BE50A8DA}"/>
              </a:ext>
            </a:extLst>
          </p:cNvPr>
          <p:cNvCxnSpPr>
            <a:cxnSpLocks/>
            <a:stCxn id="23" idx="1"/>
            <a:endCxn id="22" idx="3"/>
          </p:cNvCxnSpPr>
          <p:nvPr/>
        </p:nvCxnSpPr>
        <p:spPr>
          <a:xfrm flipH="1">
            <a:off x="8690287" y="4449046"/>
            <a:ext cx="720276" cy="0"/>
          </a:xfrm>
          <a:prstGeom prst="straightConnector1">
            <a:avLst/>
          </a:prstGeom>
          <a:ln w="571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Azure Functions">
            <a:extLst>
              <a:ext uri="{FF2B5EF4-FFF2-40B4-BE49-F238E27FC236}">
                <a16:creationId xmlns:a16="http://schemas.microsoft.com/office/drawing/2014/main" id="{3F12B9B0-95D8-4B1B-8539-52F83334E148}"/>
              </a:ext>
            </a:extLst>
          </p:cNvPr>
          <p:cNvGrpSpPr/>
          <p:nvPr/>
        </p:nvGrpSpPr>
        <p:grpSpPr>
          <a:xfrm>
            <a:off x="9410562" y="3926205"/>
            <a:ext cx="2467138" cy="1045681"/>
            <a:chOff x="8982211" y="3156982"/>
            <a:chExt cx="2516966" cy="1066800"/>
          </a:xfrm>
        </p:grpSpPr>
        <p:sp>
          <p:nvSpPr>
            <p:cNvPr id="23" name="Rectangle 22">
              <a:extLst>
                <a:ext uri="{FF2B5EF4-FFF2-40B4-BE49-F238E27FC236}">
                  <a16:creationId xmlns:a16="http://schemas.microsoft.com/office/drawing/2014/main" id="{66200E0A-76E1-4909-A8C2-63A5B005020E}"/>
                </a:ext>
              </a:extLst>
            </p:cNvPr>
            <p:cNvSpPr/>
            <p:nvPr/>
          </p:nvSpPr>
          <p:spPr bwMode="auto">
            <a:xfrm>
              <a:off x="8982211" y="3156982"/>
              <a:ext cx="251696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505677"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entiment </a:t>
              </a:r>
              <a:br>
                <a:rPr lang="en-US" sz="2353">
                  <a:solidFill>
                    <a:srgbClr val="505050"/>
                  </a:solidFill>
                  <a:latin typeface="Segoe UI Semilight"/>
                  <a:ea typeface="Segoe UI" pitchFamily="34" charset="0"/>
                  <a:cs typeface="Segoe UI" pitchFamily="34" charset="0"/>
                </a:rPr>
              </a:br>
              <a:r>
                <a:rPr lang="en-US" sz="2353">
                  <a:solidFill>
                    <a:srgbClr val="505050"/>
                  </a:solidFill>
                  <a:latin typeface="Segoe UI Semilight"/>
                  <a:ea typeface="Segoe UI" pitchFamily="34" charset="0"/>
                  <a:cs typeface="Segoe UI" pitchFamily="34" charset="0"/>
                </a:rPr>
                <a:t>Analysis</a:t>
              </a:r>
            </a:p>
          </p:txBody>
        </p:sp>
        <p:pic>
          <p:nvPicPr>
            <p:cNvPr id="27" name="Picture 8" descr="Image result for azure functions logo transparent">
              <a:extLst>
                <a:ext uri="{FF2B5EF4-FFF2-40B4-BE49-F238E27FC236}">
                  <a16:creationId xmlns:a16="http://schemas.microsoft.com/office/drawing/2014/main" id="{DFB0AC60-F36C-41BA-A134-A7036CF44E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57780" y="3425051"/>
              <a:ext cx="536194" cy="53619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82" name="Conn - Listener to web">
            <a:extLst>
              <a:ext uri="{FF2B5EF4-FFF2-40B4-BE49-F238E27FC236}">
                <a16:creationId xmlns:a16="http://schemas.microsoft.com/office/drawing/2014/main" id="{F4B9236D-2E9B-452E-8502-3FB1BD38CC7F}"/>
              </a:ext>
            </a:extLst>
          </p:cNvPr>
          <p:cNvCxnSpPr>
            <a:cxnSpLocks/>
            <a:stCxn id="22" idx="1"/>
            <a:endCxn id="4" idx="3"/>
          </p:cNvCxnSpPr>
          <p:nvPr/>
        </p:nvCxnSpPr>
        <p:spPr>
          <a:xfrm rot="10800000">
            <a:off x="4723480" y="1966328"/>
            <a:ext cx="1254226" cy="2482718"/>
          </a:xfrm>
          <a:prstGeom prst="bentConnector3">
            <a:avLst>
              <a:gd name="adj1" fmla="val 50000"/>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4" name="Social listener">
            <a:extLst>
              <a:ext uri="{FF2B5EF4-FFF2-40B4-BE49-F238E27FC236}">
                <a16:creationId xmlns:a16="http://schemas.microsoft.com/office/drawing/2014/main" id="{5B31DD75-55F7-4619-A704-6340CA1440EA}"/>
              </a:ext>
            </a:extLst>
          </p:cNvPr>
          <p:cNvGrpSpPr/>
          <p:nvPr/>
        </p:nvGrpSpPr>
        <p:grpSpPr>
          <a:xfrm>
            <a:off x="5977707" y="3926205"/>
            <a:ext cx="2712580" cy="1045681"/>
            <a:chOff x="5660671" y="3156982"/>
            <a:chExt cx="2767366" cy="1066800"/>
          </a:xfrm>
        </p:grpSpPr>
        <p:sp>
          <p:nvSpPr>
            <p:cNvPr id="22" name="Rectangle 21">
              <a:extLst>
                <a:ext uri="{FF2B5EF4-FFF2-40B4-BE49-F238E27FC236}">
                  <a16:creationId xmlns:a16="http://schemas.microsoft.com/office/drawing/2014/main" id="{628AA6F1-FFD3-49A1-972C-AA639DAFEE13}"/>
                </a:ext>
              </a:extLst>
            </p:cNvPr>
            <p:cNvSpPr/>
            <p:nvPr/>
          </p:nvSpPr>
          <p:spPr bwMode="auto">
            <a:xfrm>
              <a:off x="5660671" y="3156982"/>
              <a:ext cx="276736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Listener</a:t>
              </a:r>
              <a:br>
                <a:rPr lang="en-US" sz="2353">
                  <a:solidFill>
                    <a:srgbClr val="505050"/>
                  </a:solidFill>
                  <a:latin typeface="Segoe UI Semilight"/>
                  <a:ea typeface="Segoe UI" pitchFamily="34" charset="0"/>
                  <a:cs typeface="Segoe UI" pitchFamily="34" charset="0"/>
                </a:rPr>
              </a:br>
              <a:r>
                <a:rPr lang="en-US" sz="1765">
                  <a:solidFill>
                    <a:srgbClr val="505050"/>
                  </a:solidFill>
                  <a:latin typeface="Segoe UI Semilight"/>
                  <a:ea typeface="Segoe UI" pitchFamily="34" charset="0"/>
                  <a:cs typeface="Segoe UI" pitchFamily="34" charset="0"/>
                </a:rPr>
                <a:t>(Stateless service)</a:t>
              </a:r>
            </a:p>
          </p:txBody>
        </p:sp>
        <p:pic>
          <p:nvPicPr>
            <p:cNvPr id="28" name="Picture 4" descr="Image result for service fabric azure">
              <a:extLst>
                <a:ext uri="{FF2B5EF4-FFF2-40B4-BE49-F238E27FC236}">
                  <a16:creationId xmlns:a16="http://schemas.microsoft.com/office/drawing/2014/main" id="{4C9E7F07-8ABE-4244-B786-57B73EBA0B8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5965"/>
            <a:stretch/>
          </p:blipFill>
          <p:spPr bwMode="auto">
            <a:xfrm>
              <a:off x="5735931" y="3391833"/>
              <a:ext cx="840473" cy="525074"/>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Checklist">
            <a:extLst>
              <a:ext uri="{FF2B5EF4-FFF2-40B4-BE49-F238E27FC236}">
                <a16:creationId xmlns:a16="http://schemas.microsoft.com/office/drawing/2014/main" id="{C63880A0-5B0A-46CC-873B-E8FF72C6CC9F}"/>
              </a:ext>
            </a:extLst>
          </p:cNvPr>
          <p:cNvSpPr txBox="1"/>
          <p:nvPr/>
        </p:nvSpPr>
        <p:spPr>
          <a:xfrm>
            <a:off x="9066795" y="4876813"/>
            <a:ext cx="3062689" cy="1819368"/>
          </a:xfrm>
          <a:prstGeom prst="rect">
            <a:avLst/>
          </a:prstGeom>
          <a:noFill/>
        </p:spPr>
        <p:txBody>
          <a:bodyPr wrap="square" lIns="179259" tIns="143407" rIns="179259" bIns="143407" rtlCol="0">
            <a:spAutoFit/>
          </a:bodyPr>
          <a:lstStyle/>
          <a:p>
            <a:pPr marL="448107" defTabSz="914192">
              <a:lnSpc>
                <a:spcPct val="90000"/>
              </a:lnSpc>
              <a:spcAft>
                <a:spcPts val="588"/>
              </a:spcAft>
              <a:defRPr/>
            </a:pPr>
            <a:endParaRPr lang="en-US" sz="2353">
              <a:gradFill>
                <a:gsLst>
                  <a:gs pos="2917">
                    <a:srgbClr val="505050"/>
                  </a:gs>
                  <a:gs pos="30000">
                    <a:srgbClr val="505050"/>
                  </a:gs>
                </a:gsLst>
                <a:lin ang="5400000" scaled="0"/>
              </a:gradFill>
              <a:latin typeface="Segoe UI Semilight"/>
            </a:endParaRP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Lift and Shift</a:t>
            </a: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Cloud Optimized</a:t>
            </a: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App Modernized</a:t>
            </a:r>
          </a:p>
        </p:txBody>
      </p:sp>
      <p:pic>
        <p:nvPicPr>
          <p:cNvPr id="78" name="Check 3">
            <a:extLst>
              <a:ext uri="{FF2B5EF4-FFF2-40B4-BE49-F238E27FC236}">
                <a16:creationId xmlns:a16="http://schemas.microsoft.com/office/drawing/2014/main" id="{32CD867C-2639-4576-8806-19EBF08AE29B}"/>
              </a:ext>
            </a:extLst>
          </p:cNvPr>
          <p:cNvPicPr>
            <a:picLocks noChangeAspect="1"/>
          </p:cNvPicPr>
          <p:nvPr/>
        </p:nvPicPr>
        <p:blipFill>
          <a:blip r:embed="rId8"/>
          <a:stretch>
            <a:fillRect/>
          </a:stretch>
        </p:blipFill>
        <p:spPr>
          <a:xfrm>
            <a:off x="9321963" y="6225779"/>
            <a:ext cx="262937" cy="322695"/>
          </a:xfrm>
          <a:prstGeom prst="rect">
            <a:avLst/>
          </a:prstGeom>
        </p:spPr>
      </p:pic>
      <p:pic>
        <p:nvPicPr>
          <p:cNvPr id="77" name="Check 2">
            <a:extLst>
              <a:ext uri="{FF2B5EF4-FFF2-40B4-BE49-F238E27FC236}">
                <a16:creationId xmlns:a16="http://schemas.microsoft.com/office/drawing/2014/main" id="{A7412F8D-A13B-46D4-86F2-BCC9B113A8A0}"/>
              </a:ext>
            </a:extLst>
          </p:cNvPr>
          <p:cNvPicPr>
            <a:picLocks noChangeAspect="1"/>
          </p:cNvPicPr>
          <p:nvPr/>
        </p:nvPicPr>
        <p:blipFill>
          <a:blip r:embed="rId8"/>
          <a:stretch>
            <a:fillRect/>
          </a:stretch>
        </p:blipFill>
        <p:spPr>
          <a:xfrm>
            <a:off x="9321964" y="5814289"/>
            <a:ext cx="262937" cy="322695"/>
          </a:xfrm>
          <a:prstGeom prst="rect">
            <a:avLst/>
          </a:prstGeom>
        </p:spPr>
      </p:pic>
      <p:pic>
        <p:nvPicPr>
          <p:cNvPr id="76" name="Check 1">
            <a:extLst>
              <a:ext uri="{FF2B5EF4-FFF2-40B4-BE49-F238E27FC236}">
                <a16:creationId xmlns:a16="http://schemas.microsoft.com/office/drawing/2014/main" id="{275F1E3F-73A2-42AE-AC78-859A4F203102}"/>
              </a:ext>
            </a:extLst>
          </p:cNvPr>
          <p:cNvPicPr>
            <a:picLocks noChangeAspect="1"/>
          </p:cNvPicPr>
          <p:nvPr/>
        </p:nvPicPr>
        <p:blipFill>
          <a:blip r:embed="rId8"/>
          <a:stretch>
            <a:fillRect/>
          </a:stretch>
        </p:blipFill>
        <p:spPr>
          <a:xfrm>
            <a:off x="9321964" y="5439451"/>
            <a:ext cx="262937" cy="322695"/>
          </a:xfrm>
          <a:prstGeom prst="rect">
            <a:avLst/>
          </a:prstGeom>
        </p:spPr>
      </p:pic>
      <p:pic>
        <p:nvPicPr>
          <p:cNvPr id="1026" name="Picture 2" descr="Image result for twitter icon official 2017">
            <a:extLst>
              <a:ext uri="{FF2B5EF4-FFF2-40B4-BE49-F238E27FC236}">
                <a16:creationId xmlns:a16="http://schemas.microsoft.com/office/drawing/2014/main" id="{436AAFAE-9B64-405C-AAD2-3B73F1F9E7B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76241" y="425027"/>
            <a:ext cx="487098" cy="3960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close up of a sign&#10;&#10;Description generated with very high confidence">
            <a:extLst>
              <a:ext uri="{FF2B5EF4-FFF2-40B4-BE49-F238E27FC236}">
                <a16:creationId xmlns:a16="http://schemas.microsoft.com/office/drawing/2014/main" id="{4383DFFC-3D88-469F-A7DA-5DC8B946C1F5}"/>
              </a:ext>
            </a:extLst>
          </p:cNvPr>
          <p:cNvPicPr>
            <a:picLocks noChangeAspect="1"/>
          </p:cNvPicPr>
          <p:nvPr/>
        </p:nvPicPr>
        <p:blipFill>
          <a:blip r:embed="rId10"/>
          <a:stretch>
            <a:fillRect/>
          </a:stretch>
        </p:blipFill>
        <p:spPr>
          <a:xfrm>
            <a:off x="20685" y="-203602"/>
            <a:ext cx="1667579" cy="1667579"/>
          </a:xfrm>
          <a:prstGeom prst="rect">
            <a:avLst/>
          </a:prstGeom>
        </p:spPr>
      </p:pic>
      <p:grpSp>
        <p:nvGrpSpPr>
          <p:cNvPr id="67" name="Cosmos DB">
            <a:extLst>
              <a:ext uri="{FF2B5EF4-FFF2-40B4-BE49-F238E27FC236}">
                <a16:creationId xmlns:a16="http://schemas.microsoft.com/office/drawing/2014/main" id="{5DD4450E-2D4A-44FC-AE69-6F556496D848}"/>
              </a:ext>
            </a:extLst>
          </p:cNvPr>
          <p:cNvGrpSpPr/>
          <p:nvPr/>
        </p:nvGrpSpPr>
        <p:grpSpPr>
          <a:xfrm>
            <a:off x="9200099" y="2063501"/>
            <a:ext cx="2789956" cy="1045681"/>
            <a:chOff x="5576263" y="5135544"/>
            <a:chExt cx="2846303" cy="1066800"/>
          </a:xfrm>
        </p:grpSpPr>
        <p:sp>
          <p:nvSpPr>
            <p:cNvPr id="68" name="Rectangle 67">
              <a:extLst>
                <a:ext uri="{FF2B5EF4-FFF2-40B4-BE49-F238E27FC236}">
                  <a16:creationId xmlns:a16="http://schemas.microsoft.com/office/drawing/2014/main" id="{E70369AA-2C85-45EC-A9B1-983D28A30F64}"/>
                </a:ext>
              </a:extLst>
            </p:cNvPr>
            <p:cNvSpPr/>
            <p:nvPr/>
          </p:nvSpPr>
          <p:spPr bwMode="auto">
            <a:xfrm>
              <a:off x="5655199" y="5135544"/>
              <a:ext cx="2767367"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Tweets DB</a:t>
              </a:r>
            </a:p>
            <a:p>
              <a:pPr marL="339192" algn="ctr" defTabSz="913927" fontAlgn="base">
                <a:lnSpc>
                  <a:spcPct val="90000"/>
                </a:lnSpc>
                <a:spcBef>
                  <a:spcPct val="0"/>
                </a:spcBef>
                <a:spcAft>
                  <a:spcPct val="0"/>
                </a:spcAft>
                <a:defRPr/>
              </a:pPr>
              <a:r>
                <a:rPr lang="en-US" sz="1765">
                  <a:solidFill>
                    <a:srgbClr val="505050"/>
                  </a:solidFill>
                  <a:latin typeface="Segoe UI Semilight"/>
                  <a:ea typeface="Segoe UI" pitchFamily="34" charset="0"/>
                  <a:cs typeface="Segoe UI" pitchFamily="34" charset="0"/>
                </a:rPr>
                <a:t>(Cosmos DB)</a:t>
              </a:r>
            </a:p>
          </p:txBody>
        </p:sp>
        <p:pic>
          <p:nvPicPr>
            <p:cNvPr id="69" name="Picture 10" descr="Image result for cosmos db logo transparent">
              <a:extLst>
                <a:ext uri="{FF2B5EF4-FFF2-40B4-BE49-F238E27FC236}">
                  <a16:creationId xmlns:a16="http://schemas.microsoft.com/office/drawing/2014/main" id="{56D20370-F226-4881-8E66-B91329AEDE8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76263" y="5361350"/>
              <a:ext cx="1030309" cy="540912"/>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witter">
            <a:extLst>
              <a:ext uri="{FF2B5EF4-FFF2-40B4-BE49-F238E27FC236}">
                <a16:creationId xmlns:a16="http://schemas.microsoft.com/office/drawing/2014/main" id="{C45D1470-F77B-46CC-97A5-527E97257162}"/>
              </a:ext>
            </a:extLst>
          </p:cNvPr>
          <p:cNvSpPr/>
          <p:nvPr/>
        </p:nvSpPr>
        <p:spPr bwMode="auto">
          <a:xfrm>
            <a:off x="5964736" y="2015691"/>
            <a:ext cx="2712580"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1961">
              <a:solidFill>
                <a:srgbClr val="505050"/>
              </a:solidFill>
              <a:latin typeface="Segoe UI Semilight"/>
              <a:ea typeface="Segoe UI" pitchFamily="34" charset="0"/>
              <a:cs typeface="Segoe UI" pitchFamily="34" charset="0"/>
            </a:endParaRPr>
          </a:p>
        </p:txBody>
      </p:sp>
      <p:pic>
        <p:nvPicPr>
          <p:cNvPr id="79" name="Picture 2" descr="Image result for Logic Apps Logo">
            <a:extLst>
              <a:ext uri="{FF2B5EF4-FFF2-40B4-BE49-F238E27FC236}">
                <a16:creationId xmlns:a16="http://schemas.microsoft.com/office/drawing/2014/main" id="{42C5CC25-DFFC-4130-915D-B31F8F1005A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98432" y="2298402"/>
            <a:ext cx="1129923" cy="593209"/>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031282C2-7D20-46CA-968D-76EF44878CEC}"/>
              </a:ext>
            </a:extLst>
          </p:cNvPr>
          <p:cNvSpPr/>
          <p:nvPr/>
        </p:nvSpPr>
        <p:spPr>
          <a:xfrm>
            <a:off x="6786241" y="2215524"/>
            <a:ext cx="1945810" cy="633625"/>
          </a:xfrm>
          <a:prstGeom prst="rect">
            <a:avLst/>
          </a:prstGeom>
        </p:spPr>
        <p:txBody>
          <a:bodyPr wrap="square">
            <a:spAutoFit/>
          </a:bodyPr>
          <a:lstStyle/>
          <a:p>
            <a:pPr defTabSz="914367">
              <a:defRPr/>
            </a:pPr>
            <a:r>
              <a:rPr lang="en-US" sz="1765">
                <a:solidFill>
                  <a:srgbClr val="505050"/>
                </a:solidFill>
                <a:latin typeface="Segoe UI Semilight"/>
                <a:ea typeface="Segoe UI" pitchFamily="34" charset="0"/>
                <a:cs typeface="Segoe UI" pitchFamily="34" charset="0"/>
              </a:rPr>
              <a:t>Twitter to Cosmos</a:t>
            </a:r>
          </a:p>
          <a:p>
            <a:pPr defTabSz="914367">
              <a:defRPr/>
            </a:pPr>
            <a:r>
              <a:rPr lang="en-US" sz="1765">
                <a:solidFill>
                  <a:srgbClr val="505050"/>
                </a:solidFill>
                <a:latin typeface="Segoe UI Semilight"/>
                <a:ea typeface="Segoe UI" pitchFamily="34" charset="0"/>
                <a:cs typeface="Segoe UI" pitchFamily="34" charset="0"/>
              </a:rPr>
              <a:t>(</a:t>
            </a:r>
            <a:r>
              <a:rPr lang="en-US" sz="1765" err="1">
                <a:solidFill>
                  <a:srgbClr val="505050"/>
                </a:solidFill>
                <a:latin typeface="Segoe UI Semilight"/>
                <a:ea typeface="Segoe UI" pitchFamily="34" charset="0"/>
                <a:cs typeface="Segoe UI" pitchFamily="34" charset="0"/>
              </a:rPr>
              <a:t>LogicApps</a:t>
            </a:r>
            <a:r>
              <a:rPr lang="en-US" sz="1765">
                <a:solidFill>
                  <a:srgbClr val="505050"/>
                </a:solidFill>
                <a:latin typeface="Segoe UI Semilight"/>
                <a:ea typeface="Segoe UI" pitchFamily="34" charset="0"/>
                <a:cs typeface="Segoe UI" pitchFamily="34" charset="0"/>
              </a:rPr>
              <a:t>)</a:t>
            </a:r>
          </a:p>
        </p:txBody>
      </p:sp>
      <p:cxnSp>
        <p:nvCxnSpPr>
          <p:cNvPr id="81" name="Conn - Twitter to Listener">
            <a:extLst>
              <a:ext uri="{FF2B5EF4-FFF2-40B4-BE49-F238E27FC236}">
                <a16:creationId xmlns:a16="http://schemas.microsoft.com/office/drawing/2014/main" id="{16E588C8-03F0-4DD2-ABC2-77A0B65AECC6}"/>
              </a:ext>
            </a:extLst>
          </p:cNvPr>
          <p:cNvCxnSpPr>
            <a:cxnSpLocks/>
            <a:stCxn id="75" idx="3"/>
            <a:endCxn id="69" idx="1"/>
          </p:cNvCxnSpPr>
          <p:nvPr/>
        </p:nvCxnSpPr>
        <p:spPr>
          <a:xfrm>
            <a:off x="8677316" y="2538532"/>
            <a:ext cx="522784" cy="1140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Conn - Twitter to Listener">
            <a:extLst>
              <a:ext uri="{FF2B5EF4-FFF2-40B4-BE49-F238E27FC236}">
                <a16:creationId xmlns:a16="http://schemas.microsoft.com/office/drawing/2014/main" id="{87CD9892-FD21-4C67-99B5-72CAA0446CE6}"/>
              </a:ext>
            </a:extLst>
          </p:cNvPr>
          <p:cNvCxnSpPr>
            <a:cxnSpLocks/>
            <a:stCxn id="68" idx="2"/>
            <a:endCxn id="23" idx="0"/>
          </p:cNvCxnSpPr>
          <p:nvPr/>
        </p:nvCxnSpPr>
        <p:spPr>
          <a:xfrm>
            <a:off x="10633765" y="3109182"/>
            <a:ext cx="10367" cy="817024"/>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3A9B8A3-3B2D-4D23-A4E0-68C7F9032D5B}"/>
              </a:ext>
            </a:extLst>
          </p:cNvPr>
          <p:cNvSpPr/>
          <p:nvPr/>
        </p:nvSpPr>
        <p:spPr bwMode="auto">
          <a:xfrm>
            <a:off x="-306372" y="-101559"/>
            <a:ext cx="12568157" cy="70611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A9FF226F-9B1C-477F-A95C-600040450B78}"/>
              </a:ext>
            </a:extLst>
          </p:cNvPr>
          <p:cNvSpPr/>
          <p:nvPr/>
        </p:nvSpPr>
        <p:spPr bwMode="auto">
          <a:xfrm>
            <a:off x="1668710" y="2703156"/>
            <a:ext cx="7378532"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a:gradFill>
                  <a:gsLst>
                    <a:gs pos="0">
                      <a:srgbClr val="FFFFFF"/>
                    </a:gs>
                    <a:gs pos="100000">
                      <a:srgbClr val="FFFFFF"/>
                    </a:gs>
                  </a:gsLst>
                  <a:lin ang="5400000" scaled="0"/>
                </a:gradFill>
                <a:latin typeface="Segoe UI Semilight"/>
                <a:ea typeface="Segoe UI" pitchFamily="34" charset="0"/>
                <a:cs typeface="Segoe UI" pitchFamily="34" charset="0"/>
              </a:rPr>
              <a:t>Demo</a:t>
            </a:r>
          </a:p>
        </p:txBody>
      </p:sp>
    </p:spTree>
    <p:extLst>
      <p:ext uri="{BB962C8B-B14F-4D97-AF65-F5344CB8AC3E}">
        <p14:creationId xmlns:p14="http://schemas.microsoft.com/office/powerpoint/2010/main" val="39523448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
                                        <p:tgtEl>
                                          <p:spTgt spid="106"/>
                                        </p:tgtEl>
                                      </p:cBhvr>
                                    </p:animEffect>
                                    <p:set>
                                      <p:cBhvr>
                                        <p:cTn id="7" dur="1" fill="hold">
                                          <p:stCondLst>
                                            <p:cond delay="9"/>
                                          </p:stCondLst>
                                        </p:cTn>
                                        <p:tgtEl>
                                          <p:spTgt spid="10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10"/>
                                        <p:tgtEl>
                                          <p:spTgt spid="105"/>
                                        </p:tgtEl>
                                      </p:cBhvr>
                                    </p:animEffect>
                                  </p:childTnLst>
                                </p:cTn>
                              </p:par>
                              <p:par>
                                <p:cTn id="11" presetID="10" presetClass="exit" presetSubtype="0" fill="hold" grpId="0" nodeType="withEffect">
                                  <p:stCondLst>
                                    <p:cond delay="0"/>
                                  </p:stCondLst>
                                  <p:childTnLst>
                                    <p:animEffect transition="out" filter="fade">
                                      <p:cBhvr>
                                        <p:cTn id="12" dur="10"/>
                                        <p:tgtEl>
                                          <p:spTgt spid="107"/>
                                        </p:tgtEl>
                                      </p:cBhvr>
                                    </p:animEffect>
                                    <p:set>
                                      <p:cBhvr>
                                        <p:cTn id="13" dur="1" fill="hold">
                                          <p:stCondLst>
                                            <p:cond delay="9"/>
                                          </p:stCondLst>
                                        </p:cTn>
                                        <p:tgtEl>
                                          <p:spTgt spid="107"/>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92"/>
                                        </p:tgtEl>
                                        <p:attrNameLst>
                                          <p:attrName>style.visibility</p:attrName>
                                        </p:attrNameLst>
                                      </p:cBhvr>
                                      <p:to>
                                        <p:strVal val="visible"/>
                                      </p:to>
                                    </p:set>
                                    <p:animEffect transition="in" filter="fade">
                                      <p:cBhvr>
                                        <p:cTn id="16" dur="10"/>
                                        <p:tgtEl>
                                          <p:spTgt spid="92"/>
                                        </p:tgtEl>
                                      </p:cBhvr>
                                    </p:animEffect>
                                  </p:childTnLst>
                                </p:cTn>
                              </p:par>
                              <p:par>
                                <p:cTn id="17" presetID="10" presetClass="entr" presetSubtype="0" fill="hold" nodeType="withEffect">
                                  <p:stCondLst>
                                    <p:cond delay="0"/>
                                  </p:stCondLst>
                                  <p:childTnLst>
                                    <p:set>
                                      <p:cBhvr>
                                        <p:cTn id="18" dur="1" fill="hold">
                                          <p:stCondLst>
                                            <p:cond delay="0"/>
                                          </p:stCondLst>
                                        </p:cTn>
                                        <p:tgtEl>
                                          <p:spTgt spid="50">
                                            <p:txEl>
                                              <p:pRg st="1" end="1"/>
                                            </p:txEl>
                                          </p:spTgt>
                                        </p:tgtEl>
                                        <p:attrNameLst>
                                          <p:attrName>style.visibility</p:attrName>
                                        </p:attrNameLst>
                                      </p:cBhvr>
                                      <p:to>
                                        <p:strVal val="visible"/>
                                      </p:to>
                                    </p:set>
                                    <p:animEffect transition="in" filter="fade">
                                      <p:cBhvr>
                                        <p:cTn id="19" dur="10"/>
                                        <p:tgtEl>
                                          <p:spTgt spid="50">
                                            <p:txEl>
                                              <p:pRg st="1" end="1"/>
                                            </p:txEl>
                                          </p:spTgt>
                                        </p:tgtEl>
                                      </p:cBhvr>
                                    </p:animEffect>
                                  </p:childTnLst>
                                </p:cTn>
                              </p:par>
                              <p:par>
                                <p:cTn id="20" presetID="1" presetClass="emph" presetSubtype="2" fill="hold" nodeType="withEffect">
                                  <p:stCondLst>
                                    <p:cond delay="0"/>
                                  </p:stCondLst>
                                  <p:childTnLst>
                                    <p:animClr clrSpc="rgb" dir="cw">
                                      <p:cBhvr>
                                        <p:cTn id="21" dur="10" fill="hold"/>
                                        <p:tgtEl>
                                          <p:spTgt spid="91"/>
                                        </p:tgtEl>
                                        <p:attrNameLst>
                                          <p:attrName>fillcolor</p:attrName>
                                        </p:attrNameLst>
                                      </p:cBhvr>
                                      <p:to>
                                        <a:srgbClr val="C4E4FF"/>
                                      </p:to>
                                    </p:animClr>
                                    <p:set>
                                      <p:cBhvr>
                                        <p:cTn id="22" dur="10" fill="hold"/>
                                        <p:tgtEl>
                                          <p:spTgt spid="91"/>
                                        </p:tgtEl>
                                        <p:attrNameLst>
                                          <p:attrName>fill.type</p:attrName>
                                        </p:attrNameLst>
                                      </p:cBhvr>
                                      <p:to>
                                        <p:strVal val="solid"/>
                                      </p:to>
                                    </p:set>
                                    <p:set>
                                      <p:cBhvr>
                                        <p:cTn id="23" dur="10" fill="hold"/>
                                        <p:tgtEl>
                                          <p:spTgt spid="91"/>
                                        </p:tgtEl>
                                        <p:attrNameLst>
                                          <p:attrName>fill.on</p:attrName>
                                        </p:attrNameLst>
                                      </p:cBhvr>
                                      <p:to>
                                        <p:strVal val="true"/>
                                      </p:to>
                                    </p:set>
                                  </p:childTnLst>
                                </p:cTn>
                              </p:par>
                              <p:par>
                                <p:cTn id="24" presetID="1" presetClass="emph" presetSubtype="2" fill="hold" nodeType="withEffect">
                                  <p:stCondLst>
                                    <p:cond delay="0"/>
                                  </p:stCondLst>
                                  <p:childTnLst>
                                    <p:animClr clrSpc="rgb" dir="cw">
                                      <p:cBhvr>
                                        <p:cTn id="25" dur="10" fill="hold"/>
                                        <p:tgtEl>
                                          <p:spTgt spid="103"/>
                                        </p:tgtEl>
                                        <p:attrNameLst>
                                          <p:attrName>fillcolor</p:attrName>
                                        </p:attrNameLst>
                                      </p:cBhvr>
                                      <p:to>
                                        <a:srgbClr val="C4E4FF"/>
                                      </p:to>
                                    </p:animClr>
                                    <p:set>
                                      <p:cBhvr>
                                        <p:cTn id="26" dur="10" fill="hold"/>
                                        <p:tgtEl>
                                          <p:spTgt spid="103"/>
                                        </p:tgtEl>
                                        <p:attrNameLst>
                                          <p:attrName>fill.type</p:attrName>
                                        </p:attrNameLst>
                                      </p:cBhvr>
                                      <p:to>
                                        <p:strVal val="solid"/>
                                      </p:to>
                                    </p:set>
                                    <p:set>
                                      <p:cBhvr>
                                        <p:cTn id="27" dur="10" fill="hold"/>
                                        <p:tgtEl>
                                          <p:spTgt spid="103"/>
                                        </p:tgtEl>
                                        <p:attrNameLst>
                                          <p:attrName>fill.on</p:attrName>
                                        </p:attrNameLst>
                                      </p:cBhvr>
                                      <p:to>
                                        <p:strVal val="true"/>
                                      </p:to>
                                    </p:set>
                                  </p:childTnLst>
                                </p:cTn>
                              </p:par>
                              <p:par>
                                <p:cTn id="28" presetID="10" presetClass="entr" presetSubtype="0" fill="hold" nodeType="withEffect">
                                  <p:stCondLst>
                                    <p:cond delay="0"/>
                                  </p:stCondLst>
                                  <p:childTnLst>
                                    <p:set>
                                      <p:cBhvr>
                                        <p:cTn id="29" dur="1" fill="hold">
                                          <p:stCondLst>
                                            <p:cond delay="0"/>
                                          </p:stCondLst>
                                        </p:cTn>
                                        <p:tgtEl>
                                          <p:spTgt spid="76"/>
                                        </p:tgtEl>
                                        <p:attrNameLst>
                                          <p:attrName>style.visibility</p:attrName>
                                        </p:attrNameLst>
                                      </p:cBhvr>
                                      <p:to>
                                        <p:strVal val="visible"/>
                                      </p:to>
                                    </p:set>
                                    <p:animEffect transition="in" filter="fade">
                                      <p:cBhvr>
                                        <p:cTn id="30" dur="10"/>
                                        <p:tgtEl>
                                          <p:spTgt spid="76"/>
                                        </p:tgtEl>
                                      </p:cBhvr>
                                    </p:animEffect>
                                  </p:childTnLst>
                                </p:cTn>
                              </p:par>
                              <p:par>
                                <p:cTn id="31" presetID="10" presetClass="exit" presetSubtype="0" fill="hold" grpId="0" nodeType="withEffect">
                                  <p:stCondLst>
                                    <p:cond delay="0"/>
                                  </p:stCondLst>
                                  <p:childTnLst>
                                    <p:animEffect transition="out" filter="fade">
                                      <p:cBhvr>
                                        <p:cTn id="32" dur="10"/>
                                        <p:tgtEl>
                                          <p:spTgt spid="103"/>
                                        </p:tgtEl>
                                      </p:cBhvr>
                                    </p:animEffect>
                                    <p:set>
                                      <p:cBhvr>
                                        <p:cTn id="33" dur="1" fill="hold">
                                          <p:stCondLst>
                                            <p:cond delay="9"/>
                                          </p:stCondLst>
                                        </p:cTn>
                                        <p:tgtEl>
                                          <p:spTgt spid="103"/>
                                        </p:tgtEl>
                                        <p:attrNameLst>
                                          <p:attrName>style.visibility</p:attrName>
                                        </p:attrNameLst>
                                      </p:cBhvr>
                                      <p:to>
                                        <p:strVal val="hidden"/>
                                      </p:to>
                                    </p:set>
                                  </p:childTnLst>
                                </p:cTn>
                              </p:par>
                              <p:par>
                                <p:cTn id="34" presetID="10" presetClass="entr" presetSubtype="0"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10"/>
                                        <p:tgtEl>
                                          <p:spTgt spid="11"/>
                                        </p:tgtEl>
                                      </p:cBhvr>
                                    </p:animEffect>
                                  </p:childTnLst>
                                </p:cTn>
                              </p:par>
                              <p:par>
                                <p:cTn id="37" presetID="10" presetClass="entr" presetSubtype="0" fill="hold" nodeType="with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10"/>
                                        <p:tgtEl>
                                          <p:spTgt spid="62"/>
                                        </p:tgtEl>
                                      </p:cBhvr>
                                    </p:animEffect>
                                  </p:childTnLst>
                                </p:cTn>
                              </p:par>
                              <p:par>
                                <p:cTn id="40" presetID="10" presetClass="entr" presetSubtype="0" fill="hold"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10"/>
                                        <p:tgtEl>
                                          <p:spTgt spid="63"/>
                                        </p:tgtEl>
                                      </p:cBhvr>
                                    </p:animEffect>
                                  </p:childTnLst>
                                </p:cTn>
                              </p:par>
                              <p:par>
                                <p:cTn id="43" presetID="10" presetClass="entr" presetSubtype="0" fill="hold" nodeType="with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10"/>
                                        <p:tgtEl>
                                          <p:spTgt spid="43"/>
                                        </p:tgtEl>
                                      </p:cBhvr>
                                    </p:animEffect>
                                  </p:childTnLst>
                                </p:cTn>
                              </p:par>
                              <p:par>
                                <p:cTn id="46" presetID="22" presetClass="entr" presetSubtype="1" fill="hold" grpId="0"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wipe(up)">
                                      <p:cBhvr>
                                        <p:cTn id="48" dur="10"/>
                                        <p:tgtEl>
                                          <p:spTgt spid="17"/>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up)">
                                      <p:cBhvr>
                                        <p:cTn id="51" dur="10"/>
                                        <p:tgtEl>
                                          <p:spTgt spid="18"/>
                                        </p:tgtEl>
                                      </p:cBhvr>
                                    </p:animEffect>
                                  </p:childTnLst>
                                </p:cTn>
                              </p:par>
                              <p:par>
                                <p:cTn id="52" presetID="10" presetClass="entr" presetSubtype="0" fill="hold" nodeType="with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10"/>
                                        <p:tgtEl>
                                          <p:spTgt spid="19"/>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21"/>
                                        </p:tgtEl>
                                        <p:attrNameLst>
                                          <p:attrName>style.visibility</p:attrName>
                                        </p:attrNameLst>
                                      </p:cBhvr>
                                      <p:to>
                                        <p:strVal val="visible"/>
                                      </p:to>
                                    </p:set>
                                    <p:animEffect transition="in" filter="wipe(up)">
                                      <p:cBhvr>
                                        <p:cTn id="57" dur="10"/>
                                        <p:tgtEl>
                                          <p:spTgt spid="21"/>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wipe(up)">
                                      <p:cBhvr>
                                        <p:cTn id="60" dur="10"/>
                                        <p:tgtEl>
                                          <p:spTgt spid="20"/>
                                        </p:tgtEl>
                                      </p:cBhvr>
                                    </p:animEffect>
                                  </p:childTnLst>
                                </p:cTn>
                              </p:par>
                              <p:par>
                                <p:cTn id="61" presetID="10" presetClass="exit" presetSubtype="0" fill="hold" grpId="0" nodeType="withEffect">
                                  <p:stCondLst>
                                    <p:cond delay="0"/>
                                  </p:stCondLst>
                                  <p:childTnLst>
                                    <p:animEffect transition="out" filter="fade">
                                      <p:cBhvr>
                                        <p:cTn id="62" dur="10"/>
                                        <p:tgtEl>
                                          <p:spTgt spid="91"/>
                                        </p:tgtEl>
                                      </p:cBhvr>
                                    </p:animEffect>
                                    <p:set>
                                      <p:cBhvr>
                                        <p:cTn id="63" dur="1" fill="hold">
                                          <p:stCondLst>
                                            <p:cond delay="9"/>
                                          </p:stCondLst>
                                        </p:cTn>
                                        <p:tgtEl>
                                          <p:spTgt spid="91"/>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10"/>
                                        <p:tgtEl>
                                          <p:spTgt spid="92"/>
                                        </p:tgtEl>
                                      </p:cBhvr>
                                    </p:animEffect>
                                    <p:set>
                                      <p:cBhvr>
                                        <p:cTn id="66" dur="1" fill="hold">
                                          <p:stCondLst>
                                            <p:cond delay="9"/>
                                          </p:stCondLst>
                                        </p:cTn>
                                        <p:tgtEl>
                                          <p:spTgt spid="92"/>
                                        </p:tgtEl>
                                        <p:attrNameLst>
                                          <p:attrName>style.visibility</p:attrName>
                                        </p:attrNameLst>
                                      </p:cBhvr>
                                      <p:to>
                                        <p:strVal val="hidden"/>
                                      </p:to>
                                    </p:set>
                                  </p:childTnLst>
                                </p:cTn>
                              </p:par>
                              <p:par>
                                <p:cTn id="67" presetID="10" presetClass="entr" presetSubtype="0" fill="hold" nodeType="withEffect">
                                  <p:stCondLst>
                                    <p:cond delay="0"/>
                                  </p:stCondLst>
                                  <p:childTnLst>
                                    <p:set>
                                      <p:cBhvr>
                                        <p:cTn id="68" dur="1" fill="hold">
                                          <p:stCondLst>
                                            <p:cond delay="0"/>
                                          </p:stCondLst>
                                        </p:cTn>
                                        <p:tgtEl>
                                          <p:spTgt spid="74"/>
                                        </p:tgtEl>
                                        <p:attrNameLst>
                                          <p:attrName>style.visibility</p:attrName>
                                        </p:attrNameLst>
                                      </p:cBhvr>
                                      <p:to>
                                        <p:strVal val="visible"/>
                                      </p:to>
                                    </p:set>
                                    <p:animEffect transition="in" filter="fade">
                                      <p:cBhvr>
                                        <p:cTn id="69" dur="10"/>
                                        <p:tgtEl>
                                          <p:spTgt spid="74"/>
                                        </p:tgtEl>
                                      </p:cBhvr>
                                    </p:animEffect>
                                  </p:childTnLst>
                                </p:cTn>
                              </p:par>
                              <p:par>
                                <p:cTn id="70" presetID="10" presetClass="entr" presetSubtype="0" fill="hold" nodeType="withEffect">
                                  <p:stCondLst>
                                    <p:cond delay="0"/>
                                  </p:stCondLst>
                                  <p:childTnLst>
                                    <p:set>
                                      <p:cBhvr>
                                        <p:cTn id="71" dur="1" fill="hold">
                                          <p:stCondLst>
                                            <p:cond delay="0"/>
                                          </p:stCondLst>
                                        </p:cTn>
                                        <p:tgtEl>
                                          <p:spTgt spid="50">
                                            <p:txEl>
                                              <p:pRg st="2" end="2"/>
                                            </p:txEl>
                                          </p:spTgt>
                                        </p:tgtEl>
                                        <p:attrNameLst>
                                          <p:attrName>style.visibility</p:attrName>
                                        </p:attrNameLst>
                                      </p:cBhvr>
                                      <p:to>
                                        <p:strVal val="visible"/>
                                      </p:to>
                                    </p:set>
                                    <p:animEffect transition="in" filter="fade">
                                      <p:cBhvr>
                                        <p:cTn id="72" dur="10"/>
                                        <p:tgtEl>
                                          <p:spTgt spid="50">
                                            <p:txEl>
                                              <p:pRg st="2" end="2"/>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77"/>
                                        </p:tgtEl>
                                        <p:attrNameLst>
                                          <p:attrName>style.visibility</p:attrName>
                                        </p:attrNameLst>
                                      </p:cBhvr>
                                      <p:to>
                                        <p:strVal val="visible"/>
                                      </p:to>
                                    </p:set>
                                    <p:animEffect transition="in" filter="fade">
                                      <p:cBhvr>
                                        <p:cTn id="75" dur="10"/>
                                        <p:tgtEl>
                                          <p:spTgt spid="77"/>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1"/>
                                        </p:tgtEl>
                                        <p:attrNameLst>
                                          <p:attrName>style.visibility</p:attrName>
                                        </p:attrNameLst>
                                      </p:cBhvr>
                                      <p:to>
                                        <p:strVal val="visible"/>
                                      </p:to>
                                    </p:set>
                                    <p:animEffect transition="in" filter="fade">
                                      <p:cBhvr>
                                        <p:cTn id="80" dur="500"/>
                                        <p:tgtEl>
                                          <p:spTgt spid="41"/>
                                        </p:tgtEl>
                                      </p:cBhvr>
                                    </p:animEffect>
                                  </p:childTnLst>
                                </p:cTn>
                              </p:par>
                              <p:par>
                                <p:cTn id="81" presetID="10" presetClass="entr" presetSubtype="0" fill="hold" nodeType="withEffect">
                                  <p:stCondLst>
                                    <p:cond delay="0"/>
                                  </p:stCondLst>
                                  <p:childTnLst>
                                    <p:set>
                                      <p:cBhvr>
                                        <p:cTn id="82" dur="1" fill="hold">
                                          <p:stCondLst>
                                            <p:cond delay="0"/>
                                          </p:stCondLst>
                                        </p:cTn>
                                        <p:tgtEl>
                                          <p:spTgt spid="1026"/>
                                        </p:tgtEl>
                                        <p:attrNameLst>
                                          <p:attrName>style.visibility</p:attrName>
                                        </p:attrNameLst>
                                      </p:cBhvr>
                                      <p:to>
                                        <p:strVal val="visible"/>
                                      </p:to>
                                    </p:set>
                                    <p:animEffect transition="in" filter="fade">
                                      <p:cBhvr>
                                        <p:cTn id="83" dur="500"/>
                                        <p:tgtEl>
                                          <p:spTgt spid="1026"/>
                                        </p:tgtEl>
                                      </p:cBhvr>
                                    </p:animEffect>
                                  </p:childTnLst>
                                </p:cTn>
                              </p:par>
                            </p:childTnLst>
                          </p:cTn>
                        </p:par>
                        <p:par>
                          <p:cTn id="84" fill="hold">
                            <p:stCondLst>
                              <p:cond delay="500"/>
                            </p:stCondLst>
                            <p:childTnLst>
                              <p:par>
                                <p:cTn id="85" presetID="22" presetClass="entr" presetSubtype="1" fill="hold" nodeType="after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wipe(up)">
                                      <p:cBhvr>
                                        <p:cTn id="87" dur="500"/>
                                        <p:tgtEl>
                                          <p:spTgt spid="42"/>
                                        </p:tgtEl>
                                      </p:cBhvr>
                                    </p:animEffect>
                                  </p:childTnLst>
                                </p:cTn>
                              </p:par>
                            </p:childTnLst>
                          </p:cTn>
                        </p:par>
                        <p:par>
                          <p:cTn id="88" fill="hold">
                            <p:stCondLst>
                              <p:cond delay="1000"/>
                            </p:stCondLst>
                            <p:childTnLst>
                              <p:par>
                                <p:cTn id="89" presetID="10" presetClass="entr" presetSubtype="0" fill="hold" grpId="0" nodeType="afterEffect">
                                  <p:stCondLst>
                                    <p:cond delay="0"/>
                                  </p:stCondLst>
                                  <p:childTnLst>
                                    <p:set>
                                      <p:cBhvr>
                                        <p:cTn id="90" dur="1" fill="hold">
                                          <p:stCondLst>
                                            <p:cond delay="0"/>
                                          </p:stCondLst>
                                        </p:cTn>
                                        <p:tgtEl>
                                          <p:spTgt spid="75"/>
                                        </p:tgtEl>
                                        <p:attrNameLst>
                                          <p:attrName>style.visibility</p:attrName>
                                        </p:attrNameLst>
                                      </p:cBhvr>
                                      <p:to>
                                        <p:strVal val="visible"/>
                                      </p:to>
                                    </p:set>
                                    <p:animEffect transition="in" filter="fade">
                                      <p:cBhvr>
                                        <p:cTn id="91" dur="500"/>
                                        <p:tgtEl>
                                          <p:spTgt spid="75"/>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fade">
                                      <p:cBhvr>
                                        <p:cTn id="94" dur="500"/>
                                        <p:tgtEl>
                                          <p:spTgt spid="31"/>
                                        </p:tgtEl>
                                      </p:cBhvr>
                                    </p:animEffect>
                                  </p:childTnLst>
                                </p:cTn>
                              </p:par>
                              <p:par>
                                <p:cTn id="95" presetID="10" presetClass="entr" presetSubtype="0" fill="hold" nodeType="withEffect">
                                  <p:stCondLst>
                                    <p:cond delay="0"/>
                                  </p:stCondLst>
                                  <p:childTnLst>
                                    <p:set>
                                      <p:cBhvr>
                                        <p:cTn id="96" dur="1" fill="hold">
                                          <p:stCondLst>
                                            <p:cond delay="0"/>
                                          </p:stCondLst>
                                        </p:cTn>
                                        <p:tgtEl>
                                          <p:spTgt spid="79"/>
                                        </p:tgtEl>
                                        <p:attrNameLst>
                                          <p:attrName>style.visibility</p:attrName>
                                        </p:attrNameLst>
                                      </p:cBhvr>
                                      <p:to>
                                        <p:strVal val="visible"/>
                                      </p:to>
                                    </p:set>
                                    <p:animEffect transition="in" filter="fade">
                                      <p:cBhvr>
                                        <p:cTn id="97" dur="500"/>
                                        <p:tgtEl>
                                          <p:spTgt spid="79"/>
                                        </p:tgtEl>
                                      </p:cBhvr>
                                    </p:animEffect>
                                  </p:childTnLst>
                                </p:cTn>
                              </p:par>
                            </p:childTnLst>
                          </p:cTn>
                        </p:par>
                        <p:par>
                          <p:cTn id="98" fill="hold">
                            <p:stCondLst>
                              <p:cond delay="1500"/>
                            </p:stCondLst>
                            <p:childTnLst>
                              <p:par>
                                <p:cTn id="99" presetID="22" presetClass="entr" presetSubtype="8" fill="hold" nodeType="afterEffect">
                                  <p:stCondLst>
                                    <p:cond delay="0"/>
                                  </p:stCondLst>
                                  <p:childTnLst>
                                    <p:set>
                                      <p:cBhvr>
                                        <p:cTn id="100" dur="1" fill="hold">
                                          <p:stCondLst>
                                            <p:cond delay="0"/>
                                          </p:stCondLst>
                                        </p:cTn>
                                        <p:tgtEl>
                                          <p:spTgt spid="81"/>
                                        </p:tgtEl>
                                        <p:attrNameLst>
                                          <p:attrName>style.visibility</p:attrName>
                                        </p:attrNameLst>
                                      </p:cBhvr>
                                      <p:to>
                                        <p:strVal val="visible"/>
                                      </p:to>
                                    </p:set>
                                    <p:animEffect transition="in" filter="wipe(left)">
                                      <p:cBhvr>
                                        <p:cTn id="101" dur="500"/>
                                        <p:tgtEl>
                                          <p:spTgt spid="81"/>
                                        </p:tgtEl>
                                      </p:cBhvr>
                                    </p:animEffect>
                                  </p:childTnLst>
                                </p:cTn>
                              </p:par>
                            </p:childTnLst>
                          </p:cTn>
                        </p:par>
                        <p:par>
                          <p:cTn id="102" fill="hold">
                            <p:stCondLst>
                              <p:cond delay="2000"/>
                            </p:stCondLst>
                            <p:childTnLst>
                              <p:par>
                                <p:cTn id="103" presetID="10" presetClass="entr" presetSubtype="0" fill="hold" nodeType="afterEffect">
                                  <p:stCondLst>
                                    <p:cond delay="0"/>
                                  </p:stCondLst>
                                  <p:childTnLst>
                                    <p:set>
                                      <p:cBhvr>
                                        <p:cTn id="104" dur="1" fill="hold">
                                          <p:stCondLst>
                                            <p:cond delay="0"/>
                                          </p:stCondLst>
                                        </p:cTn>
                                        <p:tgtEl>
                                          <p:spTgt spid="67"/>
                                        </p:tgtEl>
                                        <p:attrNameLst>
                                          <p:attrName>style.visibility</p:attrName>
                                        </p:attrNameLst>
                                      </p:cBhvr>
                                      <p:to>
                                        <p:strVal val="visible"/>
                                      </p:to>
                                    </p:set>
                                    <p:animEffect transition="in" filter="fade">
                                      <p:cBhvr>
                                        <p:cTn id="105" dur="500"/>
                                        <p:tgtEl>
                                          <p:spTgt spid="67"/>
                                        </p:tgtEl>
                                      </p:cBhvr>
                                    </p:animEffect>
                                  </p:childTnLst>
                                </p:cTn>
                              </p:par>
                            </p:childTnLst>
                          </p:cTn>
                        </p:par>
                        <p:par>
                          <p:cTn id="106" fill="hold">
                            <p:stCondLst>
                              <p:cond delay="2500"/>
                            </p:stCondLst>
                            <p:childTnLst>
                              <p:par>
                                <p:cTn id="107" presetID="22" presetClass="entr" presetSubtype="1" fill="hold" nodeType="afterEffect">
                                  <p:stCondLst>
                                    <p:cond delay="0"/>
                                  </p:stCondLst>
                                  <p:childTnLst>
                                    <p:set>
                                      <p:cBhvr>
                                        <p:cTn id="108" dur="1" fill="hold">
                                          <p:stCondLst>
                                            <p:cond delay="0"/>
                                          </p:stCondLst>
                                        </p:cTn>
                                        <p:tgtEl>
                                          <p:spTgt spid="83"/>
                                        </p:tgtEl>
                                        <p:attrNameLst>
                                          <p:attrName>style.visibility</p:attrName>
                                        </p:attrNameLst>
                                      </p:cBhvr>
                                      <p:to>
                                        <p:strVal val="visible"/>
                                      </p:to>
                                    </p:set>
                                    <p:animEffect transition="in" filter="wipe(up)">
                                      <p:cBhvr>
                                        <p:cTn id="109" dur="500"/>
                                        <p:tgtEl>
                                          <p:spTgt spid="83"/>
                                        </p:tgtEl>
                                      </p:cBhvr>
                                    </p:animEffect>
                                  </p:childTnLst>
                                </p:cTn>
                              </p:par>
                              <p:par>
                                <p:cTn id="110" presetID="10" presetClass="entr" presetSubtype="0" fill="hold" nodeType="withEffect">
                                  <p:stCondLst>
                                    <p:cond delay="0"/>
                                  </p:stCondLst>
                                  <p:childTnLst>
                                    <p:set>
                                      <p:cBhvr>
                                        <p:cTn id="111" dur="1" fill="hold">
                                          <p:stCondLst>
                                            <p:cond delay="0"/>
                                          </p:stCondLst>
                                        </p:cTn>
                                        <p:tgtEl>
                                          <p:spTgt spid="66"/>
                                        </p:tgtEl>
                                        <p:attrNameLst>
                                          <p:attrName>style.visibility</p:attrName>
                                        </p:attrNameLst>
                                      </p:cBhvr>
                                      <p:to>
                                        <p:strVal val="visible"/>
                                      </p:to>
                                    </p:set>
                                    <p:animEffect transition="in" filter="fade">
                                      <p:cBhvr>
                                        <p:cTn id="112" dur="500"/>
                                        <p:tgtEl>
                                          <p:spTgt spid="66"/>
                                        </p:tgtEl>
                                      </p:cBhvr>
                                    </p:animEffect>
                                  </p:childTnLst>
                                </p:cTn>
                              </p:par>
                            </p:childTnLst>
                          </p:cTn>
                        </p:par>
                        <p:par>
                          <p:cTn id="113" fill="hold">
                            <p:stCondLst>
                              <p:cond delay="3000"/>
                            </p:stCondLst>
                            <p:childTnLst>
                              <p:par>
                                <p:cTn id="114" presetID="22" presetClass="entr" presetSubtype="2" fill="hold" nodeType="afterEffect">
                                  <p:stCondLst>
                                    <p:cond delay="0"/>
                                  </p:stCondLst>
                                  <p:childTnLst>
                                    <p:set>
                                      <p:cBhvr>
                                        <p:cTn id="115" dur="1" fill="hold">
                                          <p:stCondLst>
                                            <p:cond delay="0"/>
                                          </p:stCondLst>
                                        </p:cTn>
                                        <p:tgtEl>
                                          <p:spTgt spid="33"/>
                                        </p:tgtEl>
                                        <p:attrNameLst>
                                          <p:attrName>style.visibility</p:attrName>
                                        </p:attrNameLst>
                                      </p:cBhvr>
                                      <p:to>
                                        <p:strVal val="visible"/>
                                      </p:to>
                                    </p:set>
                                    <p:animEffect transition="in" filter="wipe(right)">
                                      <p:cBhvr>
                                        <p:cTn id="116" dur="500"/>
                                        <p:tgtEl>
                                          <p:spTgt spid="33"/>
                                        </p:tgtEl>
                                      </p:cBhvr>
                                    </p:animEffect>
                                  </p:childTnLst>
                                </p:cTn>
                              </p:par>
                            </p:childTnLst>
                          </p:cTn>
                        </p:par>
                        <p:par>
                          <p:cTn id="117" fill="hold">
                            <p:stCondLst>
                              <p:cond delay="3500"/>
                            </p:stCondLst>
                            <p:childTnLst>
                              <p:par>
                                <p:cTn id="118" presetID="10" presetClass="entr" presetSubtype="0" fill="hold" nodeType="afterEffect">
                                  <p:stCondLst>
                                    <p:cond delay="0"/>
                                  </p:stCondLst>
                                  <p:childTnLst>
                                    <p:set>
                                      <p:cBhvr>
                                        <p:cTn id="119" dur="1" fill="hold">
                                          <p:stCondLst>
                                            <p:cond delay="0"/>
                                          </p:stCondLst>
                                        </p:cTn>
                                        <p:tgtEl>
                                          <p:spTgt spid="64"/>
                                        </p:tgtEl>
                                        <p:attrNameLst>
                                          <p:attrName>style.visibility</p:attrName>
                                        </p:attrNameLst>
                                      </p:cBhvr>
                                      <p:to>
                                        <p:strVal val="visible"/>
                                      </p:to>
                                    </p:set>
                                    <p:animEffect transition="in" filter="fade">
                                      <p:cBhvr>
                                        <p:cTn id="120" dur="500"/>
                                        <p:tgtEl>
                                          <p:spTgt spid="64"/>
                                        </p:tgtEl>
                                      </p:cBhvr>
                                    </p:animEffect>
                                  </p:childTnLst>
                                </p:cTn>
                              </p:par>
                            </p:childTnLst>
                          </p:cTn>
                        </p:par>
                        <p:par>
                          <p:cTn id="121" fill="hold">
                            <p:stCondLst>
                              <p:cond delay="4000"/>
                            </p:stCondLst>
                            <p:childTnLst>
                              <p:par>
                                <p:cTn id="122" presetID="22" presetClass="entr" presetSubtype="2" fill="hold" nodeType="afterEffect">
                                  <p:stCondLst>
                                    <p:cond delay="0"/>
                                  </p:stCondLst>
                                  <p:childTnLst>
                                    <p:set>
                                      <p:cBhvr>
                                        <p:cTn id="123" dur="1" fill="hold">
                                          <p:stCondLst>
                                            <p:cond delay="0"/>
                                          </p:stCondLst>
                                        </p:cTn>
                                        <p:tgtEl>
                                          <p:spTgt spid="82"/>
                                        </p:tgtEl>
                                        <p:attrNameLst>
                                          <p:attrName>style.visibility</p:attrName>
                                        </p:attrNameLst>
                                      </p:cBhvr>
                                      <p:to>
                                        <p:strVal val="visible"/>
                                      </p:to>
                                    </p:set>
                                    <p:animEffect transition="in" filter="wipe(right)">
                                      <p:cBhvr>
                                        <p:cTn id="124" dur="500"/>
                                        <p:tgtEl>
                                          <p:spTgt spid="82"/>
                                        </p:tgtEl>
                                      </p:cBhvr>
                                    </p:animEffect>
                                  </p:childTnLst>
                                </p:cTn>
                              </p:par>
                              <p:par>
                                <p:cTn id="125" presetID="10" presetClass="entr" presetSubtype="0" fill="hold" nodeType="withEffect">
                                  <p:stCondLst>
                                    <p:cond delay="0"/>
                                  </p:stCondLst>
                                  <p:childTnLst>
                                    <p:set>
                                      <p:cBhvr>
                                        <p:cTn id="126" dur="1" fill="hold">
                                          <p:stCondLst>
                                            <p:cond delay="0"/>
                                          </p:stCondLst>
                                        </p:cTn>
                                        <p:tgtEl>
                                          <p:spTgt spid="50">
                                            <p:txEl>
                                              <p:pRg st="3" end="3"/>
                                            </p:txEl>
                                          </p:spTgt>
                                        </p:tgtEl>
                                        <p:attrNameLst>
                                          <p:attrName>style.visibility</p:attrName>
                                        </p:attrNameLst>
                                      </p:cBhvr>
                                      <p:to>
                                        <p:strVal val="visible"/>
                                      </p:to>
                                    </p:set>
                                    <p:animEffect transition="in" filter="fade">
                                      <p:cBhvr>
                                        <p:cTn id="127" dur="500"/>
                                        <p:tgtEl>
                                          <p:spTgt spid="50">
                                            <p:txEl>
                                              <p:pRg st="3" end="3"/>
                                            </p:txEl>
                                          </p:spTgt>
                                        </p:tgtEl>
                                      </p:cBhvr>
                                    </p:animEffect>
                                  </p:childTnLst>
                                </p:cTn>
                              </p:par>
                            </p:childTnLst>
                          </p:cTn>
                        </p:par>
                        <p:par>
                          <p:cTn id="128" fill="hold">
                            <p:stCondLst>
                              <p:cond delay="4500"/>
                            </p:stCondLst>
                            <p:childTnLst>
                              <p:par>
                                <p:cTn id="129" presetID="10" presetClass="entr" presetSubtype="0" fill="hold" nodeType="afterEffect">
                                  <p:stCondLst>
                                    <p:cond delay="0"/>
                                  </p:stCondLst>
                                  <p:childTnLst>
                                    <p:set>
                                      <p:cBhvr>
                                        <p:cTn id="130" dur="1" fill="hold">
                                          <p:stCondLst>
                                            <p:cond delay="0"/>
                                          </p:stCondLst>
                                        </p:cTn>
                                        <p:tgtEl>
                                          <p:spTgt spid="78"/>
                                        </p:tgtEl>
                                        <p:attrNameLst>
                                          <p:attrName>style.visibility</p:attrName>
                                        </p:attrNameLst>
                                      </p:cBhvr>
                                      <p:to>
                                        <p:strVal val="visible"/>
                                      </p:to>
                                    </p:set>
                                    <p:animEffect transition="in" filter="fade">
                                      <p:cBhvr>
                                        <p:cTn id="131" dur="500"/>
                                        <p:tgtEl>
                                          <p:spTgt spid="78"/>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2"/>
                                        </p:tgtEl>
                                        <p:attrNameLst>
                                          <p:attrName>style.visibility</p:attrName>
                                        </p:attrNameLst>
                                      </p:cBhvr>
                                      <p:to>
                                        <p:strVal val="visible"/>
                                      </p:to>
                                    </p:set>
                                    <p:animEffect transition="in" filter="fade">
                                      <p:cBhvr>
                                        <p:cTn id="136" dur="500"/>
                                        <p:tgtEl>
                                          <p:spTgt spid="2"/>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6"/>
                                        </p:tgtEl>
                                        <p:attrNameLst>
                                          <p:attrName>style.visibility</p:attrName>
                                        </p:attrNameLst>
                                      </p:cBhvr>
                                      <p:to>
                                        <p:strVal val="visible"/>
                                      </p:to>
                                    </p:set>
                                    <p:animEffect transition="in" filter="fade">
                                      <p:cBhvr>
                                        <p:cTn id="139" dur="500"/>
                                        <p:tgtEl>
                                          <p:spTgt spid="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xit" presetSubtype="0" fill="hold" grpId="1" nodeType="clickEffect">
                                  <p:stCondLst>
                                    <p:cond delay="0"/>
                                  </p:stCondLst>
                                  <p:childTnLst>
                                    <p:animEffect transition="out" filter="fade">
                                      <p:cBhvr>
                                        <p:cTn id="143" dur="500"/>
                                        <p:tgtEl>
                                          <p:spTgt spid="2"/>
                                        </p:tgtEl>
                                      </p:cBhvr>
                                    </p:animEffect>
                                    <p:set>
                                      <p:cBhvr>
                                        <p:cTn id="144" dur="1" fill="hold">
                                          <p:stCondLst>
                                            <p:cond delay="499"/>
                                          </p:stCondLst>
                                        </p:cTn>
                                        <p:tgtEl>
                                          <p:spTgt spid="2"/>
                                        </p:tgtEl>
                                        <p:attrNameLst>
                                          <p:attrName>style.visibility</p:attrName>
                                        </p:attrNameLst>
                                      </p:cBhvr>
                                      <p:to>
                                        <p:strVal val="hidden"/>
                                      </p:to>
                                    </p:set>
                                  </p:childTnLst>
                                </p:cTn>
                              </p:par>
                              <p:par>
                                <p:cTn id="145" presetID="10" presetClass="exit" presetSubtype="0" fill="hold" grpId="1" nodeType="withEffect">
                                  <p:stCondLst>
                                    <p:cond delay="0"/>
                                  </p:stCondLst>
                                  <p:childTnLst>
                                    <p:animEffect transition="out" filter="fade">
                                      <p:cBhvr>
                                        <p:cTn id="146" dur="500"/>
                                        <p:tgtEl>
                                          <p:spTgt spid="6"/>
                                        </p:tgtEl>
                                      </p:cBhvr>
                                    </p:animEffect>
                                    <p:set>
                                      <p:cBhvr>
                                        <p:cTn id="147" dur="1" fill="hold">
                                          <p:stCondLst>
                                            <p:cond delay="499"/>
                                          </p:stCondLst>
                                        </p:cTn>
                                        <p:tgtEl>
                                          <p:spTgt spid="6"/>
                                        </p:tgtEl>
                                        <p:attrNameLst>
                                          <p:attrName>style.visibility</p:attrName>
                                        </p:attrNameLst>
                                      </p:cBhvr>
                                      <p:to>
                                        <p:strVal val="hidden"/>
                                      </p:to>
                                    </p:set>
                                  </p:childTnLst>
                                </p:cTn>
                              </p:par>
                            </p:childTnLst>
                          </p:cTn>
                        </p:par>
                        <p:par>
                          <p:cTn id="148" fill="hold">
                            <p:stCondLst>
                              <p:cond delay="500"/>
                            </p:stCondLst>
                            <p:childTnLst>
                              <p:par>
                                <p:cTn id="149" presetID="10" presetClass="entr" presetSubtype="0" fill="hold" grpId="0" nodeType="afterEffect">
                                  <p:stCondLst>
                                    <p:cond delay="0"/>
                                  </p:stCondLst>
                                  <p:childTnLst>
                                    <p:set>
                                      <p:cBhvr>
                                        <p:cTn id="150" dur="1" fill="hold">
                                          <p:stCondLst>
                                            <p:cond delay="0"/>
                                          </p:stCondLst>
                                        </p:cTn>
                                        <p:tgtEl>
                                          <p:spTgt spid="57"/>
                                        </p:tgtEl>
                                        <p:attrNameLst>
                                          <p:attrName>style.visibility</p:attrName>
                                        </p:attrNameLst>
                                      </p:cBhvr>
                                      <p:to>
                                        <p:strVal val="visible"/>
                                      </p:to>
                                    </p:set>
                                    <p:animEffect transition="in" filter="fade">
                                      <p:cBhvr>
                                        <p:cTn id="15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91" grpId="0" animBg="1"/>
      <p:bldP spid="107" grpId="0" animBg="1"/>
      <p:bldP spid="103" grpId="0" animBg="1"/>
      <p:bldP spid="106" grpId="0" animBg="1"/>
      <p:bldP spid="20" grpId="0" animBg="1"/>
      <p:bldP spid="21" grpId="0" animBg="1"/>
      <p:bldP spid="18" grpId="0" animBg="1"/>
      <p:bldP spid="17" grpId="0" animBg="1"/>
      <p:bldP spid="41" grpId="0" animBg="1"/>
      <p:bldP spid="75" grpId="0" animBg="1"/>
      <p:bldP spid="31" grpId="0"/>
      <p:bldP spid="2" grpId="0" animBg="1"/>
      <p:bldP spid="2" grpId="1" animBg="1"/>
      <p:bldP spid="6" grpId="0"/>
      <p:bldP spid="6"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926F1-DE1B-4E16-96CE-A94CE44DE602}"/>
              </a:ext>
            </a:extLst>
          </p:cNvPr>
          <p:cNvSpPr/>
          <p:nvPr/>
        </p:nvSpPr>
        <p:spPr bwMode="auto">
          <a:xfrm flipV="1">
            <a:off x="866" y="2756777"/>
            <a:ext cx="12190271" cy="41002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Title 1"/>
          <p:cNvSpPr txBox="1">
            <a:spLocks/>
          </p:cNvSpPr>
          <p:nvPr/>
        </p:nvSpPr>
        <p:spPr>
          <a:xfrm>
            <a:off x="643523" y="3039562"/>
            <a:ext cx="11278412" cy="762895"/>
          </a:xfrm>
          <a:prstGeom prst="rect">
            <a:avLst/>
          </a:prstGeom>
        </p:spPr>
        <p:txBody>
          <a:bodyPr lIns="146243" tIns="9141" rIns="146243" bIns="914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14016" fontAlgn="base">
              <a:spcBef>
                <a:spcPts val="1174"/>
              </a:spcBef>
              <a:spcAft>
                <a:spcPct val="0"/>
              </a:spcAft>
              <a:defRPr/>
            </a:pPr>
            <a:r>
              <a:rPr lang="en-US" sz="5293" spc="-98">
                <a:solidFill>
                  <a:srgbClr val="43A1FF"/>
                </a:solidFill>
                <a:latin typeface="Segoe UI Light"/>
              </a:rPr>
              <a:t>Azure Container Service (AKS)</a:t>
            </a:r>
          </a:p>
        </p:txBody>
      </p:sp>
      <p:sp>
        <p:nvSpPr>
          <p:cNvPr id="7" name="Rectangle 6"/>
          <p:cNvSpPr/>
          <p:nvPr/>
        </p:nvSpPr>
        <p:spPr>
          <a:xfrm>
            <a:off x="643522" y="4026534"/>
            <a:ext cx="11129030" cy="2031036"/>
          </a:xfrm>
          <a:prstGeom prst="rect">
            <a:avLst/>
          </a:prstGeom>
        </p:spPr>
        <p:txBody>
          <a:bodyPr wrap="square" lIns="146243">
            <a:spAutoFit/>
          </a:bodyPr>
          <a:lstStyle/>
          <a:p>
            <a:pPr defTabSz="931790">
              <a:spcBef>
                <a:spcPct val="0"/>
              </a:spcBef>
              <a:spcAft>
                <a:spcPts val="1200"/>
              </a:spcAft>
              <a:defRPr/>
            </a:pPr>
            <a:r>
              <a:rPr lang="en-US" sz="2353">
                <a:ln w="3175">
                  <a:noFill/>
                </a:ln>
                <a:solidFill>
                  <a:srgbClr val="FFFFFF"/>
                </a:solidFill>
                <a:latin typeface="Segoe UI" panose="020B0502040204020203" pitchFamily="34" charset="0"/>
                <a:cs typeface="Segoe UI" panose="020B0502040204020203" pitchFamily="34" charset="0"/>
                <a:sym typeface="Wingdings" panose="05000000000000000000" pitchFamily="2" charset="2"/>
              </a:rPr>
              <a:t>Fully managed Kubernetes orchestration service</a:t>
            </a:r>
          </a:p>
          <a:p>
            <a:pPr defTabSz="931790">
              <a:spcBef>
                <a:spcPct val="0"/>
              </a:spcBef>
              <a:spcAft>
                <a:spcPts val="1200"/>
              </a:spcAft>
              <a:defRPr/>
            </a:pPr>
            <a:r>
              <a:rPr lang="en-US" sz="2353">
                <a:ln w="3175">
                  <a:noFill/>
                </a:ln>
                <a:solidFill>
                  <a:srgbClr val="FFFFFF"/>
                </a:solidFill>
                <a:latin typeface="Segoe UI" panose="020B0502040204020203" pitchFamily="34" charset="0"/>
                <a:cs typeface="Segoe UI" panose="020B0502040204020203" pitchFamily="34" charset="0"/>
                <a:sym typeface="Wingdings" panose="05000000000000000000" pitchFamily="2" charset="2"/>
              </a:rPr>
              <a:t>Auto patching, auto scaling, auto updates</a:t>
            </a:r>
          </a:p>
          <a:p>
            <a:pPr defTabSz="931790">
              <a:spcBef>
                <a:spcPct val="0"/>
              </a:spcBef>
              <a:spcAft>
                <a:spcPts val="1200"/>
              </a:spcAft>
              <a:defRPr/>
            </a:pPr>
            <a:r>
              <a:rPr lang="en-US" sz="2353">
                <a:ln w="3175">
                  <a:noFill/>
                </a:ln>
                <a:solidFill>
                  <a:srgbClr val="FFFFFF"/>
                </a:solidFill>
                <a:latin typeface="Segoe UI" panose="020B0502040204020203" pitchFamily="34" charset="0"/>
                <a:cs typeface="Segoe UI" panose="020B0502040204020203" pitchFamily="34" charset="0"/>
                <a:sym typeface="Wingdings" panose="05000000000000000000" pitchFamily="2" charset="2"/>
              </a:rPr>
              <a:t>Use the full Kubernetes ecosystem (100% upstream)</a:t>
            </a:r>
          </a:p>
          <a:p>
            <a:pPr defTabSz="931790">
              <a:spcBef>
                <a:spcPct val="0"/>
              </a:spcBef>
              <a:spcAft>
                <a:spcPts val="1200"/>
              </a:spcAft>
              <a:defRPr/>
            </a:pPr>
            <a:r>
              <a:rPr lang="en-US" sz="2353">
                <a:ln w="3175">
                  <a:noFill/>
                </a:ln>
                <a:solidFill>
                  <a:srgbClr val="FFFFFF"/>
                </a:solidFill>
                <a:latin typeface="Segoe UI" panose="020B0502040204020203" pitchFamily="34" charset="0"/>
                <a:cs typeface="Segoe UI" panose="020B0502040204020203" pitchFamily="34" charset="0"/>
                <a:sym typeface="Wingdings" panose="05000000000000000000" pitchFamily="2" charset="2"/>
              </a:rPr>
              <a:t>Deeply integrated with Azure Dev Tools and services</a:t>
            </a:r>
          </a:p>
        </p:txBody>
      </p:sp>
      <p:pic>
        <p:nvPicPr>
          <p:cNvPr id="4" name="Picture 3">
            <a:extLst>
              <a:ext uri="{FF2B5EF4-FFF2-40B4-BE49-F238E27FC236}">
                <a16:creationId xmlns:a16="http://schemas.microsoft.com/office/drawing/2014/main" id="{FE172E43-3131-4736-9FE9-2BFB6D963E7E}"/>
              </a:ext>
            </a:extLst>
          </p:cNvPr>
          <p:cNvPicPr>
            <a:picLocks noChangeAspect="1"/>
          </p:cNvPicPr>
          <p:nvPr/>
        </p:nvPicPr>
        <p:blipFill>
          <a:blip r:embed="rId3"/>
          <a:stretch>
            <a:fillRect/>
          </a:stretch>
        </p:blipFill>
        <p:spPr>
          <a:xfrm>
            <a:off x="643523" y="550246"/>
            <a:ext cx="1736577" cy="1708568"/>
          </a:xfrm>
          <a:prstGeom prst="rect">
            <a:avLst/>
          </a:prstGeom>
        </p:spPr>
      </p:pic>
    </p:spTree>
    <p:extLst>
      <p:ext uri="{BB962C8B-B14F-4D97-AF65-F5344CB8AC3E}">
        <p14:creationId xmlns:p14="http://schemas.microsoft.com/office/powerpoint/2010/main" val="3938775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35" presetClass="path" presetSubtype="0" decel="100000" fill="hold" nodeType="withEffect">
                                  <p:stCondLst>
                                    <p:cond delay="0"/>
                                  </p:stCondLst>
                                  <p:childTnLst>
                                    <p:animMotion origin="layout" path="M -0.05553 0.00023 L 3.10186E-6 0.00023 " pathEditMode="relative" rAng="0" ptsTypes="AA">
                                      <p:cBhvr>
                                        <p:cTn id="9" dur="800" fill="hold"/>
                                        <p:tgtEl>
                                          <p:spTgt spid="4"/>
                                        </p:tgtEl>
                                        <p:attrNameLst>
                                          <p:attrName>ppt_x</p:attrName>
                                          <p:attrName>ppt_y</p:attrName>
                                        </p:attrNameLst>
                                      </p:cBhvr>
                                      <p:rCtr x="2770" y="0"/>
                                    </p:animMotion>
                                  </p:childTnLst>
                                </p:cTn>
                              </p:par>
                            </p:childTnLst>
                          </p:cTn>
                        </p:par>
                        <p:par>
                          <p:cTn id="10" fill="hold">
                            <p:stCondLst>
                              <p:cond delay="800"/>
                            </p:stCondLst>
                            <p:childTnLst>
                              <p:par>
                                <p:cTn id="11" presetID="10" presetClass="entr" presetSubtype="0" fill="hold" grpId="0" nodeType="afterEffect">
                                  <p:stCondLst>
                                    <p:cond delay="1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600"/>
                                        <p:tgtEl>
                                          <p:spTgt spid="5"/>
                                        </p:tgtEl>
                                      </p:cBhvr>
                                    </p:animEffect>
                                  </p:childTnLst>
                                </p:cTn>
                              </p:par>
                              <p:par>
                                <p:cTn id="14" presetID="35" presetClass="path" presetSubtype="0" decel="100000" fill="hold" grpId="1" nodeType="withEffect">
                                  <p:stCondLst>
                                    <p:cond delay="50"/>
                                  </p:stCondLst>
                                  <p:childTnLst>
                                    <p:animMotion origin="layout" path="M -0.05553 0.00022 L 2.15471E-6 0.00022 " pathEditMode="relative" rAng="0" ptsTypes="AA">
                                      <p:cBhvr>
                                        <p:cTn id="15" dur="800" fill="hold"/>
                                        <p:tgtEl>
                                          <p:spTgt spid="5"/>
                                        </p:tgtEl>
                                        <p:attrNameLst>
                                          <p:attrName>ppt_x</p:attrName>
                                          <p:attrName>ppt_y</p:attrName>
                                        </p:attrNameLst>
                                      </p:cBhvr>
                                      <p:rCtr x="2770" y="0"/>
                                    </p:animMotion>
                                  </p:childTnLst>
                                </p:cTn>
                              </p:par>
                              <p:par>
                                <p:cTn id="16" presetID="10" presetClass="entr" presetSubtype="0" fill="hold" grpId="0" nodeType="withEffect">
                                  <p:stCondLst>
                                    <p:cond delay="50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600"/>
                                        <p:tgtEl>
                                          <p:spTgt spid="7"/>
                                        </p:tgtEl>
                                      </p:cBhvr>
                                    </p:animEffect>
                                  </p:childTnLst>
                                </p:cTn>
                              </p:par>
                              <p:par>
                                <p:cTn id="19" presetID="35" presetClass="path" presetSubtype="0" decel="100000" fill="hold" grpId="1" nodeType="withEffect">
                                  <p:stCondLst>
                                    <p:cond delay="300"/>
                                  </p:stCondLst>
                                  <p:childTnLst>
                                    <p:animMotion origin="layout" path="M -0.05553 0.00023 L -7.07174E-7 0.00023 " pathEditMode="relative" rAng="0" ptsTypes="AA">
                                      <p:cBhvr>
                                        <p:cTn id="20" dur="800" fill="hold"/>
                                        <p:tgtEl>
                                          <p:spTgt spid="7"/>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7" grpId="0"/>
      <p:bldP spid="7"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EDE449EB-625C-4B3E-A108-31B7A2030949}"/>
              </a:ext>
            </a:extLst>
          </p:cNvPr>
          <p:cNvSpPr/>
          <p:nvPr/>
        </p:nvSpPr>
        <p:spPr bwMode="auto">
          <a:xfrm>
            <a:off x="9122970" y="5229231"/>
            <a:ext cx="2959412" cy="146913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SQL - Grey Back">
            <a:extLst>
              <a:ext uri="{FF2B5EF4-FFF2-40B4-BE49-F238E27FC236}">
                <a16:creationId xmlns:a16="http://schemas.microsoft.com/office/drawing/2014/main" id="{3B426E5B-7F87-4A3F-9393-FD78F2A0011D}"/>
              </a:ext>
            </a:extLst>
          </p:cNvPr>
          <p:cNvSpPr/>
          <p:nvPr/>
        </p:nvSpPr>
        <p:spPr bwMode="auto">
          <a:xfrm>
            <a:off x="344757" y="4902944"/>
            <a:ext cx="4779278" cy="1532517"/>
          </a:xfrm>
          <a:prstGeom prst="rect">
            <a:avLst/>
          </a:prstGeom>
          <a:solidFill>
            <a:schemeClr val="bg2">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2" name="SQL - VM icon">
            <a:extLst>
              <a:ext uri="{FF2B5EF4-FFF2-40B4-BE49-F238E27FC236}">
                <a16:creationId xmlns:a16="http://schemas.microsoft.com/office/drawing/2014/main" id="{DC7B776C-99ED-4EE9-97AF-43EA9839931D}"/>
              </a:ext>
            </a:extLst>
          </p:cNvPr>
          <p:cNvPicPr>
            <a:picLocks noChangeAspect="1"/>
          </p:cNvPicPr>
          <p:nvPr/>
        </p:nvPicPr>
        <p:blipFill>
          <a:blip r:embed="rId3"/>
          <a:stretch>
            <a:fillRect/>
          </a:stretch>
        </p:blipFill>
        <p:spPr>
          <a:xfrm>
            <a:off x="614470" y="5834091"/>
            <a:ext cx="480010" cy="480010"/>
          </a:xfrm>
          <a:prstGeom prst="rect">
            <a:avLst/>
          </a:prstGeom>
        </p:spPr>
      </p:pic>
      <p:sp>
        <p:nvSpPr>
          <p:cNvPr id="96" name="Rectangle 95">
            <a:extLst>
              <a:ext uri="{FF2B5EF4-FFF2-40B4-BE49-F238E27FC236}">
                <a16:creationId xmlns:a16="http://schemas.microsoft.com/office/drawing/2014/main" id="{ACE31B2E-4945-4DF9-A79A-96064B88F293}"/>
              </a:ext>
            </a:extLst>
          </p:cNvPr>
          <p:cNvSpPr/>
          <p:nvPr/>
        </p:nvSpPr>
        <p:spPr bwMode="auto">
          <a:xfrm>
            <a:off x="1314769" y="5134530"/>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 tier</a:t>
            </a:r>
          </a:p>
          <a:p>
            <a:pPr marL="339192" algn="ctr" defTabSz="913927" fontAlgn="base">
              <a:lnSpc>
                <a:spcPct val="90000"/>
              </a:lnSpc>
              <a:spcBef>
                <a:spcPct val="0"/>
              </a:spcBef>
              <a:spcAft>
                <a:spcPct val="0"/>
              </a:spcAft>
              <a:defRPr/>
            </a:pPr>
            <a:r>
              <a:rPr lang="en-US" sz="1765">
                <a:solidFill>
                  <a:srgbClr val="505050"/>
                </a:solidFill>
                <a:latin typeface="Segoe UI Light"/>
                <a:cs typeface="Segoe UI" pitchFamily="34" charset="0"/>
              </a:rPr>
              <a:t>(SQL VM)</a:t>
            </a:r>
          </a:p>
        </p:txBody>
      </p:sp>
      <p:sp>
        <p:nvSpPr>
          <p:cNvPr id="107" name="On-prem - DB Server icon">
            <a:extLst>
              <a:ext uri="{FF2B5EF4-FFF2-40B4-BE49-F238E27FC236}">
                <a16:creationId xmlns:a16="http://schemas.microsoft.com/office/drawing/2014/main" id="{EB641180-4A29-438E-8FE4-F2D05B89C6DF}"/>
              </a:ext>
            </a:extLst>
          </p:cNvPr>
          <p:cNvSpPr>
            <a:spLocks noChangeAspect="1" noEditPoints="1"/>
          </p:cNvSpPr>
          <p:nvPr/>
        </p:nvSpPr>
        <p:spPr bwMode="auto">
          <a:xfrm>
            <a:off x="465856" y="5690223"/>
            <a:ext cx="756499" cy="60543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gradFill>
              <a:latin typeface="Segoe UI Semilight"/>
            </a:endParaRPr>
          </a:p>
        </p:txBody>
      </p:sp>
      <p:sp>
        <p:nvSpPr>
          <p:cNvPr id="100" name="Server white out">
            <a:extLst>
              <a:ext uri="{FF2B5EF4-FFF2-40B4-BE49-F238E27FC236}">
                <a16:creationId xmlns:a16="http://schemas.microsoft.com/office/drawing/2014/main" id="{13E7CF94-8E41-43A7-87FB-FA99DBFE64B9}"/>
              </a:ext>
            </a:extLst>
          </p:cNvPr>
          <p:cNvSpPr/>
          <p:nvPr/>
        </p:nvSpPr>
        <p:spPr bwMode="auto">
          <a:xfrm>
            <a:off x="240923" y="1132818"/>
            <a:ext cx="5340125" cy="54150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4" name="SQL Azure">
            <a:extLst>
              <a:ext uri="{FF2B5EF4-FFF2-40B4-BE49-F238E27FC236}">
                <a16:creationId xmlns:a16="http://schemas.microsoft.com/office/drawing/2014/main" id="{E9760218-EC49-472E-9866-7B33182F3F84}"/>
              </a:ext>
            </a:extLst>
          </p:cNvPr>
          <p:cNvGrpSpPr/>
          <p:nvPr/>
        </p:nvGrpSpPr>
        <p:grpSpPr>
          <a:xfrm>
            <a:off x="1314759" y="5136477"/>
            <a:ext cx="3642618" cy="1278157"/>
            <a:chOff x="2504837" y="5524011"/>
            <a:chExt cx="3716188" cy="1303972"/>
          </a:xfrm>
        </p:grpSpPr>
        <p:sp>
          <p:nvSpPr>
            <p:cNvPr id="70" name="Rectangle 69">
              <a:extLst>
                <a:ext uri="{FF2B5EF4-FFF2-40B4-BE49-F238E27FC236}">
                  <a16:creationId xmlns:a16="http://schemas.microsoft.com/office/drawing/2014/main" id="{00B5997A-E18A-4D60-BA6C-292EB7EC95BD}"/>
                </a:ext>
              </a:extLst>
            </p:cNvPr>
            <p:cNvSpPr/>
            <p:nvPr/>
          </p:nvSpPr>
          <p:spPr bwMode="auto">
            <a:xfrm>
              <a:off x="2743469" y="5761183"/>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QL Azure)</a:t>
              </a:r>
            </a:p>
          </p:txBody>
        </p:sp>
        <p:sp>
          <p:nvSpPr>
            <p:cNvPr id="71" name="Rectangle 70">
              <a:extLst>
                <a:ext uri="{FF2B5EF4-FFF2-40B4-BE49-F238E27FC236}">
                  <a16:creationId xmlns:a16="http://schemas.microsoft.com/office/drawing/2014/main" id="{215594ED-295E-490E-B378-906C0A7068F4}"/>
                </a:ext>
              </a:extLst>
            </p:cNvPr>
            <p:cNvSpPr/>
            <p:nvPr/>
          </p:nvSpPr>
          <p:spPr bwMode="auto">
            <a:xfrm>
              <a:off x="2622600" y="5649326"/>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QL Azure)</a:t>
              </a:r>
            </a:p>
          </p:txBody>
        </p:sp>
        <p:sp>
          <p:nvSpPr>
            <p:cNvPr id="72" name="Rectangle 71">
              <a:extLst>
                <a:ext uri="{FF2B5EF4-FFF2-40B4-BE49-F238E27FC236}">
                  <a16:creationId xmlns:a16="http://schemas.microsoft.com/office/drawing/2014/main" id="{8B36A4ED-954B-493D-9C3B-82954F96E9DB}"/>
                </a:ext>
              </a:extLst>
            </p:cNvPr>
            <p:cNvSpPr/>
            <p:nvPr/>
          </p:nvSpPr>
          <p:spPr bwMode="auto">
            <a:xfrm>
              <a:off x="2504837" y="5524011"/>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SQL DB)</a:t>
              </a:r>
            </a:p>
          </p:txBody>
        </p:sp>
        <p:pic>
          <p:nvPicPr>
            <p:cNvPr id="73" name="Picture 2" descr="Image result for sql cloud azure">
              <a:extLst>
                <a:ext uri="{FF2B5EF4-FFF2-40B4-BE49-F238E27FC236}">
                  <a16:creationId xmlns:a16="http://schemas.microsoft.com/office/drawing/2014/main" id="{B568D690-2D9E-4DD2-832D-82D553D4E7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6548" y="5652425"/>
              <a:ext cx="835405" cy="835405"/>
            </a:xfrm>
            <a:prstGeom prst="rect">
              <a:avLst/>
            </a:prstGeom>
            <a:noFill/>
            <a:extLst>
              <a:ext uri="{909E8E84-426E-40DD-AFC4-6F175D3DCCD1}">
                <a14:hiddenFill xmlns:a14="http://schemas.microsoft.com/office/drawing/2010/main">
                  <a:solidFill>
                    <a:srgbClr val="FFFFFF"/>
                  </a:solidFill>
                </a14:hiddenFill>
              </a:ext>
            </a:extLst>
          </p:spPr>
        </p:pic>
      </p:grpSp>
      <p:sp>
        <p:nvSpPr>
          <p:cNvPr id="103" name="On-prem - web">
            <a:extLst>
              <a:ext uri="{FF2B5EF4-FFF2-40B4-BE49-F238E27FC236}">
                <a16:creationId xmlns:a16="http://schemas.microsoft.com/office/drawing/2014/main" id="{D4FE071A-097F-4B20-852F-70F86132CE1E}"/>
              </a:ext>
            </a:extLst>
          </p:cNvPr>
          <p:cNvSpPr/>
          <p:nvPr/>
        </p:nvSpPr>
        <p:spPr bwMode="auto">
          <a:xfrm>
            <a:off x="344757" y="1295126"/>
            <a:ext cx="4779278" cy="3172079"/>
          </a:xfrm>
          <a:prstGeom prst="rect">
            <a:avLst/>
          </a:prstGeom>
          <a:solidFill>
            <a:schemeClr val="bg2">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5" name="On-prem - VM icon">
            <a:extLst>
              <a:ext uri="{FF2B5EF4-FFF2-40B4-BE49-F238E27FC236}">
                <a16:creationId xmlns:a16="http://schemas.microsoft.com/office/drawing/2014/main" id="{4D7BD077-76F4-491B-A224-68AF6E9F0184}"/>
              </a:ext>
            </a:extLst>
          </p:cNvPr>
          <p:cNvPicPr>
            <a:picLocks noChangeAspect="1"/>
          </p:cNvPicPr>
          <p:nvPr/>
        </p:nvPicPr>
        <p:blipFill>
          <a:blip r:embed="rId3"/>
          <a:stretch>
            <a:fillRect/>
          </a:stretch>
        </p:blipFill>
        <p:spPr>
          <a:xfrm>
            <a:off x="626391" y="3894983"/>
            <a:ext cx="480010" cy="480010"/>
          </a:xfrm>
          <a:prstGeom prst="rect">
            <a:avLst/>
          </a:prstGeom>
        </p:spPr>
      </p:pic>
      <p:sp>
        <p:nvSpPr>
          <p:cNvPr id="106" name="On-prem - Web Server icon">
            <a:extLst>
              <a:ext uri="{FF2B5EF4-FFF2-40B4-BE49-F238E27FC236}">
                <a16:creationId xmlns:a16="http://schemas.microsoft.com/office/drawing/2014/main" id="{DB3A380A-E12B-46FD-B6E7-DCED7D3C0081}"/>
              </a:ext>
            </a:extLst>
          </p:cNvPr>
          <p:cNvSpPr>
            <a:spLocks noChangeAspect="1" noEditPoints="1"/>
          </p:cNvSpPr>
          <p:nvPr/>
        </p:nvSpPr>
        <p:spPr bwMode="auto">
          <a:xfrm>
            <a:off x="484555" y="3727200"/>
            <a:ext cx="756499" cy="60543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gradFill>
              <a:latin typeface="Segoe UI Semilight"/>
            </a:endParaRPr>
          </a:p>
        </p:txBody>
      </p:sp>
      <p:grpSp>
        <p:nvGrpSpPr>
          <p:cNvPr id="63" name="SF - Grey - Services">
            <a:extLst>
              <a:ext uri="{FF2B5EF4-FFF2-40B4-BE49-F238E27FC236}">
                <a16:creationId xmlns:a16="http://schemas.microsoft.com/office/drawing/2014/main" id="{B935E7C5-1784-49FD-8849-EFB89884B5D8}"/>
              </a:ext>
            </a:extLst>
          </p:cNvPr>
          <p:cNvGrpSpPr/>
          <p:nvPr/>
        </p:nvGrpSpPr>
        <p:grpSpPr>
          <a:xfrm>
            <a:off x="344757" y="2942164"/>
            <a:ext cx="4779278" cy="1532517"/>
            <a:chOff x="350837" y="3000593"/>
            <a:chExt cx="4875803" cy="1563469"/>
          </a:xfrm>
          <a:solidFill>
            <a:schemeClr val="accent1">
              <a:lumMod val="20000"/>
              <a:lumOff val="80000"/>
            </a:schemeClr>
          </a:solidFill>
        </p:grpSpPr>
        <p:sp>
          <p:nvSpPr>
            <p:cNvPr id="3" name="Rectangle 2">
              <a:extLst>
                <a:ext uri="{FF2B5EF4-FFF2-40B4-BE49-F238E27FC236}">
                  <a16:creationId xmlns:a16="http://schemas.microsoft.com/office/drawing/2014/main" id="{205129B4-BB7B-4F2A-8A8E-AAC5D5907A36}"/>
                </a:ext>
              </a:extLst>
            </p:cNvPr>
            <p:cNvSpPr/>
            <p:nvPr/>
          </p:nvSpPr>
          <p:spPr bwMode="auto">
            <a:xfrm>
              <a:off x="350837" y="3000593"/>
              <a:ext cx="4875803" cy="1563469"/>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 name="Picture 4" descr="Image result for service fabric azure">
              <a:extLst>
                <a:ext uri="{FF2B5EF4-FFF2-40B4-BE49-F238E27FC236}">
                  <a16:creationId xmlns:a16="http://schemas.microsoft.com/office/drawing/2014/main" id="{2CD3EAAE-70F4-4A09-99DD-61B664158B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6831" y="3951034"/>
              <a:ext cx="872362" cy="457990"/>
            </a:xfrm>
            <a:prstGeom prst="rect">
              <a:avLst/>
            </a:prstGeom>
            <a:grpFill/>
            <a:extLst/>
          </p:spPr>
        </p:pic>
      </p:grpSp>
      <p:cxnSp>
        <p:nvCxnSpPr>
          <p:cNvPr id="9" name="Conn - Services to DB">
            <a:extLst>
              <a:ext uri="{FF2B5EF4-FFF2-40B4-BE49-F238E27FC236}">
                <a16:creationId xmlns:a16="http://schemas.microsoft.com/office/drawing/2014/main" id="{4DA31F93-BE92-4A31-AC1D-099958EA6FF7}"/>
              </a:ext>
            </a:extLst>
          </p:cNvPr>
          <p:cNvCxnSpPr>
            <a:cxnSpLocks/>
            <a:stCxn id="5" idx="2"/>
            <a:endCxn id="72" idx="0"/>
          </p:cNvCxnSpPr>
          <p:nvPr/>
        </p:nvCxnSpPr>
        <p:spPr>
          <a:xfrm flipH="1">
            <a:off x="3019114" y="4141137"/>
            <a:ext cx="2693" cy="99533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SF - Services - Box 3">
            <a:extLst>
              <a:ext uri="{FF2B5EF4-FFF2-40B4-BE49-F238E27FC236}">
                <a16:creationId xmlns:a16="http://schemas.microsoft.com/office/drawing/2014/main" id="{13B29248-85AA-4B7E-8457-36A3B6961238}"/>
              </a:ext>
            </a:extLst>
          </p:cNvPr>
          <p:cNvSpPr/>
          <p:nvPr/>
        </p:nvSpPr>
        <p:spPr bwMode="auto">
          <a:xfrm>
            <a:off x="1465493" y="3277033"/>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21" name="SF - Services - Box 2">
            <a:extLst>
              <a:ext uri="{FF2B5EF4-FFF2-40B4-BE49-F238E27FC236}">
                <a16:creationId xmlns:a16="http://schemas.microsoft.com/office/drawing/2014/main" id="{74347BDA-DF94-46D3-8192-530E9009D891}"/>
              </a:ext>
            </a:extLst>
          </p:cNvPr>
          <p:cNvSpPr/>
          <p:nvPr/>
        </p:nvSpPr>
        <p:spPr bwMode="auto">
          <a:xfrm>
            <a:off x="1389461" y="3174525"/>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5" name="SF - Service Tier">
            <a:extLst>
              <a:ext uri="{FF2B5EF4-FFF2-40B4-BE49-F238E27FC236}">
                <a16:creationId xmlns:a16="http://schemas.microsoft.com/office/drawing/2014/main" id="{C09FFB11-6212-4016-81A1-A54C102F81A3}"/>
              </a:ext>
            </a:extLst>
          </p:cNvPr>
          <p:cNvSpPr/>
          <p:nvPr/>
        </p:nvSpPr>
        <p:spPr bwMode="auto">
          <a:xfrm>
            <a:off x="1317451" y="3095457"/>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ervice tier</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WCF)</a:t>
            </a:r>
          </a:p>
        </p:txBody>
      </p:sp>
      <p:grpSp>
        <p:nvGrpSpPr>
          <p:cNvPr id="62" name="SF - Grey - Web">
            <a:extLst>
              <a:ext uri="{FF2B5EF4-FFF2-40B4-BE49-F238E27FC236}">
                <a16:creationId xmlns:a16="http://schemas.microsoft.com/office/drawing/2014/main" id="{CBDD1A5C-5316-4133-8572-81A3D79447F6}"/>
              </a:ext>
            </a:extLst>
          </p:cNvPr>
          <p:cNvGrpSpPr/>
          <p:nvPr/>
        </p:nvGrpSpPr>
        <p:grpSpPr>
          <a:xfrm>
            <a:off x="344757" y="1295126"/>
            <a:ext cx="4779278" cy="1532517"/>
            <a:chOff x="350837" y="1320290"/>
            <a:chExt cx="4875803" cy="1563469"/>
          </a:xfrm>
          <a:solidFill>
            <a:schemeClr val="accent1">
              <a:lumMod val="20000"/>
              <a:lumOff val="80000"/>
            </a:schemeClr>
          </a:solidFill>
        </p:grpSpPr>
        <p:sp>
          <p:nvSpPr>
            <p:cNvPr id="38" name="Rectangle 37">
              <a:extLst>
                <a:ext uri="{FF2B5EF4-FFF2-40B4-BE49-F238E27FC236}">
                  <a16:creationId xmlns:a16="http://schemas.microsoft.com/office/drawing/2014/main" id="{A89CCC8B-8206-40F4-B6EE-B842496983DB}"/>
                </a:ext>
              </a:extLst>
            </p:cNvPr>
            <p:cNvSpPr/>
            <p:nvPr/>
          </p:nvSpPr>
          <p:spPr bwMode="auto">
            <a:xfrm>
              <a:off x="350837" y="1320290"/>
              <a:ext cx="4875803" cy="1563469"/>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9" name="Picture 4" descr="Image result for service fabric azure">
              <a:extLst>
                <a:ext uri="{FF2B5EF4-FFF2-40B4-BE49-F238E27FC236}">
                  <a16:creationId xmlns:a16="http://schemas.microsoft.com/office/drawing/2014/main" id="{5EF661C7-E0A7-4317-A2C4-EC2968F359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6831" y="2306606"/>
              <a:ext cx="872362" cy="457990"/>
            </a:xfrm>
            <a:prstGeom prst="rect">
              <a:avLst/>
            </a:prstGeom>
            <a:grpFill/>
            <a:extLst/>
          </p:spPr>
        </p:pic>
      </p:grpSp>
      <p:cxnSp>
        <p:nvCxnSpPr>
          <p:cNvPr id="45" name="Conn - Web to Services">
            <a:extLst>
              <a:ext uri="{FF2B5EF4-FFF2-40B4-BE49-F238E27FC236}">
                <a16:creationId xmlns:a16="http://schemas.microsoft.com/office/drawing/2014/main" id="{F1B6882F-7FA4-4379-AB3D-20DD2C536317}"/>
              </a:ext>
            </a:extLst>
          </p:cNvPr>
          <p:cNvCxnSpPr>
            <a:cxnSpLocks/>
            <a:stCxn id="4" idx="2"/>
            <a:endCxn id="5" idx="0"/>
          </p:cNvCxnSpPr>
          <p:nvPr/>
        </p:nvCxnSpPr>
        <p:spPr>
          <a:xfrm>
            <a:off x="3019125" y="2489167"/>
            <a:ext cx="2681" cy="60628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9" name="SF - Services - Container">
            <a:extLst>
              <a:ext uri="{FF2B5EF4-FFF2-40B4-BE49-F238E27FC236}">
                <a16:creationId xmlns:a16="http://schemas.microsoft.com/office/drawing/2014/main" id="{720B8C73-E396-47DD-AC3B-BD787D87696C}"/>
              </a:ext>
            </a:extLst>
          </p:cNvPr>
          <p:cNvPicPr>
            <a:picLocks noChangeAspect="1"/>
          </p:cNvPicPr>
          <p:nvPr/>
        </p:nvPicPr>
        <p:blipFill>
          <a:blip r:embed="rId6"/>
          <a:stretch>
            <a:fillRect/>
          </a:stretch>
        </p:blipFill>
        <p:spPr>
          <a:xfrm>
            <a:off x="1465494" y="3445088"/>
            <a:ext cx="432061" cy="432061"/>
          </a:xfrm>
          <a:prstGeom prst="rect">
            <a:avLst/>
          </a:prstGeom>
        </p:spPr>
      </p:pic>
      <p:sp>
        <p:nvSpPr>
          <p:cNvPr id="18" name="SF - Web - Box 3">
            <a:extLst>
              <a:ext uri="{FF2B5EF4-FFF2-40B4-BE49-F238E27FC236}">
                <a16:creationId xmlns:a16="http://schemas.microsoft.com/office/drawing/2014/main" id="{C9F22C49-DFCE-423C-98F3-9286404732A4}"/>
              </a:ext>
            </a:extLst>
          </p:cNvPr>
          <p:cNvSpPr/>
          <p:nvPr/>
        </p:nvSpPr>
        <p:spPr bwMode="auto">
          <a:xfrm>
            <a:off x="1465493" y="1635080"/>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17" name="SF - Web - Box 2">
            <a:extLst>
              <a:ext uri="{FF2B5EF4-FFF2-40B4-BE49-F238E27FC236}">
                <a16:creationId xmlns:a16="http://schemas.microsoft.com/office/drawing/2014/main" id="{3D53DB77-B600-461C-B9AF-B0E08A80C49C}"/>
              </a:ext>
            </a:extLst>
          </p:cNvPr>
          <p:cNvSpPr/>
          <p:nvPr/>
        </p:nvSpPr>
        <p:spPr bwMode="auto">
          <a:xfrm>
            <a:off x="1389461" y="1532574"/>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4" name="SF - Web">
            <a:extLst>
              <a:ext uri="{FF2B5EF4-FFF2-40B4-BE49-F238E27FC236}">
                <a16:creationId xmlns:a16="http://schemas.microsoft.com/office/drawing/2014/main" id="{CB2A68C2-6A79-4134-8A46-1C179007482A}"/>
              </a:ext>
            </a:extLst>
          </p:cNvPr>
          <p:cNvSpPr/>
          <p:nvPr/>
        </p:nvSpPr>
        <p:spPr bwMode="auto">
          <a:xfrm>
            <a:off x="1314769" y="1443487"/>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Web front-end</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Web Forms)</a:t>
            </a:r>
          </a:p>
        </p:txBody>
      </p:sp>
      <p:pic>
        <p:nvPicPr>
          <p:cNvPr id="43" name="SF - Web - Container">
            <a:extLst>
              <a:ext uri="{FF2B5EF4-FFF2-40B4-BE49-F238E27FC236}">
                <a16:creationId xmlns:a16="http://schemas.microsoft.com/office/drawing/2014/main" id="{886A7370-91D7-499F-97DF-0E56E05EB5F8}"/>
              </a:ext>
            </a:extLst>
          </p:cNvPr>
          <p:cNvPicPr>
            <a:picLocks noChangeAspect="1"/>
          </p:cNvPicPr>
          <p:nvPr/>
        </p:nvPicPr>
        <p:blipFill>
          <a:blip r:embed="rId6"/>
          <a:stretch>
            <a:fillRect/>
          </a:stretch>
        </p:blipFill>
        <p:spPr>
          <a:xfrm>
            <a:off x="1438368" y="1725859"/>
            <a:ext cx="432061" cy="432061"/>
          </a:xfrm>
          <a:prstGeom prst="rect">
            <a:avLst/>
          </a:prstGeom>
        </p:spPr>
      </p:pic>
      <p:cxnSp>
        <p:nvCxnSpPr>
          <p:cNvPr id="42" name="Conn - Twitter to Listener">
            <a:extLst>
              <a:ext uri="{FF2B5EF4-FFF2-40B4-BE49-F238E27FC236}">
                <a16:creationId xmlns:a16="http://schemas.microsoft.com/office/drawing/2014/main" id="{29095BBC-669B-43B3-9D2F-63F8B33D01E8}"/>
              </a:ext>
            </a:extLst>
          </p:cNvPr>
          <p:cNvCxnSpPr>
            <a:cxnSpLocks/>
            <a:stCxn id="41" idx="2"/>
            <a:endCxn id="75" idx="0"/>
          </p:cNvCxnSpPr>
          <p:nvPr/>
        </p:nvCxnSpPr>
        <p:spPr>
          <a:xfrm>
            <a:off x="7320600" y="1150859"/>
            <a:ext cx="425" cy="864832"/>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witter">
            <a:extLst>
              <a:ext uri="{FF2B5EF4-FFF2-40B4-BE49-F238E27FC236}">
                <a16:creationId xmlns:a16="http://schemas.microsoft.com/office/drawing/2014/main" id="{755F5BB6-EEB2-4BAE-B0B0-D87424553041}"/>
              </a:ext>
            </a:extLst>
          </p:cNvPr>
          <p:cNvSpPr/>
          <p:nvPr/>
        </p:nvSpPr>
        <p:spPr bwMode="auto">
          <a:xfrm>
            <a:off x="5964310" y="105178"/>
            <a:ext cx="2712580"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Twitter</a:t>
            </a:r>
          </a:p>
        </p:txBody>
      </p:sp>
      <p:cxnSp>
        <p:nvCxnSpPr>
          <p:cNvPr id="33" name="Straight Arrow Connector 32">
            <a:extLst>
              <a:ext uri="{FF2B5EF4-FFF2-40B4-BE49-F238E27FC236}">
                <a16:creationId xmlns:a16="http://schemas.microsoft.com/office/drawing/2014/main" id="{1E87B76A-AF40-4B80-8A2E-1CC8BE50A8DA}"/>
              </a:ext>
            </a:extLst>
          </p:cNvPr>
          <p:cNvCxnSpPr>
            <a:cxnSpLocks/>
            <a:stCxn id="23" idx="1"/>
            <a:endCxn id="22" idx="3"/>
          </p:cNvCxnSpPr>
          <p:nvPr/>
        </p:nvCxnSpPr>
        <p:spPr>
          <a:xfrm flipH="1">
            <a:off x="8690287" y="4449046"/>
            <a:ext cx="720276" cy="0"/>
          </a:xfrm>
          <a:prstGeom prst="straightConnector1">
            <a:avLst/>
          </a:prstGeom>
          <a:ln w="571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Azure Functions">
            <a:extLst>
              <a:ext uri="{FF2B5EF4-FFF2-40B4-BE49-F238E27FC236}">
                <a16:creationId xmlns:a16="http://schemas.microsoft.com/office/drawing/2014/main" id="{3F12B9B0-95D8-4B1B-8539-52F83334E148}"/>
              </a:ext>
            </a:extLst>
          </p:cNvPr>
          <p:cNvGrpSpPr/>
          <p:nvPr/>
        </p:nvGrpSpPr>
        <p:grpSpPr>
          <a:xfrm>
            <a:off x="9410562" y="3926205"/>
            <a:ext cx="2467138" cy="1045681"/>
            <a:chOff x="8982211" y="3156982"/>
            <a:chExt cx="2516966" cy="1066800"/>
          </a:xfrm>
        </p:grpSpPr>
        <p:sp>
          <p:nvSpPr>
            <p:cNvPr id="23" name="Rectangle 22">
              <a:extLst>
                <a:ext uri="{FF2B5EF4-FFF2-40B4-BE49-F238E27FC236}">
                  <a16:creationId xmlns:a16="http://schemas.microsoft.com/office/drawing/2014/main" id="{66200E0A-76E1-4909-A8C2-63A5B005020E}"/>
                </a:ext>
              </a:extLst>
            </p:cNvPr>
            <p:cNvSpPr/>
            <p:nvPr/>
          </p:nvSpPr>
          <p:spPr bwMode="auto">
            <a:xfrm>
              <a:off x="8982211" y="3156982"/>
              <a:ext cx="251696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505677"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entiment </a:t>
              </a:r>
              <a:br>
                <a:rPr lang="en-US" sz="2353">
                  <a:solidFill>
                    <a:srgbClr val="505050"/>
                  </a:solidFill>
                  <a:latin typeface="Segoe UI Semilight"/>
                  <a:ea typeface="Segoe UI" pitchFamily="34" charset="0"/>
                  <a:cs typeface="Segoe UI" pitchFamily="34" charset="0"/>
                </a:rPr>
              </a:br>
              <a:r>
                <a:rPr lang="en-US" sz="2353">
                  <a:solidFill>
                    <a:srgbClr val="505050"/>
                  </a:solidFill>
                  <a:latin typeface="Segoe UI Semilight"/>
                  <a:ea typeface="Segoe UI" pitchFamily="34" charset="0"/>
                  <a:cs typeface="Segoe UI" pitchFamily="34" charset="0"/>
                </a:rPr>
                <a:t>Analysis</a:t>
              </a:r>
            </a:p>
          </p:txBody>
        </p:sp>
        <p:pic>
          <p:nvPicPr>
            <p:cNvPr id="27" name="Picture 8" descr="Image result for azure functions logo transparent">
              <a:extLst>
                <a:ext uri="{FF2B5EF4-FFF2-40B4-BE49-F238E27FC236}">
                  <a16:creationId xmlns:a16="http://schemas.microsoft.com/office/drawing/2014/main" id="{DFB0AC60-F36C-41BA-A134-A7036CF44E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57780" y="3425051"/>
              <a:ext cx="536194" cy="53619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82" name="Conn - Listener to web">
            <a:extLst>
              <a:ext uri="{FF2B5EF4-FFF2-40B4-BE49-F238E27FC236}">
                <a16:creationId xmlns:a16="http://schemas.microsoft.com/office/drawing/2014/main" id="{F4B9236D-2E9B-452E-8502-3FB1BD38CC7F}"/>
              </a:ext>
            </a:extLst>
          </p:cNvPr>
          <p:cNvCxnSpPr>
            <a:cxnSpLocks/>
            <a:stCxn id="22" idx="1"/>
            <a:endCxn id="4" idx="3"/>
          </p:cNvCxnSpPr>
          <p:nvPr/>
        </p:nvCxnSpPr>
        <p:spPr>
          <a:xfrm rot="10800000">
            <a:off x="4723480" y="1966328"/>
            <a:ext cx="1254226" cy="2482718"/>
          </a:xfrm>
          <a:prstGeom prst="bentConnector3">
            <a:avLst>
              <a:gd name="adj1" fmla="val 50000"/>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4" name="Social listener">
            <a:extLst>
              <a:ext uri="{FF2B5EF4-FFF2-40B4-BE49-F238E27FC236}">
                <a16:creationId xmlns:a16="http://schemas.microsoft.com/office/drawing/2014/main" id="{5B31DD75-55F7-4619-A704-6340CA1440EA}"/>
              </a:ext>
            </a:extLst>
          </p:cNvPr>
          <p:cNvGrpSpPr/>
          <p:nvPr/>
        </p:nvGrpSpPr>
        <p:grpSpPr>
          <a:xfrm>
            <a:off x="5977707" y="3926205"/>
            <a:ext cx="2712580" cy="1045681"/>
            <a:chOff x="5660671" y="3156982"/>
            <a:chExt cx="2767366" cy="1066800"/>
          </a:xfrm>
        </p:grpSpPr>
        <p:sp>
          <p:nvSpPr>
            <p:cNvPr id="22" name="Rectangle 21">
              <a:extLst>
                <a:ext uri="{FF2B5EF4-FFF2-40B4-BE49-F238E27FC236}">
                  <a16:creationId xmlns:a16="http://schemas.microsoft.com/office/drawing/2014/main" id="{628AA6F1-FFD3-49A1-972C-AA639DAFEE13}"/>
                </a:ext>
              </a:extLst>
            </p:cNvPr>
            <p:cNvSpPr/>
            <p:nvPr/>
          </p:nvSpPr>
          <p:spPr bwMode="auto">
            <a:xfrm>
              <a:off x="5660671" y="3156982"/>
              <a:ext cx="276736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Listener</a:t>
              </a:r>
              <a:br>
                <a:rPr lang="en-US" sz="2353">
                  <a:solidFill>
                    <a:srgbClr val="505050"/>
                  </a:solidFill>
                  <a:latin typeface="Segoe UI Semilight"/>
                  <a:ea typeface="Segoe UI" pitchFamily="34" charset="0"/>
                  <a:cs typeface="Segoe UI" pitchFamily="34" charset="0"/>
                </a:rPr>
              </a:br>
              <a:r>
                <a:rPr lang="en-US" sz="1765">
                  <a:solidFill>
                    <a:srgbClr val="505050"/>
                  </a:solidFill>
                  <a:latin typeface="Segoe UI Semilight"/>
                  <a:ea typeface="Segoe UI" pitchFamily="34" charset="0"/>
                  <a:cs typeface="Segoe UI" pitchFamily="34" charset="0"/>
                </a:rPr>
                <a:t>(Stateless service)</a:t>
              </a:r>
            </a:p>
          </p:txBody>
        </p:sp>
        <p:pic>
          <p:nvPicPr>
            <p:cNvPr id="28" name="Picture 4" descr="Image result for service fabric azure">
              <a:extLst>
                <a:ext uri="{FF2B5EF4-FFF2-40B4-BE49-F238E27FC236}">
                  <a16:creationId xmlns:a16="http://schemas.microsoft.com/office/drawing/2014/main" id="{4C9E7F07-8ABE-4244-B786-57B73EBA0B8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5965"/>
            <a:stretch/>
          </p:blipFill>
          <p:spPr bwMode="auto">
            <a:xfrm>
              <a:off x="5735931" y="3391833"/>
              <a:ext cx="840473" cy="525074"/>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Checklist">
            <a:extLst>
              <a:ext uri="{FF2B5EF4-FFF2-40B4-BE49-F238E27FC236}">
                <a16:creationId xmlns:a16="http://schemas.microsoft.com/office/drawing/2014/main" id="{C63880A0-5B0A-46CC-873B-E8FF72C6CC9F}"/>
              </a:ext>
            </a:extLst>
          </p:cNvPr>
          <p:cNvSpPr txBox="1"/>
          <p:nvPr/>
        </p:nvSpPr>
        <p:spPr>
          <a:xfrm>
            <a:off x="9066795" y="4876813"/>
            <a:ext cx="3062689" cy="1819368"/>
          </a:xfrm>
          <a:prstGeom prst="rect">
            <a:avLst/>
          </a:prstGeom>
          <a:noFill/>
        </p:spPr>
        <p:txBody>
          <a:bodyPr wrap="square" lIns="179259" tIns="143407" rIns="179259" bIns="143407" rtlCol="0">
            <a:spAutoFit/>
          </a:bodyPr>
          <a:lstStyle/>
          <a:p>
            <a:pPr marL="448107" defTabSz="914192">
              <a:lnSpc>
                <a:spcPct val="90000"/>
              </a:lnSpc>
              <a:spcAft>
                <a:spcPts val="588"/>
              </a:spcAft>
              <a:defRPr/>
            </a:pPr>
            <a:endParaRPr lang="en-US" sz="2353">
              <a:gradFill>
                <a:gsLst>
                  <a:gs pos="2917">
                    <a:srgbClr val="505050"/>
                  </a:gs>
                  <a:gs pos="30000">
                    <a:srgbClr val="505050"/>
                  </a:gs>
                </a:gsLst>
                <a:lin ang="5400000" scaled="0"/>
              </a:gradFill>
              <a:latin typeface="Segoe UI Semilight"/>
            </a:endParaRP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Lift and Shift</a:t>
            </a: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Cloud Optimized</a:t>
            </a: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App Modernized</a:t>
            </a:r>
          </a:p>
        </p:txBody>
      </p:sp>
      <p:pic>
        <p:nvPicPr>
          <p:cNvPr id="78" name="Check 3">
            <a:extLst>
              <a:ext uri="{FF2B5EF4-FFF2-40B4-BE49-F238E27FC236}">
                <a16:creationId xmlns:a16="http://schemas.microsoft.com/office/drawing/2014/main" id="{32CD867C-2639-4576-8806-19EBF08AE29B}"/>
              </a:ext>
            </a:extLst>
          </p:cNvPr>
          <p:cNvPicPr>
            <a:picLocks noChangeAspect="1"/>
          </p:cNvPicPr>
          <p:nvPr/>
        </p:nvPicPr>
        <p:blipFill>
          <a:blip r:embed="rId8"/>
          <a:stretch>
            <a:fillRect/>
          </a:stretch>
        </p:blipFill>
        <p:spPr>
          <a:xfrm>
            <a:off x="9321963" y="6225779"/>
            <a:ext cx="262937" cy="322695"/>
          </a:xfrm>
          <a:prstGeom prst="rect">
            <a:avLst/>
          </a:prstGeom>
        </p:spPr>
      </p:pic>
      <p:pic>
        <p:nvPicPr>
          <p:cNvPr id="77" name="Check 2">
            <a:extLst>
              <a:ext uri="{FF2B5EF4-FFF2-40B4-BE49-F238E27FC236}">
                <a16:creationId xmlns:a16="http://schemas.microsoft.com/office/drawing/2014/main" id="{A7412F8D-A13B-46D4-86F2-BCC9B113A8A0}"/>
              </a:ext>
            </a:extLst>
          </p:cNvPr>
          <p:cNvPicPr>
            <a:picLocks noChangeAspect="1"/>
          </p:cNvPicPr>
          <p:nvPr/>
        </p:nvPicPr>
        <p:blipFill>
          <a:blip r:embed="rId8"/>
          <a:stretch>
            <a:fillRect/>
          </a:stretch>
        </p:blipFill>
        <p:spPr>
          <a:xfrm>
            <a:off x="9321964" y="5814289"/>
            <a:ext cx="262937" cy="322695"/>
          </a:xfrm>
          <a:prstGeom prst="rect">
            <a:avLst/>
          </a:prstGeom>
        </p:spPr>
      </p:pic>
      <p:pic>
        <p:nvPicPr>
          <p:cNvPr id="76" name="Check 1">
            <a:extLst>
              <a:ext uri="{FF2B5EF4-FFF2-40B4-BE49-F238E27FC236}">
                <a16:creationId xmlns:a16="http://schemas.microsoft.com/office/drawing/2014/main" id="{275F1E3F-73A2-42AE-AC78-859A4F203102}"/>
              </a:ext>
            </a:extLst>
          </p:cNvPr>
          <p:cNvPicPr>
            <a:picLocks noChangeAspect="1"/>
          </p:cNvPicPr>
          <p:nvPr/>
        </p:nvPicPr>
        <p:blipFill>
          <a:blip r:embed="rId8"/>
          <a:stretch>
            <a:fillRect/>
          </a:stretch>
        </p:blipFill>
        <p:spPr>
          <a:xfrm>
            <a:off x="9321964" y="5439451"/>
            <a:ext cx="262937" cy="322695"/>
          </a:xfrm>
          <a:prstGeom prst="rect">
            <a:avLst/>
          </a:prstGeom>
        </p:spPr>
      </p:pic>
      <p:pic>
        <p:nvPicPr>
          <p:cNvPr id="1026" name="Picture 2" descr="Image result for twitter icon official 2017">
            <a:extLst>
              <a:ext uri="{FF2B5EF4-FFF2-40B4-BE49-F238E27FC236}">
                <a16:creationId xmlns:a16="http://schemas.microsoft.com/office/drawing/2014/main" id="{436AAFAE-9B64-405C-AAD2-3B73F1F9E7B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76241" y="425027"/>
            <a:ext cx="487098" cy="3960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close up of a sign&#10;&#10;Description generated with very high confidence">
            <a:extLst>
              <a:ext uri="{FF2B5EF4-FFF2-40B4-BE49-F238E27FC236}">
                <a16:creationId xmlns:a16="http://schemas.microsoft.com/office/drawing/2014/main" id="{4383DFFC-3D88-469F-A7DA-5DC8B946C1F5}"/>
              </a:ext>
            </a:extLst>
          </p:cNvPr>
          <p:cNvPicPr>
            <a:picLocks noChangeAspect="1"/>
          </p:cNvPicPr>
          <p:nvPr/>
        </p:nvPicPr>
        <p:blipFill>
          <a:blip r:embed="rId10"/>
          <a:stretch>
            <a:fillRect/>
          </a:stretch>
        </p:blipFill>
        <p:spPr>
          <a:xfrm>
            <a:off x="20685" y="-203602"/>
            <a:ext cx="1667579" cy="1667579"/>
          </a:xfrm>
          <a:prstGeom prst="rect">
            <a:avLst/>
          </a:prstGeom>
        </p:spPr>
      </p:pic>
      <p:grpSp>
        <p:nvGrpSpPr>
          <p:cNvPr id="67" name="Cosmos DB">
            <a:extLst>
              <a:ext uri="{FF2B5EF4-FFF2-40B4-BE49-F238E27FC236}">
                <a16:creationId xmlns:a16="http://schemas.microsoft.com/office/drawing/2014/main" id="{5DD4450E-2D4A-44FC-AE69-6F556496D848}"/>
              </a:ext>
            </a:extLst>
          </p:cNvPr>
          <p:cNvGrpSpPr/>
          <p:nvPr/>
        </p:nvGrpSpPr>
        <p:grpSpPr>
          <a:xfrm>
            <a:off x="9200099" y="2063501"/>
            <a:ext cx="2789956" cy="1045681"/>
            <a:chOff x="5576263" y="5135544"/>
            <a:chExt cx="2846303" cy="1066800"/>
          </a:xfrm>
        </p:grpSpPr>
        <p:sp>
          <p:nvSpPr>
            <p:cNvPr id="68" name="Rectangle 67">
              <a:extLst>
                <a:ext uri="{FF2B5EF4-FFF2-40B4-BE49-F238E27FC236}">
                  <a16:creationId xmlns:a16="http://schemas.microsoft.com/office/drawing/2014/main" id="{E70369AA-2C85-45EC-A9B1-983D28A30F64}"/>
                </a:ext>
              </a:extLst>
            </p:cNvPr>
            <p:cNvSpPr/>
            <p:nvPr/>
          </p:nvSpPr>
          <p:spPr bwMode="auto">
            <a:xfrm>
              <a:off x="5655199" y="5135544"/>
              <a:ext cx="2767367"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Tweets DB</a:t>
              </a:r>
            </a:p>
            <a:p>
              <a:pPr marL="339192" algn="ctr" defTabSz="913927" fontAlgn="base">
                <a:lnSpc>
                  <a:spcPct val="90000"/>
                </a:lnSpc>
                <a:spcBef>
                  <a:spcPct val="0"/>
                </a:spcBef>
                <a:spcAft>
                  <a:spcPct val="0"/>
                </a:spcAft>
                <a:defRPr/>
              </a:pPr>
              <a:r>
                <a:rPr lang="en-US" sz="1765">
                  <a:solidFill>
                    <a:srgbClr val="505050"/>
                  </a:solidFill>
                  <a:latin typeface="Segoe UI Semilight"/>
                  <a:ea typeface="Segoe UI" pitchFamily="34" charset="0"/>
                  <a:cs typeface="Segoe UI" pitchFamily="34" charset="0"/>
                </a:rPr>
                <a:t>(Cosmos DB)</a:t>
              </a:r>
            </a:p>
          </p:txBody>
        </p:sp>
        <p:pic>
          <p:nvPicPr>
            <p:cNvPr id="69" name="Picture 10" descr="Image result for cosmos db logo transparent">
              <a:extLst>
                <a:ext uri="{FF2B5EF4-FFF2-40B4-BE49-F238E27FC236}">
                  <a16:creationId xmlns:a16="http://schemas.microsoft.com/office/drawing/2014/main" id="{56D20370-F226-4881-8E66-B91329AEDE8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76263" y="5361350"/>
              <a:ext cx="1030309" cy="540912"/>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witter">
            <a:extLst>
              <a:ext uri="{FF2B5EF4-FFF2-40B4-BE49-F238E27FC236}">
                <a16:creationId xmlns:a16="http://schemas.microsoft.com/office/drawing/2014/main" id="{C45D1470-F77B-46CC-97A5-527E97257162}"/>
              </a:ext>
            </a:extLst>
          </p:cNvPr>
          <p:cNvSpPr/>
          <p:nvPr/>
        </p:nvSpPr>
        <p:spPr bwMode="auto">
          <a:xfrm>
            <a:off x="5964736" y="2015691"/>
            <a:ext cx="2712580"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1961">
              <a:solidFill>
                <a:srgbClr val="505050"/>
              </a:solidFill>
              <a:latin typeface="Segoe UI Semilight"/>
              <a:ea typeface="Segoe UI" pitchFamily="34" charset="0"/>
              <a:cs typeface="Segoe UI" pitchFamily="34" charset="0"/>
            </a:endParaRPr>
          </a:p>
        </p:txBody>
      </p:sp>
      <p:pic>
        <p:nvPicPr>
          <p:cNvPr id="79" name="Picture 2" descr="Image result for Logic Apps Logo">
            <a:extLst>
              <a:ext uri="{FF2B5EF4-FFF2-40B4-BE49-F238E27FC236}">
                <a16:creationId xmlns:a16="http://schemas.microsoft.com/office/drawing/2014/main" id="{42C5CC25-DFFC-4130-915D-B31F8F1005A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98432" y="2298402"/>
            <a:ext cx="1129923" cy="593209"/>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031282C2-7D20-46CA-968D-76EF44878CEC}"/>
              </a:ext>
            </a:extLst>
          </p:cNvPr>
          <p:cNvSpPr/>
          <p:nvPr/>
        </p:nvSpPr>
        <p:spPr>
          <a:xfrm>
            <a:off x="6786241" y="2215524"/>
            <a:ext cx="1945810" cy="633625"/>
          </a:xfrm>
          <a:prstGeom prst="rect">
            <a:avLst/>
          </a:prstGeom>
        </p:spPr>
        <p:txBody>
          <a:bodyPr wrap="square">
            <a:spAutoFit/>
          </a:bodyPr>
          <a:lstStyle/>
          <a:p>
            <a:pPr defTabSz="914367">
              <a:defRPr/>
            </a:pPr>
            <a:r>
              <a:rPr lang="en-US" sz="1765">
                <a:solidFill>
                  <a:srgbClr val="505050"/>
                </a:solidFill>
                <a:latin typeface="Segoe UI Semilight"/>
                <a:ea typeface="Segoe UI" pitchFamily="34" charset="0"/>
                <a:cs typeface="Segoe UI" pitchFamily="34" charset="0"/>
              </a:rPr>
              <a:t>Twitter to Cosmos</a:t>
            </a:r>
          </a:p>
          <a:p>
            <a:pPr defTabSz="914367">
              <a:defRPr/>
            </a:pPr>
            <a:r>
              <a:rPr lang="en-US" sz="1765">
                <a:solidFill>
                  <a:srgbClr val="505050"/>
                </a:solidFill>
                <a:latin typeface="Segoe UI Semilight"/>
                <a:ea typeface="Segoe UI" pitchFamily="34" charset="0"/>
                <a:cs typeface="Segoe UI" pitchFamily="34" charset="0"/>
              </a:rPr>
              <a:t>(</a:t>
            </a:r>
            <a:r>
              <a:rPr lang="en-US" sz="1765" err="1">
                <a:solidFill>
                  <a:srgbClr val="505050"/>
                </a:solidFill>
                <a:latin typeface="Segoe UI Semilight"/>
                <a:ea typeface="Segoe UI" pitchFamily="34" charset="0"/>
                <a:cs typeface="Segoe UI" pitchFamily="34" charset="0"/>
              </a:rPr>
              <a:t>LogicApps</a:t>
            </a:r>
            <a:r>
              <a:rPr lang="en-US" sz="1765">
                <a:solidFill>
                  <a:srgbClr val="505050"/>
                </a:solidFill>
                <a:latin typeface="Segoe UI Semilight"/>
                <a:ea typeface="Segoe UI" pitchFamily="34" charset="0"/>
                <a:cs typeface="Segoe UI" pitchFamily="34" charset="0"/>
              </a:rPr>
              <a:t>)</a:t>
            </a:r>
          </a:p>
        </p:txBody>
      </p:sp>
      <p:cxnSp>
        <p:nvCxnSpPr>
          <p:cNvPr id="81" name="Conn - Twitter to Listener">
            <a:extLst>
              <a:ext uri="{FF2B5EF4-FFF2-40B4-BE49-F238E27FC236}">
                <a16:creationId xmlns:a16="http://schemas.microsoft.com/office/drawing/2014/main" id="{16E588C8-03F0-4DD2-ABC2-77A0B65AECC6}"/>
              </a:ext>
            </a:extLst>
          </p:cNvPr>
          <p:cNvCxnSpPr>
            <a:cxnSpLocks/>
            <a:stCxn id="75" idx="3"/>
            <a:endCxn id="69" idx="1"/>
          </p:cNvCxnSpPr>
          <p:nvPr/>
        </p:nvCxnSpPr>
        <p:spPr>
          <a:xfrm>
            <a:off x="8677316" y="2538532"/>
            <a:ext cx="522784" cy="1140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Conn - Twitter to Listener">
            <a:extLst>
              <a:ext uri="{FF2B5EF4-FFF2-40B4-BE49-F238E27FC236}">
                <a16:creationId xmlns:a16="http://schemas.microsoft.com/office/drawing/2014/main" id="{87CD9892-FD21-4C67-99B5-72CAA0446CE6}"/>
              </a:ext>
            </a:extLst>
          </p:cNvPr>
          <p:cNvCxnSpPr>
            <a:cxnSpLocks/>
            <a:stCxn id="68" idx="2"/>
            <a:endCxn id="23" idx="0"/>
          </p:cNvCxnSpPr>
          <p:nvPr/>
        </p:nvCxnSpPr>
        <p:spPr>
          <a:xfrm>
            <a:off x="10633765" y="3109182"/>
            <a:ext cx="10367" cy="817024"/>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3A9B8A3-3B2D-4D23-A4E0-68C7F9032D5B}"/>
              </a:ext>
            </a:extLst>
          </p:cNvPr>
          <p:cNvSpPr/>
          <p:nvPr/>
        </p:nvSpPr>
        <p:spPr bwMode="auto">
          <a:xfrm>
            <a:off x="-306372" y="-101559"/>
            <a:ext cx="12568157" cy="70611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A9FF226F-9B1C-477F-A95C-600040450B78}"/>
              </a:ext>
            </a:extLst>
          </p:cNvPr>
          <p:cNvSpPr/>
          <p:nvPr/>
        </p:nvSpPr>
        <p:spPr bwMode="auto">
          <a:xfrm>
            <a:off x="1668710" y="2703156"/>
            <a:ext cx="7378532"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a:gradFill>
                  <a:gsLst>
                    <a:gs pos="0">
                      <a:srgbClr val="FFFFFF"/>
                    </a:gs>
                    <a:gs pos="100000">
                      <a:srgbClr val="FFFFFF"/>
                    </a:gs>
                  </a:gsLst>
                  <a:lin ang="5400000" scaled="0"/>
                </a:gradFill>
                <a:latin typeface="Segoe UI Semilight"/>
                <a:ea typeface="Segoe UI" pitchFamily="34" charset="0"/>
                <a:cs typeface="Segoe UI" pitchFamily="34" charset="0"/>
              </a:rPr>
              <a:t>Demo</a:t>
            </a:r>
          </a:p>
        </p:txBody>
      </p:sp>
    </p:spTree>
    <p:extLst>
      <p:ext uri="{BB962C8B-B14F-4D97-AF65-F5344CB8AC3E}">
        <p14:creationId xmlns:p14="http://schemas.microsoft.com/office/powerpoint/2010/main" val="2401376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
                                        <p:tgtEl>
                                          <p:spTgt spid="106"/>
                                        </p:tgtEl>
                                      </p:cBhvr>
                                    </p:animEffect>
                                    <p:set>
                                      <p:cBhvr>
                                        <p:cTn id="7" dur="1" fill="hold">
                                          <p:stCondLst>
                                            <p:cond delay="9"/>
                                          </p:stCondLst>
                                        </p:cTn>
                                        <p:tgtEl>
                                          <p:spTgt spid="10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10"/>
                                        <p:tgtEl>
                                          <p:spTgt spid="105"/>
                                        </p:tgtEl>
                                      </p:cBhvr>
                                    </p:animEffect>
                                  </p:childTnLst>
                                </p:cTn>
                              </p:par>
                              <p:par>
                                <p:cTn id="11" presetID="10" presetClass="exit" presetSubtype="0" fill="hold" grpId="0" nodeType="withEffect">
                                  <p:stCondLst>
                                    <p:cond delay="0"/>
                                  </p:stCondLst>
                                  <p:childTnLst>
                                    <p:animEffect transition="out" filter="fade">
                                      <p:cBhvr>
                                        <p:cTn id="12" dur="10"/>
                                        <p:tgtEl>
                                          <p:spTgt spid="107"/>
                                        </p:tgtEl>
                                      </p:cBhvr>
                                    </p:animEffect>
                                    <p:set>
                                      <p:cBhvr>
                                        <p:cTn id="13" dur="1" fill="hold">
                                          <p:stCondLst>
                                            <p:cond delay="9"/>
                                          </p:stCondLst>
                                        </p:cTn>
                                        <p:tgtEl>
                                          <p:spTgt spid="107"/>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92"/>
                                        </p:tgtEl>
                                        <p:attrNameLst>
                                          <p:attrName>style.visibility</p:attrName>
                                        </p:attrNameLst>
                                      </p:cBhvr>
                                      <p:to>
                                        <p:strVal val="visible"/>
                                      </p:to>
                                    </p:set>
                                    <p:animEffect transition="in" filter="fade">
                                      <p:cBhvr>
                                        <p:cTn id="16" dur="10"/>
                                        <p:tgtEl>
                                          <p:spTgt spid="92"/>
                                        </p:tgtEl>
                                      </p:cBhvr>
                                    </p:animEffect>
                                  </p:childTnLst>
                                </p:cTn>
                              </p:par>
                              <p:par>
                                <p:cTn id="17" presetID="10" presetClass="entr" presetSubtype="0" fill="hold" nodeType="withEffect">
                                  <p:stCondLst>
                                    <p:cond delay="0"/>
                                  </p:stCondLst>
                                  <p:childTnLst>
                                    <p:set>
                                      <p:cBhvr>
                                        <p:cTn id="18" dur="1" fill="hold">
                                          <p:stCondLst>
                                            <p:cond delay="0"/>
                                          </p:stCondLst>
                                        </p:cTn>
                                        <p:tgtEl>
                                          <p:spTgt spid="50">
                                            <p:txEl>
                                              <p:pRg st="1" end="1"/>
                                            </p:txEl>
                                          </p:spTgt>
                                        </p:tgtEl>
                                        <p:attrNameLst>
                                          <p:attrName>style.visibility</p:attrName>
                                        </p:attrNameLst>
                                      </p:cBhvr>
                                      <p:to>
                                        <p:strVal val="visible"/>
                                      </p:to>
                                    </p:set>
                                    <p:animEffect transition="in" filter="fade">
                                      <p:cBhvr>
                                        <p:cTn id="19" dur="10"/>
                                        <p:tgtEl>
                                          <p:spTgt spid="50">
                                            <p:txEl>
                                              <p:pRg st="1" end="1"/>
                                            </p:txEl>
                                          </p:spTgt>
                                        </p:tgtEl>
                                      </p:cBhvr>
                                    </p:animEffect>
                                  </p:childTnLst>
                                </p:cTn>
                              </p:par>
                              <p:par>
                                <p:cTn id="20" presetID="1" presetClass="emph" presetSubtype="2" fill="hold" nodeType="withEffect">
                                  <p:stCondLst>
                                    <p:cond delay="0"/>
                                  </p:stCondLst>
                                  <p:childTnLst>
                                    <p:animClr clrSpc="rgb" dir="cw">
                                      <p:cBhvr>
                                        <p:cTn id="21" dur="10" fill="hold"/>
                                        <p:tgtEl>
                                          <p:spTgt spid="91"/>
                                        </p:tgtEl>
                                        <p:attrNameLst>
                                          <p:attrName>fillcolor</p:attrName>
                                        </p:attrNameLst>
                                      </p:cBhvr>
                                      <p:to>
                                        <a:srgbClr val="C4E4FF"/>
                                      </p:to>
                                    </p:animClr>
                                    <p:set>
                                      <p:cBhvr>
                                        <p:cTn id="22" dur="10" fill="hold"/>
                                        <p:tgtEl>
                                          <p:spTgt spid="91"/>
                                        </p:tgtEl>
                                        <p:attrNameLst>
                                          <p:attrName>fill.type</p:attrName>
                                        </p:attrNameLst>
                                      </p:cBhvr>
                                      <p:to>
                                        <p:strVal val="solid"/>
                                      </p:to>
                                    </p:set>
                                    <p:set>
                                      <p:cBhvr>
                                        <p:cTn id="23" dur="10" fill="hold"/>
                                        <p:tgtEl>
                                          <p:spTgt spid="91"/>
                                        </p:tgtEl>
                                        <p:attrNameLst>
                                          <p:attrName>fill.on</p:attrName>
                                        </p:attrNameLst>
                                      </p:cBhvr>
                                      <p:to>
                                        <p:strVal val="true"/>
                                      </p:to>
                                    </p:set>
                                  </p:childTnLst>
                                </p:cTn>
                              </p:par>
                              <p:par>
                                <p:cTn id="24" presetID="1" presetClass="emph" presetSubtype="2" fill="hold" nodeType="withEffect">
                                  <p:stCondLst>
                                    <p:cond delay="0"/>
                                  </p:stCondLst>
                                  <p:childTnLst>
                                    <p:animClr clrSpc="rgb" dir="cw">
                                      <p:cBhvr>
                                        <p:cTn id="25" dur="10" fill="hold"/>
                                        <p:tgtEl>
                                          <p:spTgt spid="103"/>
                                        </p:tgtEl>
                                        <p:attrNameLst>
                                          <p:attrName>fillcolor</p:attrName>
                                        </p:attrNameLst>
                                      </p:cBhvr>
                                      <p:to>
                                        <a:srgbClr val="C4E4FF"/>
                                      </p:to>
                                    </p:animClr>
                                    <p:set>
                                      <p:cBhvr>
                                        <p:cTn id="26" dur="10" fill="hold"/>
                                        <p:tgtEl>
                                          <p:spTgt spid="103"/>
                                        </p:tgtEl>
                                        <p:attrNameLst>
                                          <p:attrName>fill.type</p:attrName>
                                        </p:attrNameLst>
                                      </p:cBhvr>
                                      <p:to>
                                        <p:strVal val="solid"/>
                                      </p:to>
                                    </p:set>
                                    <p:set>
                                      <p:cBhvr>
                                        <p:cTn id="27" dur="10" fill="hold"/>
                                        <p:tgtEl>
                                          <p:spTgt spid="103"/>
                                        </p:tgtEl>
                                        <p:attrNameLst>
                                          <p:attrName>fill.on</p:attrName>
                                        </p:attrNameLst>
                                      </p:cBhvr>
                                      <p:to>
                                        <p:strVal val="true"/>
                                      </p:to>
                                    </p:set>
                                  </p:childTnLst>
                                </p:cTn>
                              </p:par>
                              <p:par>
                                <p:cTn id="28" presetID="10" presetClass="entr" presetSubtype="0" fill="hold" nodeType="withEffect">
                                  <p:stCondLst>
                                    <p:cond delay="0"/>
                                  </p:stCondLst>
                                  <p:childTnLst>
                                    <p:set>
                                      <p:cBhvr>
                                        <p:cTn id="29" dur="1" fill="hold">
                                          <p:stCondLst>
                                            <p:cond delay="0"/>
                                          </p:stCondLst>
                                        </p:cTn>
                                        <p:tgtEl>
                                          <p:spTgt spid="76"/>
                                        </p:tgtEl>
                                        <p:attrNameLst>
                                          <p:attrName>style.visibility</p:attrName>
                                        </p:attrNameLst>
                                      </p:cBhvr>
                                      <p:to>
                                        <p:strVal val="visible"/>
                                      </p:to>
                                    </p:set>
                                    <p:animEffect transition="in" filter="fade">
                                      <p:cBhvr>
                                        <p:cTn id="30" dur="10"/>
                                        <p:tgtEl>
                                          <p:spTgt spid="76"/>
                                        </p:tgtEl>
                                      </p:cBhvr>
                                    </p:animEffect>
                                  </p:childTnLst>
                                </p:cTn>
                              </p:par>
                              <p:par>
                                <p:cTn id="31" presetID="10" presetClass="exit" presetSubtype="0" fill="hold" grpId="0" nodeType="withEffect">
                                  <p:stCondLst>
                                    <p:cond delay="0"/>
                                  </p:stCondLst>
                                  <p:childTnLst>
                                    <p:animEffect transition="out" filter="fade">
                                      <p:cBhvr>
                                        <p:cTn id="32" dur="10"/>
                                        <p:tgtEl>
                                          <p:spTgt spid="103"/>
                                        </p:tgtEl>
                                      </p:cBhvr>
                                    </p:animEffect>
                                    <p:set>
                                      <p:cBhvr>
                                        <p:cTn id="33" dur="1" fill="hold">
                                          <p:stCondLst>
                                            <p:cond delay="9"/>
                                          </p:stCondLst>
                                        </p:cTn>
                                        <p:tgtEl>
                                          <p:spTgt spid="103"/>
                                        </p:tgtEl>
                                        <p:attrNameLst>
                                          <p:attrName>style.visibility</p:attrName>
                                        </p:attrNameLst>
                                      </p:cBhvr>
                                      <p:to>
                                        <p:strVal val="hidden"/>
                                      </p:to>
                                    </p:set>
                                  </p:childTnLst>
                                </p:cTn>
                              </p:par>
                              <p:par>
                                <p:cTn id="34" presetID="10" presetClass="entr" presetSubtype="0"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10"/>
                                        <p:tgtEl>
                                          <p:spTgt spid="11"/>
                                        </p:tgtEl>
                                      </p:cBhvr>
                                    </p:animEffect>
                                  </p:childTnLst>
                                </p:cTn>
                              </p:par>
                              <p:par>
                                <p:cTn id="37" presetID="10" presetClass="entr" presetSubtype="0" fill="hold" nodeType="with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10"/>
                                        <p:tgtEl>
                                          <p:spTgt spid="62"/>
                                        </p:tgtEl>
                                      </p:cBhvr>
                                    </p:animEffect>
                                  </p:childTnLst>
                                </p:cTn>
                              </p:par>
                              <p:par>
                                <p:cTn id="40" presetID="10" presetClass="entr" presetSubtype="0" fill="hold"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10"/>
                                        <p:tgtEl>
                                          <p:spTgt spid="63"/>
                                        </p:tgtEl>
                                      </p:cBhvr>
                                    </p:animEffect>
                                  </p:childTnLst>
                                </p:cTn>
                              </p:par>
                              <p:par>
                                <p:cTn id="43" presetID="10" presetClass="entr" presetSubtype="0" fill="hold" nodeType="with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10"/>
                                        <p:tgtEl>
                                          <p:spTgt spid="43"/>
                                        </p:tgtEl>
                                      </p:cBhvr>
                                    </p:animEffect>
                                  </p:childTnLst>
                                </p:cTn>
                              </p:par>
                              <p:par>
                                <p:cTn id="46" presetID="22" presetClass="entr" presetSubtype="1" fill="hold" grpId="0"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wipe(up)">
                                      <p:cBhvr>
                                        <p:cTn id="48" dur="10"/>
                                        <p:tgtEl>
                                          <p:spTgt spid="17"/>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up)">
                                      <p:cBhvr>
                                        <p:cTn id="51" dur="10"/>
                                        <p:tgtEl>
                                          <p:spTgt spid="18"/>
                                        </p:tgtEl>
                                      </p:cBhvr>
                                    </p:animEffect>
                                  </p:childTnLst>
                                </p:cTn>
                              </p:par>
                              <p:par>
                                <p:cTn id="52" presetID="10" presetClass="entr" presetSubtype="0" fill="hold" nodeType="with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10"/>
                                        <p:tgtEl>
                                          <p:spTgt spid="19"/>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21"/>
                                        </p:tgtEl>
                                        <p:attrNameLst>
                                          <p:attrName>style.visibility</p:attrName>
                                        </p:attrNameLst>
                                      </p:cBhvr>
                                      <p:to>
                                        <p:strVal val="visible"/>
                                      </p:to>
                                    </p:set>
                                    <p:animEffect transition="in" filter="wipe(up)">
                                      <p:cBhvr>
                                        <p:cTn id="57" dur="10"/>
                                        <p:tgtEl>
                                          <p:spTgt spid="21"/>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wipe(up)">
                                      <p:cBhvr>
                                        <p:cTn id="60" dur="10"/>
                                        <p:tgtEl>
                                          <p:spTgt spid="20"/>
                                        </p:tgtEl>
                                      </p:cBhvr>
                                    </p:animEffect>
                                  </p:childTnLst>
                                </p:cTn>
                              </p:par>
                              <p:par>
                                <p:cTn id="61" presetID="10" presetClass="exit" presetSubtype="0" fill="hold" grpId="0" nodeType="withEffect">
                                  <p:stCondLst>
                                    <p:cond delay="0"/>
                                  </p:stCondLst>
                                  <p:childTnLst>
                                    <p:animEffect transition="out" filter="fade">
                                      <p:cBhvr>
                                        <p:cTn id="62" dur="10"/>
                                        <p:tgtEl>
                                          <p:spTgt spid="91"/>
                                        </p:tgtEl>
                                      </p:cBhvr>
                                    </p:animEffect>
                                    <p:set>
                                      <p:cBhvr>
                                        <p:cTn id="63" dur="1" fill="hold">
                                          <p:stCondLst>
                                            <p:cond delay="9"/>
                                          </p:stCondLst>
                                        </p:cTn>
                                        <p:tgtEl>
                                          <p:spTgt spid="91"/>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10"/>
                                        <p:tgtEl>
                                          <p:spTgt spid="92"/>
                                        </p:tgtEl>
                                      </p:cBhvr>
                                    </p:animEffect>
                                    <p:set>
                                      <p:cBhvr>
                                        <p:cTn id="66" dur="1" fill="hold">
                                          <p:stCondLst>
                                            <p:cond delay="9"/>
                                          </p:stCondLst>
                                        </p:cTn>
                                        <p:tgtEl>
                                          <p:spTgt spid="92"/>
                                        </p:tgtEl>
                                        <p:attrNameLst>
                                          <p:attrName>style.visibility</p:attrName>
                                        </p:attrNameLst>
                                      </p:cBhvr>
                                      <p:to>
                                        <p:strVal val="hidden"/>
                                      </p:to>
                                    </p:set>
                                  </p:childTnLst>
                                </p:cTn>
                              </p:par>
                              <p:par>
                                <p:cTn id="67" presetID="10" presetClass="entr" presetSubtype="0" fill="hold" nodeType="withEffect">
                                  <p:stCondLst>
                                    <p:cond delay="0"/>
                                  </p:stCondLst>
                                  <p:childTnLst>
                                    <p:set>
                                      <p:cBhvr>
                                        <p:cTn id="68" dur="1" fill="hold">
                                          <p:stCondLst>
                                            <p:cond delay="0"/>
                                          </p:stCondLst>
                                        </p:cTn>
                                        <p:tgtEl>
                                          <p:spTgt spid="74"/>
                                        </p:tgtEl>
                                        <p:attrNameLst>
                                          <p:attrName>style.visibility</p:attrName>
                                        </p:attrNameLst>
                                      </p:cBhvr>
                                      <p:to>
                                        <p:strVal val="visible"/>
                                      </p:to>
                                    </p:set>
                                    <p:animEffect transition="in" filter="fade">
                                      <p:cBhvr>
                                        <p:cTn id="69" dur="10"/>
                                        <p:tgtEl>
                                          <p:spTgt spid="74"/>
                                        </p:tgtEl>
                                      </p:cBhvr>
                                    </p:animEffect>
                                  </p:childTnLst>
                                </p:cTn>
                              </p:par>
                              <p:par>
                                <p:cTn id="70" presetID="10" presetClass="entr" presetSubtype="0" fill="hold" nodeType="withEffect">
                                  <p:stCondLst>
                                    <p:cond delay="0"/>
                                  </p:stCondLst>
                                  <p:childTnLst>
                                    <p:set>
                                      <p:cBhvr>
                                        <p:cTn id="71" dur="1" fill="hold">
                                          <p:stCondLst>
                                            <p:cond delay="0"/>
                                          </p:stCondLst>
                                        </p:cTn>
                                        <p:tgtEl>
                                          <p:spTgt spid="50">
                                            <p:txEl>
                                              <p:pRg st="2" end="2"/>
                                            </p:txEl>
                                          </p:spTgt>
                                        </p:tgtEl>
                                        <p:attrNameLst>
                                          <p:attrName>style.visibility</p:attrName>
                                        </p:attrNameLst>
                                      </p:cBhvr>
                                      <p:to>
                                        <p:strVal val="visible"/>
                                      </p:to>
                                    </p:set>
                                    <p:animEffect transition="in" filter="fade">
                                      <p:cBhvr>
                                        <p:cTn id="72" dur="10"/>
                                        <p:tgtEl>
                                          <p:spTgt spid="50">
                                            <p:txEl>
                                              <p:pRg st="2" end="2"/>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77"/>
                                        </p:tgtEl>
                                        <p:attrNameLst>
                                          <p:attrName>style.visibility</p:attrName>
                                        </p:attrNameLst>
                                      </p:cBhvr>
                                      <p:to>
                                        <p:strVal val="visible"/>
                                      </p:to>
                                    </p:set>
                                    <p:animEffect transition="in" filter="fade">
                                      <p:cBhvr>
                                        <p:cTn id="75" dur="10"/>
                                        <p:tgtEl>
                                          <p:spTgt spid="77"/>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1"/>
                                        </p:tgtEl>
                                        <p:attrNameLst>
                                          <p:attrName>style.visibility</p:attrName>
                                        </p:attrNameLst>
                                      </p:cBhvr>
                                      <p:to>
                                        <p:strVal val="visible"/>
                                      </p:to>
                                    </p:set>
                                    <p:animEffect transition="in" filter="fade">
                                      <p:cBhvr>
                                        <p:cTn id="80" dur="500"/>
                                        <p:tgtEl>
                                          <p:spTgt spid="41"/>
                                        </p:tgtEl>
                                      </p:cBhvr>
                                    </p:animEffect>
                                  </p:childTnLst>
                                </p:cTn>
                              </p:par>
                              <p:par>
                                <p:cTn id="81" presetID="10" presetClass="entr" presetSubtype="0" fill="hold" nodeType="withEffect">
                                  <p:stCondLst>
                                    <p:cond delay="0"/>
                                  </p:stCondLst>
                                  <p:childTnLst>
                                    <p:set>
                                      <p:cBhvr>
                                        <p:cTn id="82" dur="1" fill="hold">
                                          <p:stCondLst>
                                            <p:cond delay="0"/>
                                          </p:stCondLst>
                                        </p:cTn>
                                        <p:tgtEl>
                                          <p:spTgt spid="1026"/>
                                        </p:tgtEl>
                                        <p:attrNameLst>
                                          <p:attrName>style.visibility</p:attrName>
                                        </p:attrNameLst>
                                      </p:cBhvr>
                                      <p:to>
                                        <p:strVal val="visible"/>
                                      </p:to>
                                    </p:set>
                                    <p:animEffect transition="in" filter="fade">
                                      <p:cBhvr>
                                        <p:cTn id="83" dur="500"/>
                                        <p:tgtEl>
                                          <p:spTgt spid="1026"/>
                                        </p:tgtEl>
                                      </p:cBhvr>
                                    </p:animEffect>
                                  </p:childTnLst>
                                </p:cTn>
                              </p:par>
                            </p:childTnLst>
                          </p:cTn>
                        </p:par>
                        <p:par>
                          <p:cTn id="84" fill="hold">
                            <p:stCondLst>
                              <p:cond delay="500"/>
                            </p:stCondLst>
                            <p:childTnLst>
                              <p:par>
                                <p:cTn id="85" presetID="22" presetClass="entr" presetSubtype="1" fill="hold" nodeType="after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wipe(up)">
                                      <p:cBhvr>
                                        <p:cTn id="87" dur="500"/>
                                        <p:tgtEl>
                                          <p:spTgt spid="42"/>
                                        </p:tgtEl>
                                      </p:cBhvr>
                                    </p:animEffect>
                                  </p:childTnLst>
                                </p:cTn>
                              </p:par>
                            </p:childTnLst>
                          </p:cTn>
                        </p:par>
                        <p:par>
                          <p:cTn id="88" fill="hold">
                            <p:stCondLst>
                              <p:cond delay="1000"/>
                            </p:stCondLst>
                            <p:childTnLst>
                              <p:par>
                                <p:cTn id="89" presetID="10" presetClass="entr" presetSubtype="0" fill="hold" grpId="0" nodeType="afterEffect">
                                  <p:stCondLst>
                                    <p:cond delay="0"/>
                                  </p:stCondLst>
                                  <p:childTnLst>
                                    <p:set>
                                      <p:cBhvr>
                                        <p:cTn id="90" dur="1" fill="hold">
                                          <p:stCondLst>
                                            <p:cond delay="0"/>
                                          </p:stCondLst>
                                        </p:cTn>
                                        <p:tgtEl>
                                          <p:spTgt spid="75"/>
                                        </p:tgtEl>
                                        <p:attrNameLst>
                                          <p:attrName>style.visibility</p:attrName>
                                        </p:attrNameLst>
                                      </p:cBhvr>
                                      <p:to>
                                        <p:strVal val="visible"/>
                                      </p:to>
                                    </p:set>
                                    <p:animEffect transition="in" filter="fade">
                                      <p:cBhvr>
                                        <p:cTn id="91" dur="500"/>
                                        <p:tgtEl>
                                          <p:spTgt spid="75"/>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fade">
                                      <p:cBhvr>
                                        <p:cTn id="94" dur="500"/>
                                        <p:tgtEl>
                                          <p:spTgt spid="31"/>
                                        </p:tgtEl>
                                      </p:cBhvr>
                                    </p:animEffect>
                                  </p:childTnLst>
                                </p:cTn>
                              </p:par>
                              <p:par>
                                <p:cTn id="95" presetID="10" presetClass="entr" presetSubtype="0" fill="hold" nodeType="withEffect">
                                  <p:stCondLst>
                                    <p:cond delay="0"/>
                                  </p:stCondLst>
                                  <p:childTnLst>
                                    <p:set>
                                      <p:cBhvr>
                                        <p:cTn id="96" dur="1" fill="hold">
                                          <p:stCondLst>
                                            <p:cond delay="0"/>
                                          </p:stCondLst>
                                        </p:cTn>
                                        <p:tgtEl>
                                          <p:spTgt spid="79"/>
                                        </p:tgtEl>
                                        <p:attrNameLst>
                                          <p:attrName>style.visibility</p:attrName>
                                        </p:attrNameLst>
                                      </p:cBhvr>
                                      <p:to>
                                        <p:strVal val="visible"/>
                                      </p:to>
                                    </p:set>
                                    <p:animEffect transition="in" filter="fade">
                                      <p:cBhvr>
                                        <p:cTn id="97" dur="500"/>
                                        <p:tgtEl>
                                          <p:spTgt spid="79"/>
                                        </p:tgtEl>
                                      </p:cBhvr>
                                    </p:animEffect>
                                  </p:childTnLst>
                                </p:cTn>
                              </p:par>
                            </p:childTnLst>
                          </p:cTn>
                        </p:par>
                        <p:par>
                          <p:cTn id="98" fill="hold">
                            <p:stCondLst>
                              <p:cond delay="1500"/>
                            </p:stCondLst>
                            <p:childTnLst>
                              <p:par>
                                <p:cTn id="99" presetID="22" presetClass="entr" presetSubtype="8" fill="hold" nodeType="afterEffect">
                                  <p:stCondLst>
                                    <p:cond delay="0"/>
                                  </p:stCondLst>
                                  <p:childTnLst>
                                    <p:set>
                                      <p:cBhvr>
                                        <p:cTn id="100" dur="1" fill="hold">
                                          <p:stCondLst>
                                            <p:cond delay="0"/>
                                          </p:stCondLst>
                                        </p:cTn>
                                        <p:tgtEl>
                                          <p:spTgt spid="81"/>
                                        </p:tgtEl>
                                        <p:attrNameLst>
                                          <p:attrName>style.visibility</p:attrName>
                                        </p:attrNameLst>
                                      </p:cBhvr>
                                      <p:to>
                                        <p:strVal val="visible"/>
                                      </p:to>
                                    </p:set>
                                    <p:animEffect transition="in" filter="wipe(left)">
                                      <p:cBhvr>
                                        <p:cTn id="101" dur="500"/>
                                        <p:tgtEl>
                                          <p:spTgt spid="81"/>
                                        </p:tgtEl>
                                      </p:cBhvr>
                                    </p:animEffect>
                                  </p:childTnLst>
                                </p:cTn>
                              </p:par>
                            </p:childTnLst>
                          </p:cTn>
                        </p:par>
                        <p:par>
                          <p:cTn id="102" fill="hold">
                            <p:stCondLst>
                              <p:cond delay="2000"/>
                            </p:stCondLst>
                            <p:childTnLst>
                              <p:par>
                                <p:cTn id="103" presetID="10" presetClass="entr" presetSubtype="0" fill="hold" nodeType="afterEffect">
                                  <p:stCondLst>
                                    <p:cond delay="0"/>
                                  </p:stCondLst>
                                  <p:childTnLst>
                                    <p:set>
                                      <p:cBhvr>
                                        <p:cTn id="104" dur="1" fill="hold">
                                          <p:stCondLst>
                                            <p:cond delay="0"/>
                                          </p:stCondLst>
                                        </p:cTn>
                                        <p:tgtEl>
                                          <p:spTgt spid="67"/>
                                        </p:tgtEl>
                                        <p:attrNameLst>
                                          <p:attrName>style.visibility</p:attrName>
                                        </p:attrNameLst>
                                      </p:cBhvr>
                                      <p:to>
                                        <p:strVal val="visible"/>
                                      </p:to>
                                    </p:set>
                                    <p:animEffect transition="in" filter="fade">
                                      <p:cBhvr>
                                        <p:cTn id="105" dur="500"/>
                                        <p:tgtEl>
                                          <p:spTgt spid="67"/>
                                        </p:tgtEl>
                                      </p:cBhvr>
                                    </p:animEffect>
                                  </p:childTnLst>
                                </p:cTn>
                              </p:par>
                            </p:childTnLst>
                          </p:cTn>
                        </p:par>
                        <p:par>
                          <p:cTn id="106" fill="hold">
                            <p:stCondLst>
                              <p:cond delay="2500"/>
                            </p:stCondLst>
                            <p:childTnLst>
                              <p:par>
                                <p:cTn id="107" presetID="22" presetClass="entr" presetSubtype="1" fill="hold" nodeType="afterEffect">
                                  <p:stCondLst>
                                    <p:cond delay="0"/>
                                  </p:stCondLst>
                                  <p:childTnLst>
                                    <p:set>
                                      <p:cBhvr>
                                        <p:cTn id="108" dur="1" fill="hold">
                                          <p:stCondLst>
                                            <p:cond delay="0"/>
                                          </p:stCondLst>
                                        </p:cTn>
                                        <p:tgtEl>
                                          <p:spTgt spid="83"/>
                                        </p:tgtEl>
                                        <p:attrNameLst>
                                          <p:attrName>style.visibility</p:attrName>
                                        </p:attrNameLst>
                                      </p:cBhvr>
                                      <p:to>
                                        <p:strVal val="visible"/>
                                      </p:to>
                                    </p:set>
                                    <p:animEffect transition="in" filter="wipe(up)">
                                      <p:cBhvr>
                                        <p:cTn id="109" dur="500"/>
                                        <p:tgtEl>
                                          <p:spTgt spid="83"/>
                                        </p:tgtEl>
                                      </p:cBhvr>
                                    </p:animEffect>
                                  </p:childTnLst>
                                </p:cTn>
                              </p:par>
                              <p:par>
                                <p:cTn id="110" presetID="10" presetClass="entr" presetSubtype="0" fill="hold" nodeType="withEffect">
                                  <p:stCondLst>
                                    <p:cond delay="0"/>
                                  </p:stCondLst>
                                  <p:childTnLst>
                                    <p:set>
                                      <p:cBhvr>
                                        <p:cTn id="111" dur="1" fill="hold">
                                          <p:stCondLst>
                                            <p:cond delay="0"/>
                                          </p:stCondLst>
                                        </p:cTn>
                                        <p:tgtEl>
                                          <p:spTgt spid="66"/>
                                        </p:tgtEl>
                                        <p:attrNameLst>
                                          <p:attrName>style.visibility</p:attrName>
                                        </p:attrNameLst>
                                      </p:cBhvr>
                                      <p:to>
                                        <p:strVal val="visible"/>
                                      </p:to>
                                    </p:set>
                                    <p:animEffect transition="in" filter="fade">
                                      <p:cBhvr>
                                        <p:cTn id="112" dur="500"/>
                                        <p:tgtEl>
                                          <p:spTgt spid="66"/>
                                        </p:tgtEl>
                                      </p:cBhvr>
                                    </p:animEffect>
                                  </p:childTnLst>
                                </p:cTn>
                              </p:par>
                            </p:childTnLst>
                          </p:cTn>
                        </p:par>
                        <p:par>
                          <p:cTn id="113" fill="hold">
                            <p:stCondLst>
                              <p:cond delay="3000"/>
                            </p:stCondLst>
                            <p:childTnLst>
                              <p:par>
                                <p:cTn id="114" presetID="22" presetClass="entr" presetSubtype="2" fill="hold" nodeType="afterEffect">
                                  <p:stCondLst>
                                    <p:cond delay="0"/>
                                  </p:stCondLst>
                                  <p:childTnLst>
                                    <p:set>
                                      <p:cBhvr>
                                        <p:cTn id="115" dur="1" fill="hold">
                                          <p:stCondLst>
                                            <p:cond delay="0"/>
                                          </p:stCondLst>
                                        </p:cTn>
                                        <p:tgtEl>
                                          <p:spTgt spid="33"/>
                                        </p:tgtEl>
                                        <p:attrNameLst>
                                          <p:attrName>style.visibility</p:attrName>
                                        </p:attrNameLst>
                                      </p:cBhvr>
                                      <p:to>
                                        <p:strVal val="visible"/>
                                      </p:to>
                                    </p:set>
                                    <p:animEffect transition="in" filter="wipe(right)">
                                      <p:cBhvr>
                                        <p:cTn id="116" dur="500"/>
                                        <p:tgtEl>
                                          <p:spTgt spid="33"/>
                                        </p:tgtEl>
                                      </p:cBhvr>
                                    </p:animEffect>
                                  </p:childTnLst>
                                </p:cTn>
                              </p:par>
                            </p:childTnLst>
                          </p:cTn>
                        </p:par>
                        <p:par>
                          <p:cTn id="117" fill="hold">
                            <p:stCondLst>
                              <p:cond delay="3500"/>
                            </p:stCondLst>
                            <p:childTnLst>
                              <p:par>
                                <p:cTn id="118" presetID="10" presetClass="entr" presetSubtype="0" fill="hold" nodeType="afterEffect">
                                  <p:stCondLst>
                                    <p:cond delay="0"/>
                                  </p:stCondLst>
                                  <p:childTnLst>
                                    <p:set>
                                      <p:cBhvr>
                                        <p:cTn id="119" dur="1" fill="hold">
                                          <p:stCondLst>
                                            <p:cond delay="0"/>
                                          </p:stCondLst>
                                        </p:cTn>
                                        <p:tgtEl>
                                          <p:spTgt spid="64"/>
                                        </p:tgtEl>
                                        <p:attrNameLst>
                                          <p:attrName>style.visibility</p:attrName>
                                        </p:attrNameLst>
                                      </p:cBhvr>
                                      <p:to>
                                        <p:strVal val="visible"/>
                                      </p:to>
                                    </p:set>
                                    <p:animEffect transition="in" filter="fade">
                                      <p:cBhvr>
                                        <p:cTn id="120" dur="500"/>
                                        <p:tgtEl>
                                          <p:spTgt spid="64"/>
                                        </p:tgtEl>
                                      </p:cBhvr>
                                    </p:animEffect>
                                  </p:childTnLst>
                                </p:cTn>
                              </p:par>
                            </p:childTnLst>
                          </p:cTn>
                        </p:par>
                        <p:par>
                          <p:cTn id="121" fill="hold">
                            <p:stCondLst>
                              <p:cond delay="4000"/>
                            </p:stCondLst>
                            <p:childTnLst>
                              <p:par>
                                <p:cTn id="122" presetID="22" presetClass="entr" presetSubtype="2" fill="hold" nodeType="afterEffect">
                                  <p:stCondLst>
                                    <p:cond delay="0"/>
                                  </p:stCondLst>
                                  <p:childTnLst>
                                    <p:set>
                                      <p:cBhvr>
                                        <p:cTn id="123" dur="1" fill="hold">
                                          <p:stCondLst>
                                            <p:cond delay="0"/>
                                          </p:stCondLst>
                                        </p:cTn>
                                        <p:tgtEl>
                                          <p:spTgt spid="82"/>
                                        </p:tgtEl>
                                        <p:attrNameLst>
                                          <p:attrName>style.visibility</p:attrName>
                                        </p:attrNameLst>
                                      </p:cBhvr>
                                      <p:to>
                                        <p:strVal val="visible"/>
                                      </p:to>
                                    </p:set>
                                    <p:animEffect transition="in" filter="wipe(right)">
                                      <p:cBhvr>
                                        <p:cTn id="124" dur="500"/>
                                        <p:tgtEl>
                                          <p:spTgt spid="82"/>
                                        </p:tgtEl>
                                      </p:cBhvr>
                                    </p:animEffect>
                                  </p:childTnLst>
                                </p:cTn>
                              </p:par>
                              <p:par>
                                <p:cTn id="125" presetID="10" presetClass="entr" presetSubtype="0" fill="hold" nodeType="withEffect">
                                  <p:stCondLst>
                                    <p:cond delay="0"/>
                                  </p:stCondLst>
                                  <p:childTnLst>
                                    <p:set>
                                      <p:cBhvr>
                                        <p:cTn id="126" dur="1" fill="hold">
                                          <p:stCondLst>
                                            <p:cond delay="0"/>
                                          </p:stCondLst>
                                        </p:cTn>
                                        <p:tgtEl>
                                          <p:spTgt spid="50">
                                            <p:txEl>
                                              <p:pRg st="3" end="3"/>
                                            </p:txEl>
                                          </p:spTgt>
                                        </p:tgtEl>
                                        <p:attrNameLst>
                                          <p:attrName>style.visibility</p:attrName>
                                        </p:attrNameLst>
                                      </p:cBhvr>
                                      <p:to>
                                        <p:strVal val="visible"/>
                                      </p:to>
                                    </p:set>
                                    <p:animEffect transition="in" filter="fade">
                                      <p:cBhvr>
                                        <p:cTn id="127" dur="500"/>
                                        <p:tgtEl>
                                          <p:spTgt spid="50">
                                            <p:txEl>
                                              <p:pRg st="3" end="3"/>
                                            </p:txEl>
                                          </p:spTgt>
                                        </p:tgtEl>
                                      </p:cBhvr>
                                    </p:animEffect>
                                  </p:childTnLst>
                                </p:cTn>
                              </p:par>
                            </p:childTnLst>
                          </p:cTn>
                        </p:par>
                        <p:par>
                          <p:cTn id="128" fill="hold">
                            <p:stCondLst>
                              <p:cond delay="4500"/>
                            </p:stCondLst>
                            <p:childTnLst>
                              <p:par>
                                <p:cTn id="129" presetID="10" presetClass="entr" presetSubtype="0" fill="hold" nodeType="afterEffect">
                                  <p:stCondLst>
                                    <p:cond delay="0"/>
                                  </p:stCondLst>
                                  <p:childTnLst>
                                    <p:set>
                                      <p:cBhvr>
                                        <p:cTn id="130" dur="1" fill="hold">
                                          <p:stCondLst>
                                            <p:cond delay="0"/>
                                          </p:stCondLst>
                                        </p:cTn>
                                        <p:tgtEl>
                                          <p:spTgt spid="78"/>
                                        </p:tgtEl>
                                        <p:attrNameLst>
                                          <p:attrName>style.visibility</p:attrName>
                                        </p:attrNameLst>
                                      </p:cBhvr>
                                      <p:to>
                                        <p:strVal val="visible"/>
                                      </p:to>
                                    </p:set>
                                    <p:animEffect transition="in" filter="fade">
                                      <p:cBhvr>
                                        <p:cTn id="131" dur="500"/>
                                        <p:tgtEl>
                                          <p:spTgt spid="78"/>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2"/>
                                        </p:tgtEl>
                                        <p:attrNameLst>
                                          <p:attrName>style.visibility</p:attrName>
                                        </p:attrNameLst>
                                      </p:cBhvr>
                                      <p:to>
                                        <p:strVal val="visible"/>
                                      </p:to>
                                    </p:set>
                                    <p:animEffect transition="in" filter="fade">
                                      <p:cBhvr>
                                        <p:cTn id="136" dur="500"/>
                                        <p:tgtEl>
                                          <p:spTgt spid="2"/>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6"/>
                                        </p:tgtEl>
                                        <p:attrNameLst>
                                          <p:attrName>style.visibility</p:attrName>
                                        </p:attrNameLst>
                                      </p:cBhvr>
                                      <p:to>
                                        <p:strVal val="visible"/>
                                      </p:to>
                                    </p:set>
                                    <p:animEffect transition="in" filter="fade">
                                      <p:cBhvr>
                                        <p:cTn id="139" dur="500"/>
                                        <p:tgtEl>
                                          <p:spTgt spid="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xit" presetSubtype="0" fill="hold" grpId="1" nodeType="clickEffect">
                                  <p:stCondLst>
                                    <p:cond delay="0"/>
                                  </p:stCondLst>
                                  <p:childTnLst>
                                    <p:animEffect transition="out" filter="fade">
                                      <p:cBhvr>
                                        <p:cTn id="143" dur="500"/>
                                        <p:tgtEl>
                                          <p:spTgt spid="2"/>
                                        </p:tgtEl>
                                      </p:cBhvr>
                                    </p:animEffect>
                                    <p:set>
                                      <p:cBhvr>
                                        <p:cTn id="144" dur="1" fill="hold">
                                          <p:stCondLst>
                                            <p:cond delay="499"/>
                                          </p:stCondLst>
                                        </p:cTn>
                                        <p:tgtEl>
                                          <p:spTgt spid="2"/>
                                        </p:tgtEl>
                                        <p:attrNameLst>
                                          <p:attrName>style.visibility</p:attrName>
                                        </p:attrNameLst>
                                      </p:cBhvr>
                                      <p:to>
                                        <p:strVal val="hidden"/>
                                      </p:to>
                                    </p:set>
                                  </p:childTnLst>
                                </p:cTn>
                              </p:par>
                              <p:par>
                                <p:cTn id="145" presetID="10" presetClass="exit" presetSubtype="0" fill="hold" grpId="1" nodeType="withEffect">
                                  <p:stCondLst>
                                    <p:cond delay="0"/>
                                  </p:stCondLst>
                                  <p:childTnLst>
                                    <p:animEffect transition="out" filter="fade">
                                      <p:cBhvr>
                                        <p:cTn id="146" dur="500"/>
                                        <p:tgtEl>
                                          <p:spTgt spid="6"/>
                                        </p:tgtEl>
                                      </p:cBhvr>
                                    </p:animEffect>
                                    <p:set>
                                      <p:cBhvr>
                                        <p:cTn id="147" dur="1" fill="hold">
                                          <p:stCondLst>
                                            <p:cond delay="499"/>
                                          </p:stCondLst>
                                        </p:cTn>
                                        <p:tgtEl>
                                          <p:spTgt spid="6"/>
                                        </p:tgtEl>
                                        <p:attrNameLst>
                                          <p:attrName>style.visibility</p:attrName>
                                        </p:attrNameLst>
                                      </p:cBhvr>
                                      <p:to>
                                        <p:strVal val="hidden"/>
                                      </p:to>
                                    </p:set>
                                  </p:childTnLst>
                                </p:cTn>
                              </p:par>
                            </p:childTnLst>
                          </p:cTn>
                        </p:par>
                        <p:par>
                          <p:cTn id="148" fill="hold">
                            <p:stCondLst>
                              <p:cond delay="500"/>
                            </p:stCondLst>
                            <p:childTnLst>
                              <p:par>
                                <p:cTn id="149" presetID="10" presetClass="entr" presetSubtype="0" fill="hold" grpId="0" nodeType="afterEffect">
                                  <p:stCondLst>
                                    <p:cond delay="0"/>
                                  </p:stCondLst>
                                  <p:childTnLst>
                                    <p:set>
                                      <p:cBhvr>
                                        <p:cTn id="150" dur="1" fill="hold">
                                          <p:stCondLst>
                                            <p:cond delay="0"/>
                                          </p:stCondLst>
                                        </p:cTn>
                                        <p:tgtEl>
                                          <p:spTgt spid="57"/>
                                        </p:tgtEl>
                                        <p:attrNameLst>
                                          <p:attrName>style.visibility</p:attrName>
                                        </p:attrNameLst>
                                      </p:cBhvr>
                                      <p:to>
                                        <p:strVal val="visible"/>
                                      </p:to>
                                    </p:set>
                                    <p:animEffect transition="in" filter="fade">
                                      <p:cBhvr>
                                        <p:cTn id="15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91" grpId="0" animBg="1"/>
      <p:bldP spid="107" grpId="0" animBg="1"/>
      <p:bldP spid="103" grpId="0" animBg="1"/>
      <p:bldP spid="106" grpId="0" animBg="1"/>
      <p:bldP spid="20" grpId="0" animBg="1"/>
      <p:bldP spid="21" grpId="0" animBg="1"/>
      <p:bldP spid="18" grpId="0" animBg="1"/>
      <p:bldP spid="17" grpId="0" animBg="1"/>
      <p:bldP spid="41" grpId="0" animBg="1"/>
      <p:bldP spid="75" grpId="0" animBg="1"/>
      <p:bldP spid="31" grpId="0"/>
      <p:bldP spid="2" grpId="0" animBg="1"/>
      <p:bldP spid="2" grpId="1" animBg="1"/>
      <p:bldP spid="6" grpId="0"/>
      <p:bldP spid="6"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926F1-DE1B-4E16-96CE-A94CE44DE602}"/>
              </a:ext>
            </a:extLst>
          </p:cNvPr>
          <p:cNvSpPr/>
          <p:nvPr/>
        </p:nvSpPr>
        <p:spPr bwMode="auto">
          <a:xfrm flipV="1">
            <a:off x="866" y="2756777"/>
            <a:ext cx="12190271" cy="41002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Title 1"/>
          <p:cNvSpPr txBox="1">
            <a:spLocks/>
          </p:cNvSpPr>
          <p:nvPr/>
        </p:nvSpPr>
        <p:spPr>
          <a:xfrm>
            <a:off x="643523" y="3039562"/>
            <a:ext cx="11278412" cy="762895"/>
          </a:xfrm>
          <a:prstGeom prst="rect">
            <a:avLst/>
          </a:prstGeom>
        </p:spPr>
        <p:txBody>
          <a:bodyPr lIns="146243" tIns="9141" rIns="146243" bIns="914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14016" fontAlgn="base">
              <a:spcBef>
                <a:spcPts val="1174"/>
              </a:spcBef>
              <a:spcAft>
                <a:spcPct val="0"/>
              </a:spcAft>
              <a:defRPr/>
            </a:pPr>
            <a:r>
              <a:rPr lang="en-US" sz="5293" spc="-98">
                <a:solidFill>
                  <a:srgbClr val="43A1FF"/>
                </a:solidFill>
                <a:latin typeface="Segoe UI Light"/>
              </a:rPr>
              <a:t>Service Fabric</a:t>
            </a:r>
          </a:p>
        </p:txBody>
      </p:sp>
      <p:sp>
        <p:nvSpPr>
          <p:cNvPr id="7" name="Rectangle 6"/>
          <p:cNvSpPr/>
          <p:nvPr/>
        </p:nvSpPr>
        <p:spPr>
          <a:xfrm>
            <a:off x="643522" y="4026534"/>
            <a:ext cx="11129030" cy="1478459"/>
          </a:xfrm>
          <a:prstGeom prst="rect">
            <a:avLst/>
          </a:prstGeom>
        </p:spPr>
        <p:txBody>
          <a:bodyPr wrap="square" lIns="146243">
            <a:spAutoFit/>
          </a:bodyPr>
          <a:lstStyle/>
          <a:p>
            <a:pPr defTabSz="932148">
              <a:spcBef>
                <a:spcPct val="0"/>
              </a:spcBef>
              <a:spcAft>
                <a:spcPts val="1200"/>
              </a:spcAft>
              <a:defRPr/>
            </a:pPr>
            <a:r>
              <a:rPr lang="en-US" sz="2353">
                <a:ln w="3175">
                  <a:noFill/>
                </a:ln>
                <a:solidFill>
                  <a:srgbClr val="FFFFFF"/>
                </a:solidFill>
                <a:latin typeface="Segoe UI" panose="020B0502040204020203" pitchFamily="34" charset="0"/>
                <a:cs typeface="Segoe UI" panose="020B0502040204020203" pitchFamily="34" charset="0"/>
                <a:sym typeface="Wingdings" panose="05000000000000000000" pitchFamily="2" charset="2"/>
              </a:rPr>
              <a:t>Windows and Linux Containers</a:t>
            </a:r>
          </a:p>
          <a:p>
            <a:pPr defTabSz="932148">
              <a:spcBef>
                <a:spcPct val="0"/>
              </a:spcBef>
              <a:spcAft>
                <a:spcPts val="1200"/>
              </a:spcAft>
              <a:defRPr/>
            </a:pPr>
            <a:r>
              <a:rPr lang="en-US" sz="2353">
                <a:ln w="3175">
                  <a:noFill/>
                </a:ln>
                <a:solidFill>
                  <a:srgbClr val="FFFFFF"/>
                </a:solidFill>
                <a:latin typeface="Segoe UI" panose="020B0502040204020203" pitchFamily="34" charset="0"/>
                <a:cs typeface="Segoe UI" panose="020B0502040204020203" pitchFamily="34" charset="0"/>
                <a:sym typeface="Wingdings" panose="05000000000000000000" pitchFamily="2" charset="2"/>
              </a:rPr>
              <a:t>Stateless and stateful microservices</a:t>
            </a:r>
          </a:p>
          <a:p>
            <a:pPr defTabSz="932148">
              <a:spcBef>
                <a:spcPct val="0"/>
              </a:spcBef>
              <a:spcAft>
                <a:spcPts val="1200"/>
              </a:spcAft>
              <a:defRPr/>
            </a:pPr>
            <a:r>
              <a:rPr lang="en-US" sz="2353">
                <a:ln w="3175">
                  <a:noFill/>
                </a:ln>
                <a:solidFill>
                  <a:srgbClr val="FFFFFF"/>
                </a:solidFill>
                <a:latin typeface="Segoe UI" panose="020B0502040204020203" pitchFamily="34" charset="0"/>
                <a:cs typeface="Segoe UI" panose="020B0502040204020203" pitchFamily="34" charset="0"/>
                <a:sym typeface="Wingdings" panose="05000000000000000000" pitchFamily="2" charset="2"/>
              </a:rPr>
              <a:t>Deploy on Azure, Azure Stack and on-premises</a:t>
            </a:r>
          </a:p>
        </p:txBody>
      </p:sp>
      <p:pic>
        <p:nvPicPr>
          <p:cNvPr id="6" name="Graphic 5">
            <a:extLst>
              <a:ext uri="{FF2B5EF4-FFF2-40B4-BE49-F238E27FC236}">
                <a16:creationId xmlns:a16="http://schemas.microsoft.com/office/drawing/2014/main" id="{878D3E07-2CDD-449C-BC69-ADC847A213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3345" y="216811"/>
            <a:ext cx="2241062" cy="2241062"/>
          </a:xfrm>
          <a:prstGeom prst="rect">
            <a:avLst/>
          </a:prstGeom>
        </p:spPr>
      </p:pic>
    </p:spTree>
    <p:extLst>
      <p:ext uri="{BB962C8B-B14F-4D97-AF65-F5344CB8AC3E}">
        <p14:creationId xmlns:p14="http://schemas.microsoft.com/office/powerpoint/2010/main" val="72190768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600"/>
                                        <p:tgtEl>
                                          <p:spTgt spid="5"/>
                                        </p:tgtEl>
                                      </p:cBhvr>
                                    </p:animEffect>
                                  </p:childTnLst>
                                </p:cTn>
                              </p:par>
                              <p:par>
                                <p:cTn id="8" presetID="35" presetClass="path" presetSubtype="0" decel="100000" fill="hold" grpId="1" nodeType="withEffect">
                                  <p:stCondLst>
                                    <p:cond delay="50"/>
                                  </p:stCondLst>
                                  <p:childTnLst>
                                    <p:animMotion origin="layout" path="M -0.05553 0.00022 L 2.15471E-6 0.00022 " pathEditMode="relative" rAng="0" ptsTypes="AA">
                                      <p:cBhvr>
                                        <p:cTn id="9" dur="800" fill="hold"/>
                                        <p:tgtEl>
                                          <p:spTgt spid="5"/>
                                        </p:tgtEl>
                                        <p:attrNameLst>
                                          <p:attrName>ppt_x</p:attrName>
                                          <p:attrName>ppt_y</p:attrName>
                                        </p:attrNameLst>
                                      </p:cBhvr>
                                      <p:rCtr x="2770" y="0"/>
                                    </p:animMotion>
                                  </p:childTnLst>
                                </p:cTn>
                              </p:par>
                              <p:par>
                                <p:cTn id="10" presetID="10" presetClass="entr" presetSubtype="0" fill="hold" grpId="0"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600"/>
                                        <p:tgtEl>
                                          <p:spTgt spid="7"/>
                                        </p:tgtEl>
                                      </p:cBhvr>
                                    </p:animEffect>
                                  </p:childTnLst>
                                </p:cTn>
                              </p:par>
                              <p:par>
                                <p:cTn id="13" presetID="35" presetClass="path" presetSubtype="0" decel="100000" fill="hold" grpId="1" nodeType="withEffect">
                                  <p:stCondLst>
                                    <p:cond delay="300"/>
                                  </p:stCondLst>
                                  <p:childTnLst>
                                    <p:animMotion origin="layout" path="M -0.05553 0.00023 L -7.07174E-7 0.00023 " pathEditMode="relative" rAng="0" ptsTypes="AA">
                                      <p:cBhvr>
                                        <p:cTn id="14" dur="800" fill="hold"/>
                                        <p:tgtEl>
                                          <p:spTgt spid="7"/>
                                        </p:tgtEl>
                                        <p:attrNameLst>
                                          <p:attrName>ppt_x</p:attrName>
                                          <p:attrName>ppt_y</p:attrName>
                                        </p:attrNameLst>
                                      </p:cBhvr>
                                      <p:rCtr x="2770" y="0"/>
                                    </p:animMotion>
                                  </p:childTnLst>
                                </p:cTn>
                              </p:par>
                              <p:par>
                                <p:cTn id="15" presetID="10" presetClass="entr" presetSubtype="0" fill="hold" nodeType="withEffect">
                                  <p:stCondLst>
                                    <p:cond delay="2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600"/>
                                        <p:tgtEl>
                                          <p:spTgt spid="6"/>
                                        </p:tgtEl>
                                      </p:cBhvr>
                                    </p:animEffect>
                                  </p:childTnLst>
                                </p:cTn>
                              </p:par>
                              <p:par>
                                <p:cTn id="18" presetID="35" presetClass="path" presetSubtype="0" decel="100000" fill="hold" nodeType="withEffect">
                                  <p:stCondLst>
                                    <p:cond delay="50"/>
                                  </p:stCondLst>
                                  <p:childTnLst>
                                    <p:animMotion origin="layout" path="M -0.05552 0.00023 L -2.49936E-6 0.00023 " pathEditMode="relative" rAng="0" ptsTypes="AA">
                                      <p:cBhvr>
                                        <p:cTn id="19" dur="800" fill="hold"/>
                                        <p:tgtEl>
                                          <p:spTgt spid="6"/>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7" grpId="0"/>
      <p:bldP spid="7"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2F0FCDC-6737-4D78-A8AF-8231F97C98C9}"/>
              </a:ext>
            </a:extLst>
          </p:cNvPr>
          <p:cNvSpPr txBox="1"/>
          <p:nvPr/>
        </p:nvSpPr>
        <p:spPr>
          <a:xfrm>
            <a:off x="210924" y="149243"/>
            <a:ext cx="7670952" cy="814661"/>
          </a:xfrm>
          <a:prstGeom prst="rect">
            <a:avLst/>
          </a:prstGeom>
          <a:noFill/>
        </p:spPr>
        <p:txBody>
          <a:bodyPr wrap="none" rtlCol="0">
            <a:spAutoFit/>
          </a:bodyPr>
          <a:lstStyle/>
          <a:p>
            <a:pPr defTabSz="914367"/>
            <a:r>
              <a:rPr lang="en-US" sz="4705" spc="-100">
                <a:ln w="3175">
                  <a:noFill/>
                </a:ln>
                <a:gradFill>
                  <a:gsLst>
                    <a:gs pos="1250">
                      <a:srgbClr val="505050"/>
                    </a:gs>
                    <a:gs pos="100000">
                      <a:srgbClr val="505050"/>
                    </a:gs>
                  </a:gsLst>
                  <a:lin ang="5400000" scaled="0"/>
                </a:gradFill>
                <a:latin typeface="Segoe UI Light"/>
                <a:cs typeface="Segoe UI" pitchFamily="34" charset="0"/>
              </a:rPr>
              <a:t>Build once and run everywhere</a:t>
            </a:r>
          </a:p>
        </p:txBody>
      </p:sp>
      <p:pic>
        <p:nvPicPr>
          <p:cNvPr id="5" name="Graphic 4">
            <a:extLst>
              <a:ext uri="{FF2B5EF4-FFF2-40B4-BE49-F238E27FC236}">
                <a16:creationId xmlns:a16="http://schemas.microsoft.com/office/drawing/2014/main" id="{EDD1ACE5-F8E7-464F-A278-2E0A2FCE4C6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64569" y="287372"/>
            <a:ext cx="582676" cy="582676"/>
          </a:xfrm>
          <a:prstGeom prst="rect">
            <a:avLst/>
          </a:prstGeom>
        </p:spPr>
      </p:pic>
      <p:grpSp>
        <p:nvGrpSpPr>
          <p:cNvPr id="6" name="Group 5">
            <a:extLst>
              <a:ext uri="{FF2B5EF4-FFF2-40B4-BE49-F238E27FC236}">
                <a16:creationId xmlns:a16="http://schemas.microsoft.com/office/drawing/2014/main" id="{26B82CB9-A33D-43E6-8C73-08A7ADFA045B}"/>
              </a:ext>
            </a:extLst>
          </p:cNvPr>
          <p:cNvGrpSpPr/>
          <p:nvPr/>
        </p:nvGrpSpPr>
        <p:grpSpPr>
          <a:xfrm>
            <a:off x="8561169" y="2274366"/>
            <a:ext cx="2267954" cy="2220083"/>
            <a:chOff x="1326115" y="2304917"/>
            <a:chExt cx="2313431" cy="2264600"/>
          </a:xfrm>
        </p:grpSpPr>
        <p:sp>
          <p:nvSpPr>
            <p:cNvPr id="7" name="Oval 6">
              <a:extLst>
                <a:ext uri="{FF2B5EF4-FFF2-40B4-BE49-F238E27FC236}">
                  <a16:creationId xmlns:a16="http://schemas.microsoft.com/office/drawing/2014/main" id="{16CFEE59-0CEE-4AB4-93A7-AFF12C7E4354}"/>
                </a:ext>
              </a:extLst>
            </p:cNvPr>
            <p:cNvSpPr/>
            <p:nvPr/>
          </p:nvSpPr>
          <p:spPr>
            <a:xfrm>
              <a:off x="1925356" y="2304917"/>
              <a:ext cx="1188720" cy="1188720"/>
            </a:xfrm>
            <a:prstGeom prst="ellipse">
              <a:avLst/>
            </a:prstGeom>
            <a:no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a:solidFill>
                  <a:srgbClr val="0078D7"/>
                </a:solidFill>
                <a:latin typeface="Segoe UI Semilight"/>
              </a:endParaRPr>
            </a:p>
          </p:txBody>
        </p:sp>
        <p:sp>
          <p:nvSpPr>
            <p:cNvPr id="8" name="Rectangle 7">
              <a:extLst>
                <a:ext uri="{FF2B5EF4-FFF2-40B4-BE49-F238E27FC236}">
                  <a16:creationId xmlns:a16="http://schemas.microsoft.com/office/drawing/2014/main" id="{CB41006F-A9F4-46B3-9332-22AAF2E8F039}"/>
                </a:ext>
              </a:extLst>
            </p:cNvPr>
            <p:cNvSpPr/>
            <p:nvPr/>
          </p:nvSpPr>
          <p:spPr>
            <a:xfrm>
              <a:off x="1594627" y="3523077"/>
              <a:ext cx="1850185" cy="707886"/>
            </a:xfrm>
            <a:prstGeom prst="rect">
              <a:avLst/>
            </a:prstGeom>
          </p:spPr>
          <p:txBody>
            <a:bodyPr wrap="none">
              <a:spAutoFit/>
            </a:bodyPr>
            <a:lstStyle/>
            <a:p>
              <a:pPr algn="ctr" defTabSz="914367"/>
              <a:r>
                <a:rPr lang="en-US" sz="1961" b="1">
                  <a:solidFill>
                    <a:srgbClr val="0078D7"/>
                  </a:solidFill>
                  <a:latin typeface="Segoe UI Semibold" panose="020B0702040204020203" pitchFamily="34" charset="0"/>
                  <a:cs typeface="Segoe UI Semibold" panose="020B0702040204020203" pitchFamily="34" charset="0"/>
                </a:rPr>
                <a:t>Service Fabric </a:t>
              </a:r>
            </a:p>
            <a:p>
              <a:pPr algn="ctr" defTabSz="914367"/>
              <a:r>
                <a:rPr lang="en-US" sz="1961" b="1">
                  <a:solidFill>
                    <a:srgbClr val="0078D7"/>
                  </a:solidFill>
                  <a:latin typeface="Segoe UI Semibold" panose="020B0702040204020203" pitchFamily="34" charset="0"/>
                  <a:cs typeface="Segoe UI Semibold" panose="020B0702040204020203" pitchFamily="34" charset="0"/>
                </a:rPr>
                <a:t>Mesh</a:t>
              </a:r>
              <a:endParaRPr lang="en-US" sz="1961">
                <a:solidFill>
                  <a:srgbClr val="0078D7"/>
                </a:solidFill>
                <a:latin typeface="Segoe UI Semilight"/>
              </a:endParaRPr>
            </a:p>
          </p:txBody>
        </p:sp>
        <p:sp>
          <p:nvSpPr>
            <p:cNvPr id="9" name="Rectangle 8">
              <a:extLst>
                <a:ext uri="{FF2B5EF4-FFF2-40B4-BE49-F238E27FC236}">
                  <a16:creationId xmlns:a16="http://schemas.microsoft.com/office/drawing/2014/main" id="{ED9490A7-E443-45C8-9C71-CA6E8108C4C1}"/>
                </a:ext>
              </a:extLst>
            </p:cNvPr>
            <p:cNvSpPr/>
            <p:nvPr/>
          </p:nvSpPr>
          <p:spPr>
            <a:xfrm>
              <a:off x="1326115" y="4230963"/>
              <a:ext cx="2313431" cy="338554"/>
            </a:xfrm>
            <a:prstGeom prst="rect">
              <a:avLst/>
            </a:prstGeom>
          </p:spPr>
          <p:txBody>
            <a:bodyPr wrap="square">
              <a:spAutoFit/>
            </a:bodyPr>
            <a:lstStyle/>
            <a:p>
              <a:pPr algn="ctr" defTabSz="914202">
                <a:spcBef>
                  <a:spcPts val="294"/>
                </a:spcBef>
                <a:spcAft>
                  <a:spcPts val="2353"/>
                </a:spcAft>
              </a:pPr>
              <a:r>
                <a:rPr lang="en-US" sz="1568">
                  <a:solidFill>
                    <a:srgbClr val="505050">
                      <a:lumMod val="65000"/>
                      <a:lumOff val="35000"/>
                    </a:srgbClr>
                  </a:solidFill>
                  <a:latin typeface="Segoe UI Light" panose="020B0502040204020203" pitchFamily="34" charset="0"/>
                  <a:cs typeface="Segoe UI Light" panose="020B0502040204020203" pitchFamily="34" charset="0"/>
                </a:rPr>
                <a:t>Fully managed by Azure</a:t>
              </a:r>
            </a:p>
          </p:txBody>
        </p:sp>
        <p:pic>
          <p:nvPicPr>
            <p:cNvPr id="10" name="Graphic 9">
              <a:extLst>
                <a:ext uri="{FF2B5EF4-FFF2-40B4-BE49-F238E27FC236}">
                  <a16:creationId xmlns:a16="http://schemas.microsoft.com/office/drawing/2014/main" id="{4DAC2D0B-93F3-4A2B-BAD0-297FD58058B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37719" y="2517280"/>
              <a:ext cx="763994" cy="763994"/>
            </a:xfrm>
            <a:prstGeom prst="rect">
              <a:avLst/>
            </a:prstGeom>
          </p:spPr>
        </p:pic>
      </p:grpSp>
      <p:grpSp>
        <p:nvGrpSpPr>
          <p:cNvPr id="11" name="Group 10">
            <a:extLst>
              <a:ext uri="{FF2B5EF4-FFF2-40B4-BE49-F238E27FC236}">
                <a16:creationId xmlns:a16="http://schemas.microsoft.com/office/drawing/2014/main" id="{CD35206E-3E57-40EE-BF68-44F218855C1D}"/>
              </a:ext>
            </a:extLst>
          </p:cNvPr>
          <p:cNvGrpSpPr/>
          <p:nvPr/>
        </p:nvGrpSpPr>
        <p:grpSpPr>
          <a:xfrm>
            <a:off x="4711768" y="2231838"/>
            <a:ext cx="2646532" cy="2234355"/>
            <a:chOff x="4547341" y="2304917"/>
            <a:chExt cx="2699600" cy="2279158"/>
          </a:xfrm>
        </p:grpSpPr>
        <p:sp>
          <p:nvSpPr>
            <p:cNvPr id="12" name="Rectangle 11">
              <a:extLst>
                <a:ext uri="{FF2B5EF4-FFF2-40B4-BE49-F238E27FC236}">
                  <a16:creationId xmlns:a16="http://schemas.microsoft.com/office/drawing/2014/main" id="{365B8B63-80C6-43A3-BFCB-20291F5454E9}"/>
                </a:ext>
              </a:extLst>
            </p:cNvPr>
            <p:cNvSpPr/>
            <p:nvPr/>
          </p:nvSpPr>
          <p:spPr>
            <a:xfrm>
              <a:off x="4644534" y="4245521"/>
              <a:ext cx="2505214" cy="338554"/>
            </a:xfrm>
            <a:prstGeom prst="rect">
              <a:avLst/>
            </a:prstGeom>
          </p:spPr>
          <p:txBody>
            <a:bodyPr wrap="square">
              <a:spAutoFit/>
            </a:bodyPr>
            <a:lstStyle/>
            <a:p>
              <a:pPr algn="ctr" defTabSz="914202">
                <a:spcBef>
                  <a:spcPts val="294"/>
                </a:spcBef>
                <a:spcAft>
                  <a:spcPts val="2353"/>
                </a:spcAft>
              </a:pPr>
              <a:r>
                <a:rPr lang="en-US" sz="1568">
                  <a:solidFill>
                    <a:srgbClr val="505050">
                      <a:lumMod val="65000"/>
                      <a:lumOff val="35000"/>
                    </a:srgbClr>
                  </a:solidFill>
                  <a:latin typeface="Segoe UI Light" panose="020B0502040204020203" pitchFamily="34" charset="0"/>
                  <a:cs typeface="Segoe UI Light" panose="020B0502040204020203" pitchFamily="34" charset="0"/>
                </a:rPr>
                <a:t>Dedicated Azure clusters</a:t>
              </a:r>
            </a:p>
          </p:txBody>
        </p:sp>
        <p:sp>
          <p:nvSpPr>
            <p:cNvPr id="13" name="Rectangle 12">
              <a:extLst>
                <a:ext uri="{FF2B5EF4-FFF2-40B4-BE49-F238E27FC236}">
                  <a16:creationId xmlns:a16="http://schemas.microsoft.com/office/drawing/2014/main" id="{8DC3D7A2-9CDB-4B33-B1ED-A72BEC9A5921}"/>
                </a:ext>
              </a:extLst>
            </p:cNvPr>
            <p:cNvSpPr/>
            <p:nvPr/>
          </p:nvSpPr>
          <p:spPr>
            <a:xfrm>
              <a:off x="4547341" y="3523077"/>
              <a:ext cx="2699600" cy="707886"/>
            </a:xfrm>
            <a:prstGeom prst="rect">
              <a:avLst/>
            </a:prstGeom>
          </p:spPr>
          <p:txBody>
            <a:bodyPr wrap="square">
              <a:spAutoFit/>
            </a:bodyPr>
            <a:lstStyle/>
            <a:p>
              <a:pPr algn="ctr" defTabSz="914367"/>
              <a:r>
                <a:rPr lang="en-US" sz="1961" b="1">
                  <a:solidFill>
                    <a:srgbClr val="0078D7"/>
                  </a:solidFill>
                  <a:latin typeface="Segoe UI Semibold" panose="020B0702040204020203" pitchFamily="34" charset="0"/>
                  <a:cs typeface="Segoe UI Semibold" panose="020B0702040204020203" pitchFamily="34" charset="0"/>
                </a:rPr>
                <a:t>Service Fabric Dedicated Cluster</a:t>
              </a:r>
              <a:endParaRPr lang="en-US" sz="1961">
                <a:solidFill>
                  <a:srgbClr val="0078D7"/>
                </a:solidFill>
                <a:latin typeface="Segoe UI Semilight"/>
              </a:endParaRPr>
            </a:p>
          </p:txBody>
        </p:sp>
        <p:grpSp>
          <p:nvGrpSpPr>
            <p:cNvPr id="14" name="Group 13">
              <a:extLst>
                <a:ext uri="{FF2B5EF4-FFF2-40B4-BE49-F238E27FC236}">
                  <a16:creationId xmlns:a16="http://schemas.microsoft.com/office/drawing/2014/main" id="{48899B00-BA01-415C-B11C-91478AFA055F}"/>
                </a:ext>
              </a:extLst>
            </p:cNvPr>
            <p:cNvGrpSpPr/>
            <p:nvPr/>
          </p:nvGrpSpPr>
          <p:grpSpPr>
            <a:xfrm>
              <a:off x="5302781" y="2304917"/>
              <a:ext cx="1188720" cy="1188720"/>
              <a:chOff x="5253016" y="2304917"/>
              <a:chExt cx="1188720" cy="1188720"/>
            </a:xfrm>
          </p:grpSpPr>
          <p:sp>
            <p:nvSpPr>
              <p:cNvPr id="15" name="Oval 14">
                <a:extLst>
                  <a:ext uri="{FF2B5EF4-FFF2-40B4-BE49-F238E27FC236}">
                    <a16:creationId xmlns:a16="http://schemas.microsoft.com/office/drawing/2014/main" id="{FF0E721E-FCF7-4F56-9CD7-EB1877836D7F}"/>
                  </a:ext>
                </a:extLst>
              </p:cNvPr>
              <p:cNvSpPr/>
              <p:nvPr/>
            </p:nvSpPr>
            <p:spPr>
              <a:xfrm>
                <a:off x="5253016" y="2304917"/>
                <a:ext cx="1188720" cy="1188720"/>
              </a:xfrm>
              <a:prstGeom prst="ellipse">
                <a:avLst/>
              </a:prstGeom>
              <a:no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16" name="Freeform 126">
                <a:extLst>
                  <a:ext uri="{FF2B5EF4-FFF2-40B4-BE49-F238E27FC236}">
                    <a16:creationId xmlns:a16="http://schemas.microsoft.com/office/drawing/2014/main" id="{B2623E3C-6FDA-488D-B733-FBED7F6B0B4F}"/>
                  </a:ext>
                </a:extLst>
              </p:cNvPr>
              <p:cNvSpPr>
                <a:spLocks/>
              </p:cNvSpPr>
              <p:nvPr/>
            </p:nvSpPr>
            <p:spPr bwMode="auto">
              <a:xfrm>
                <a:off x="5479829" y="2670186"/>
                <a:ext cx="735095" cy="458183"/>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38100"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914367"/>
                <a:endParaRPr lang="en-US" sz="1730">
                  <a:solidFill>
                    <a:srgbClr val="505050"/>
                  </a:solidFill>
                  <a:latin typeface="Segoe UI Semilight"/>
                </a:endParaRPr>
              </a:p>
            </p:txBody>
          </p:sp>
        </p:grpSp>
      </p:grpSp>
      <p:grpSp>
        <p:nvGrpSpPr>
          <p:cNvPr id="17" name="Group 16">
            <a:extLst>
              <a:ext uri="{FF2B5EF4-FFF2-40B4-BE49-F238E27FC236}">
                <a16:creationId xmlns:a16="http://schemas.microsoft.com/office/drawing/2014/main" id="{55DA5309-2950-452E-AC35-32826BC8B653}"/>
              </a:ext>
            </a:extLst>
          </p:cNvPr>
          <p:cNvGrpSpPr/>
          <p:nvPr/>
        </p:nvGrpSpPr>
        <p:grpSpPr>
          <a:xfrm>
            <a:off x="114846" y="1785555"/>
            <a:ext cx="4081431" cy="2819734"/>
            <a:chOff x="7411218" y="1707799"/>
            <a:chExt cx="4163272" cy="2876276"/>
          </a:xfrm>
        </p:grpSpPr>
        <p:sp>
          <p:nvSpPr>
            <p:cNvPr id="18" name="Rectangle 17">
              <a:extLst>
                <a:ext uri="{FF2B5EF4-FFF2-40B4-BE49-F238E27FC236}">
                  <a16:creationId xmlns:a16="http://schemas.microsoft.com/office/drawing/2014/main" id="{5DBB555F-8813-4309-A293-47EC9CCBF13E}"/>
                </a:ext>
              </a:extLst>
            </p:cNvPr>
            <p:cNvSpPr/>
            <p:nvPr/>
          </p:nvSpPr>
          <p:spPr>
            <a:xfrm>
              <a:off x="8119824" y="4245521"/>
              <a:ext cx="2746061" cy="338554"/>
            </a:xfrm>
            <a:prstGeom prst="rect">
              <a:avLst/>
            </a:prstGeom>
          </p:spPr>
          <p:txBody>
            <a:bodyPr wrap="square">
              <a:spAutoFit/>
            </a:bodyPr>
            <a:lstStyle/>
            <a:p>
              <a:pPr algn="ctr" defTabSz="914202">
                <a:spcBef>
                  <a:spcPts val="294"/>
                </a:spcBef>
                <a:spcAft>
                  <a:spcPts val="2353"/>
                </a:spcAft>
              </a:pPr>
              <a:r>
                <a:rPr lang="en-US" sz="1568">
                  <a:solidFill>
                    <a:srgbClr val="505050">
                      <a:lumMod val="65000"/>
                      <a:lumOff val="35000"/>
                    </a:srgbClr>
                  </a:solidFill>
                  <a:latin typeface="Segoe UI Light" panose="020B0502040204020203" pitchFamily="34" charset="0"/>
                  <a:cs typeface="Segoe UI Light" panose="020B0502040204020203" pitchFamily="34" charset="0"/>
                </a:rPr>
                <a:t>Bring your own infrastructure</a:t>
              </a:r>
            </a:p>
          </p:txBody>
        </p:sp>
        <p:grpSp>
          <p:nvGrpSpPr>
            <p:cNvPr id="19" name="Group 18">
              <a:extLst>
                <a:ext uri="{FF2B5EF4-FFF2-40B4-BE49-F238E27FC236}">
                  <a16:creationId xmlns:a16="http://schemas.microsoft.com/office/drawing/2014/main" id="{CE35269C-C095-4EDE-8E12-998E5C33AFB8}"/>
                </a:ext>
              </a:extLst>
            </p:cNvPr>
            <p:cNvGrpSpPr/>
            <p:nvPr/>
          </p:nvGrpSpPr>
          <p:grpSpPr>
            <a:xfrm>
              <a:off x="7411218" y="1707799"/>
              <a:ext cx="4163272" cy="2523164"/>
              <a:chOff x="6827466" y="1707799"/>
              <a:chExt cx="4163272" cy="2523164"/>
            </a:xfrm>
          </p:grpSpPr>
          <p:sp>
            <p:nvSpPr>
              <p:cNvPr id="20" name="Rectangle 19">
                <a:extLst>
                  <a:ext uri="{FF2B5EF4-FFF2-40B4-BE49-F238E27FC236}">
                    <a16:creationId xmlns:a16="http://schemas.microsoft.com/office/drawing/2014/main" id="{12F16DF9-D959-4DAF-B34B-BB94B9533FB8}"/>
                  </a:ext>
                </a:extLst>
              </p:cNvPr>
              <p:cNvSpPr/>
              <p:nvPr/>
            </p:nvSpPr>
            <p:spPr>
              <a:xfrm>
                <a:off x="7443000" y="3523077"/>
                <a:ext cx="2902042" cy="707886"/>
              </a:xfrm>
              <a:prstGeom prst="rect">
                <a:avLst/>
              </a:prstGeom>
            </p:spPr>
            <p:txBody>
              <a:bodyPr wrap="square">
                <a:spAutoFit/>
              </a:bodyPr>
              <a:lstStyle/>
              <a:p>
                <a:pPr algn="ctr" defTabSz="914367"/>
                <a:r>
                  <a:rPr lang="en-US" sz="1961" b="1">
                    <a:solidFill>
                      <a:srgbClr val="0078D7"/>
                    </a:solidFill>
                    <a:latin typeface="Segoe UI Semibold" panose="020B0702040204020203" pitchFamily="34" charset="0"/>
                    <a:cs typeface="Segoe UI Semibold" panose="020B0702040204020203" pitchFamily="34" charset="0"/>
                  </a:rPr>
                  <a:t>Service Fabric Standalone</a:t>
                </a:r>
                <a:endParaRPr lang="en-US" sz="1961">
                  <a:solidFill>
                    <a:srgbClr val="0078D7"/>
                  </a:solidFill>
                  <a:latin typeface="Segoe UI Semilight"/>
                </a:endParaRPr>
              </a:p>
            </p:txBody>
          </p:sp>
          <p:sp>
            <p:nvSpPr>
              <p:cNvPr id="21" name="Oval 20">
                <a:extLst>
                  <a:ext uri="{FF2B5EF4-FFF2-40B4-BE49-F238E27FC236}">
                    <a16:creationId xmlns:a16="http://schemas.microsoft.com/office/drawing/2014/main" id="{9E56EF12-ADD1-40B2-94C4-3125CA2623B0}"/>
                  </a:ext>
                </a:extLst>
              </p:cNvPr>
              <p:cNvSpPr/>
              <p:nvPr/>
            </p:nvSpPr>
            <p:spPr>
              <a:xfrm>
                <a:off x="8567774" y="2371177"/>
                <a:ext cx="659051" cy="659051"/>
              </a:xfrm>
              <a:prstGeom prst="ellipse">
                <a:avLst/>
              </a:prstGeom>
              <a:solidFill>
                <a:srgbClr val="E9E9E9"/>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22" name="Oval 21">
                <a:extLst>
                  <a:ext uri="{FF2B5EF4-FFF2-40B4-BE49-F238E27FC236}">
                    <a16:creationId xmlns:a16="http://schemas.microsoft.com/office/drawing/2014/main" id="{551409B9-30D9-40A9-AEB9-0E04F092CDD2}"/>
                  </a:ext>
                </a:extLst>
              </p:cNvPr>
              <p:cNvSpPr/>
              <p:nvPr/>
            </p:nvSpPr>
            <p:spPr>
              <a:xfrm>
                <a:off x="8849384" y="2834586"/>
                <a:ext cx="659051" cy="659051"/>
              </a:xfrm>
              <a:prstGeom prst="ellipse">
                <a:avLst/>
              </a:prstGeom>
              <a:solidFill>
                <a:srgbClr val="E9E9E9"/>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23" name="Oval 22">
                <a:extLst>
                  <a:ext uri="{FF2B5EF4-FFF2-40B4-BE49-F238E27FC236}">
                    <a16:creationId xmlns:a16="http://schemas.microsoft.com/office/drawing/2014/main" id="{0FA239A3-4187-4E7F-99F1-75FABB1308B2}"/>
                  </a:ext>
                </a:extLst>
              </p:cNvPr>
              <p:cNvSpPr/>
              <p:nvPr/>
            </p:nvSpPr>
            <p:spPr>
              <a:xfrm>
                <a:off x="8286163" y="2834586"/>
                <a:ext cx="659051" cy="659051"/>
              </a:xfrm>
              <a:prstGeom prst="ellipse">
                <a:avLst/>
              </a:prstGeom>
              <a:solidFill>
                <a:srgbClr val="E9E9E9"/>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24" name="Freeform 127">
                <a:extLst>
                  <a:ext uri="{FF2B5EF4-FFF2-40B4-BE49-F238E27FC236}">
                    <a16:creationId xmlns:a16="http://schemas.microsoft.com/office/drawing/2014/main" id="{3FA85726-F555-433E-ADB8-050512500450}"/>
                  </a:ext>
                </a:extLst>
              </p:cNvPr>
              <p:cNvSpPr>
                <a:spLocks noChangeAspect="1"/>
              </p:cNvSpPr>
              <p:nvPr/>
            </p:nvSpPr>
            <p:spPr bwMode="black">
              <a:xfrm>
                <a:off x="8723668" y="2537551"/>
                <a:ext cx="347263" cy="273295"/>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0078D7"/>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5" name="Group 24">
                <a:extLst>
                  <a:ext uri="{FF2B5EF4-FFF2-40B4-BE49-F238E27FC236}">
                    <a16:creationId xmlns:a16="http://schemas.microsoft.com/office/drawing/2014/main" id="{CCADE579-4682-4EC7-91CA-099704A965BB}"/>
                  </a:ext>
                </a:extLst>
              </p:cNvPr>
              <p:cNvGrpSpPr/>
              <p:nvPr/>
            </p:nvGrpSpPr>
            <p:grpSpPr>
              <a:xfrm>
                <a:off x="8384078" y="3061061"/>
                <a:ext cx="463220" cy="206101"/>
                <a:chOff x="7138851" y="5154348"/>
                <a:chExt cx="546890" cy="243328"/>
              </a:xfrm>
            </p:grpSpPr>
            <p:sp>
              <p:nvSpPr>
                <p:cNvPr id="35" name="Freeform 5">
                  <a:extLst>
                    <a:ext uri="{FF2B5EF4-FFF2-40B4-BE49-F238E27FC236}">
                      <a16:creationId xmlns:a16="http://schemas.microsoft.com/office/drawing/2014/main" id="{ABE29BEF-BB01-4647-A922-3801060D0F38}"/>
                    </a:ext>
                  </a:extLst>
                </p:cNvPr>
                <p:cNvSpPr>
                  <a:spLocks noChangeAspect="1"/>
                </p:cNvSpPr>
                <p:nvPr/>
              </p:nvSpPr>
              <p:spPr bwMode="black">
                <a:xfrm>
                  <a:off x="7404804" y="5168777"/>
                  <a:ext cx="280937" cy="16614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38100">
                  <a:noFill/>
                </a:ln>
              </p:spPr>
              <p:txBody>
                <a:bodyPr vert="horz" wrap="square" lIns="67226" tIns="33613" rIns="67226" bIns="33613" numCol="1" anchor="t" anchorCtr="0" compatLnSpc="1">
                  <a:prstTxWarp prst="textNoShape">
                    <a:avLst/>
                  </a:prstTxWarp>
                </a:bodyPr>
                <a:lstStyle/>
                <a:p>
                  <a:pPr defTabSz="914367"/>
                  <a:endParaRPr lang="en-US" sz="1323">
                    <a:solidFill>
                      <a:srgbClr val="505050"/>
                    </a:solidFill>
                    <a:latin typeface="Segoe UI Semilight"/>
                  </a:endParaRPr>
                </a:p>
              </p:txBody>
            </p:sp>
            <p:sp>
              <p:nvSpPr>
                <p:cNvPr id="36" name="Freeform 5">
                  <a:extLst>
                    <a:ext uri="{FF2B5EF4-FFF2-40B4-BE49-F238E27FC236}">
                      <a16:creationId xmlns:a16="http://schemas.microsoft.com/office/drawing/2014/main" id="{0460994B-45D5-4609-BACC-760DA54529E9}"/>
                    </a:ext>
                  </a:extLst>
                </p:cNvPr>
                <p:cNvSpPr>
                  <a:spLocks noChangeAspect="1"/>
                </p:cNvSpPr>
                <p:nvPr/>
              </p:nvSpPr>
              <p:spPr bwMode="black">
                <a:xfrm>
                  <a:off x="7138851" y="5154348"/>
                  <a:ext cx="411445" cy="243328"/>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19050">
                  <a:solidFill>
                    <a:srgbClr val="E9E9E9"/>
                  </a:solidFill>
                </a:ln>
              </p:spPr>
              <p:txBody>
                <a:bodyPr vert="horz" wrap="square" lIns="67226" tIns="33613" rIns="67226" bIns="33613" numCol="1" anchor="t" anchorCtr="0" compatLnSpc="1">
                  <a:prstTxWarp prst="textNoShape">
                    <a:avLst/>
                  </a:prstTxWarp>
                </a:bodyPr>
                <a:lstStyle/>
                <a:p>
                  <a:pPr defTabSz="914367"/>
                  <a:endParaRPr lang="en-US" sz="1323">
                    <a:solidFill>
                      <a:srgbClr val="505050"/>
                    </a:solidFill>
                    <a:latin typeface="Segoe UI Semilight"/>
                  </a:endParaRPr>
                </a:p>
              </p:txBody>
            </p:sp>
          </p:grpSp>
          <p:grpSp>
            <p:nvGrpSpPr>
              <p:cNvPr id="26" name="Group 25">
                <a:extLst>
                  <a:ext uri="{FF2B5EF4-FFF2-40B4-BE49-F238E27FC236}">
                    <a16:creationId xmlns:a16="http://schemas.microsoft.com/office/drawing/2014/main" id="{5E9B2CB5-28E5-4F68-89B2-4C26AC05CD8B}"/>
                  </a:ext>
                </a:extLst>
              </p:cNvPr>
              <p:cNvGrpSpPr/>
              <p:nvPr/>
            </p:nvGrpSpPr>
            <p:grpSpPr>
              <a:xfrm>
                <a:off x="9046922" y="2995069"/>
                <a:ext cx="263975" cy="338085"/>
                <a:chOff x="10889683" y="4895108"/>
                <a:chExt cx="263975" cy="338085"/>
              </a:xfrm>
            </p:grpSpPr>
            <p:sp>
              <p:nvSpPr>
                <p:cNvPr id="33" name="Freeform 130">
                  <a:extLst>
                    <a:ext uri="{FF2B5EF4-FFF2-40B4-BE49-F238E27FC236}">
                      <a16:creationId xmlns:a16="http://schemas.microsoft.com/office/drawing/2014/main" id="{10AEA397-50D3-4171-86EC-71AC1E958DA9}"/>
                    </a:ext>
                  </a:extLst>
                </p:cNvPr>
                <p:cNvSpPr>
                  <a:spLocks/>
                </p:cNvSpPr>
                <p:nvPr/>
              </p:nvSpPr>
              <p:spPr bwMode="auto">
                <a:xfrm>
                  <a:off x="10889683" y="4895108"/>
                  <a:ext cx="192687" cy="338085"/>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solidFill>
                  <a:srgbClr val="0078D7"/>
                </a:solidFill>
                <a:ln w="19050" cap="rnd">
                  <a:solidFill>
                    <a:srgbClr val="E9E9E9"/>
                  </a:solidFill>
                  <a:prstDash val="solid"/>
                  <a:round/>
                  <a:headEnd/>
                  <a:tailEnd/>
                </a:ln>
                <a:extLst/>
              </p:spPr>
              <p:txBody>
                <a:bodyPr vert="horz" wrap="square" lIns="87880" tIns="43940" rIns="87880" bIns="43940" numCol="1" anchor="t" anchorCtr="0" compatLnSpc="1">
                  <a:prstTxWarp prst="textNoShape">
                    <a:avLst/>
                  </a:prstTxWarp>
                </a:bodyPr>
                <a:lstStyle/>
                <a:p>
                  <a:pPr defTabSz="914367"/>
                  <a:endParaRPr lang="en-US" sz="1730">
                    <a:solidFill>
                      <a:srgbClr val="505050"/>
                    </a:solidFill>
                    <a:latin typeface="Segoe UI Semilight"/>
                  </a:endParaRPr>
                </a:p>
              </p:txBody>
            </p:sp>
            <p:sp>
              <p:nvSpPr>
                <p:cNvPr id="34" name="Rectangle 134">
                  <a:extLst>
                    <a:ext uri="{FF2B5EF4-FFF2-40B4-BE49-F238E27FC236}">
                      <a16:creationId xmlns:a16="http://schemas.microsoft.com/office/drawing/2014/main" id="{7977DE6B-7B59-48E0-8F40-C8BEE3DD8360}"/>
                    </a:ext>
                  </a:extLst>
                </p:cNvPr>
                <p:cNvSpPr>
                  <a:spLocks noChangeArrowheads="1"/>
                </p:cNvSpPr>
                <p:nvPr/>
              </p:nvSpPr>
              <p:spPr bwMode="auto">
                <a:xfrm>
                  <a:off x="11003320" y="5025684"/>
                  <a:ext cx="150338" cy="207509"/>
                </a:xfrm>
                <a:prstGeom prst="rect">
                  <a:avLst/>
                </a:prstGeom>
                <a:solidFill>
                  <a:srgbClr val="0078D7"/>
                </a:solidFill>
                <a:ln w="19050" cap="rnd">
                  <a:solidFill>
                    <a:srgbClr val="E9E9E9"/>
                  </a:solidFill>
                  <a:prstDash val="solid"/>
                  <a:round/>
                  <a:headEnd/>
                  <a:tailEnd/>
                </a:ln>
                <a:extLst/>
              </p:spPr>
              <p:txBody>
                <a:bodyPr vert="horz" wrap="square" lIns="87880" tIns="43940" rIns="87880" bIns="43940" numCol="1" anchor="t" anchorCtr="0" compatLnSpc="1">
                  <a:prstTxWarp prst="textNoShape">
                    <a:avLst/>
                  </a:prstTxWarp>
                </a:bodyPr>
                <a:lstStyle/>
                <a:p>
                  <a:pPr defTabSz="914367"/>
                  <a:endParaRPr lang="en-US" sz="1730">
                    <a:solidFill>
                      <a:srgbClr val="505050"/>
                    </a:solidFill>
                    <a:latin typeface="Segoe UI Semilight"/>
                  </a:endParaRPr>
                </a:p>
              </p:txBody>
            </p:sp>
          </p:grpSp>
          <p:sp>
            <p:nvSpPr>
              <p:cNvPr id="27" name="Rectangle 26">
                <a:extLst>
                  <a:ext uri="{FF2B5EF4-FFF2-40B4-BE49-F238E27FC236}">
                    <a16:creationId xmlns:a16="http://schemas.microsoft.com/office/drawing/2014/main" id="{679CE370-116A-4FB4-8E5E-6E5DA2B0AF5F}"/>
                  </a:ext>
                </a:extLst>
              </p:cNvPr>
              <p:cNvSpPr/>
              <p:nvPr/>
            </p:nvSpPr>
            <p:spPr>
              <a:xfrm>
                <a:off x="9866508" y="3025612"/>
                <a:ext cx="1124230" cy="276999"/>
              </a:xfrm>
              <a:prstGeom prst="rect">
                <a:avLst/>
              </a:prstGeom>
            </p:spPr>
            <p:txBody>
              <a:bodyPr wrap="square">
                <a:spAutoFit/>
              </a:bodyPr>
              <a:lstStyle/>
              <a:p>
                <a:pPr defTabSz="914202">
                  <a:spcBef>
                    <a:spcPts val="294"/>
                  </a:spcBef>
                  <a:spcAft>
                    <a:spcPts val="2353"/>
                  </a:spcAft>
                </a:pPr>
                <a:r>
                  <a:rPr lang="en-US" sz="1176">
                    <a:solidFill>
                      <a:srgbClr val="0078D7"/>
                    </a:solidFill>
                    <a:latin typeface="Segoe UI Light" panose="020B0502040204020203" pitchFamily="34" charset="0"/>
                    <a:cs typeface="Segoe UI Light" panose="020B0502040204020203" pitchFamily="34" charset="0"/>
                  </a:rPr>
                  <a:t>On-premises</a:t>
                </a:r>
              </a:p>
            </p:txBody>
          </p:sp>
          <p:cxnSp>
            <p:nvCxnSpPr>
              <p:cNvPr id="28" name="Straight Connector 27">
                <a:extLst>
                  <a:ext uri="{FF2B5EF4-FFF2-40B4-BE49-F238E27FC236}">
                    <a16:creationId xmlns:a16="http://schemas.microsoft.com/office/drawing/2014/main" id="{E31C65A7-A1F5-4979-8348-0E44A47EAE25}"/>
                  </a:ext>
                </a:extLst>
              </p:cNvPr>
              <p:cNvCxnSpPr>
                <a:cxnSpLocks/>
              </p:cNvCxnSpPr>
              <p:nvPr/>
            </p:nvCxnSpPr>
            <p:spPr>
              <a:xfrm flipV="1">
                <a:off x="7954682" y="3159120"/>
                <a:ext cx="337671"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6419915-B6EB-4CFD-AB74-BB1D6140301B}"/>
                  </a:ext>
                </a:extLst>
              </p:cNvPr>
              <p:cNvSpPr/>
              <p:nvPr/>
            </p:nvSpPr>
            <p:spPr>
              <a:xfrm>
                <a:off x="6827466" y="3025612"/>
                <a:ext cx="1124230" cy="276999"/>
              </a:xfrm>
              <a:prstGeom prst="rect">
                <a:avLst/>
              </a:prstGeom>
            </p:spPr>
            <p:txBody>
              <a:bodyPr wrap="square">
                <a:spAutoFit/>
              </a:bodyPr>
              <a:lstStyle/>
              <a:p>
                <a:pPr algn="r" defTabSz="914202">
                  <a:spcBef>
                    <a:spcPts val="294"/>
                  </a:spcBef>
                  <a:spcAft>
                    <a:spcPts val="2353"/>
                  </a:spcAft>
                </a:pPr>
                <a:r>
                  <a:rPr lang="en-US" sz="1176">
                    <a:solidFill>
                      <a:srgbClr val="0078D7"/>
                    </a:solidFill>
                    <a:latin typeface="Segoe UI Light" panose="020B0502040204020203" pitchFamily="34" charset="0"/>
                    <a:cs typeface="Segoe UI Light" panose="020B0502040204020203" pitchFamily="34" charset="0"/>
                  </a:rPr>
                  <a:t>Any cloud</a:t>
                </a:r>
              </a:p>
            </p:txBody>
          </p:sp>
          <p:cxnSp>
            <p:nvCxnSpPr>
              <p:cNvPr id="30" name="Straight Connector 29">
                <a:extLst>
                  <a:ext uri="{FF2B5EF4-FFF2-40B4-BE49-F238E27FC236}">
                    <a16:creationId xmlns:a16="http://schemas.microsoft.com/office/drawing/2014/main" id="{A42F2B25-B154-4BE3-8288-9941DAC385CE}"/>
                  </a:ext>
                </a:extLst>
              </p:cNvPr>
              <p:cNvCxnSpPr>
                <a:cxnSpLocks/>
              </p:cNvCxnSpPr>
              <p:nvPr/>
            </p:nvCxnSpPr>
            <p:spPr>
              <a:xfrm flipV="1">
                <a:off x="9511553" y="3160833"/>
                <a:ext cx="337671"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DA7081D-2CFB-47F1-8579-95A093247801}"/>
                  </a:ext>
                </a:extLst>
              </p:cNvPr>
              <p:cNvCxnSpPr>
                <a:cxnSpLocks/>
              </p:cNvCxnSpPr>
              <p:nvPr/>
            </p:nvCxnSpPr>
            <p:spPr>
              <a:xfrm rot="5400000" flipV="1">
                <a:off x="8728464" y="2189656"/>
                <a:ext cx="337671"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935DEC39-9D78-4BD4-A666-DCA9BF3E67A7}"/>
                  </a:ext>
                </a:extLst>
              </p:cNvPr>
              <p:cNvSpPr/>
              <p:nvPr/>
            </p:nvSpPr>
            <p:spPr>
              <a:xfrm>
                <a:off x="8333544" y="1707799"/>
                <a:ext cx="1124230" cy="276999"/>
              </a:xfrm>
              <a:prstGeom prst="rect">
                <a:avLst/>
              </a:prstGeom>
            </p:spPr>
            <p:txBody>
              <a:bodyPr wrap="square">
                <a:spAutoFit/>
              </a:bodyPr>
              <a:lstStyle/>
              <a:p>
                <a:pPr algn="ctr" defTabSz="914202">
                  <a:spcBef>
                    <a:spcPts val="294"/>
                  </a:spcBef>
                  <a:spcAft>
                    <a:spcPts val="2353"/>
                  </a:spcAft>
                </a:pPr>
                <a:r>
                  <a:rPr lang="en-US" sz="1176">
                    <a:solidFill>
                      <a:srgbClr val="0078D7"/>
                    </a:solidFill>
                    <a:latin typeface="Segoe UI Light" panose="020B0502040204020203" pitchFamily="34" charset="0"/>
                    <a:cs typeface="Segoe UI Light" panose="020B0502040204020203" pitchFamily="34" charset="0"/>
                  </a:rPr>
                  <a:t>Dev machine</a:t>
                </a:r>
              </a:p>
            </p:txBody>
          </p:sp>
        </p:grpSp>
      </p:grpSp>
    </p:spTree>
    <p:extLst>
      <p:ext uri="{BB962C8B-B14F-4D97-AF65-F5344CB8AC3E}">
        <p14:creationId xmlns:p14="http://schemas.microsoft.com/office/powerpoint/2010/main" val="11725649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7E1411E8-D81C-419C-9F7F-8FCE92534C4A}"/>
              </a:ext>
            </a:extLst>
          </p:cNvPr>
          <p:cNvSpPr/>
          <p:nvPr/>
        </p:nvSpPr>
        <p:spPr>
          <a:xfrm>
            <a:off x="1499631" y="2370649"/>
            <a:ext cx="9192739" cy="3448636"/>
          </a:xfrm>
          <a:prstGeom prst="roundRect">
            <a:avLst/>
          </a:prstGeom>
          <a:noFill/>
          <a:ln w="38100">
            <a:solidFill>
              <a:srgbClr val="0078D7"/>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178" name="Rectangle 177">
            <a:extLst>
              <a:ext uri="{FF2B5EF4-FFF2-40B4-BE49-F238E27FC236}">
                <a16:creationId xmlns:a16="http://schemas.microsoft.com/office/drawing/2014/main" id="{62EE96F3-2BBE-41B5-ADC8-939ACE0D6984}"/>
              </a:ext>
            </a:extLst>
          </p:cNvPr>
          <p:cNvSpPr/>
          <p:nvPr/>
        </p:nvSpPr>
        <p:spPr>
          <a:xfrm>
            <a:off x="3107918" y="2165558"/>
            <a:ext cx="5743086" cy="36843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155" name="Group 154">
            <a:extLst>
              <a:ext uri="{FF2B5EF4-FFF2-40B4-BE49-F238E27FC236}">
                <a16:creationId xmlns:a16="http://schemas.microsoft.com/office/drawing/2014/main" id="{291EC632-FF0B-4B1B-B0FE-33D84DAFFB48}"/>
              </a:ext>
            </a:extLst>
          </p:cNvPr>
          <p:cNvGrpSpPr/>
          <p:nvPr/>
        </p:nvGrpSpPr>
        <p:grpSpPr>
          <a:xfrm>
            <a:off x="3240411" y="1943481"/>
            <a:ext cx="675766" cy="675766"/>
            <a:chOff x="2798573" y="1470990"/>
            <a:chExt cx="675862" cy="675862"/>
          </a:xfrm>
        </p:grpSpPr>
        <p:sp>
          <p:nvSpPr>
            <p:cNvPr id="159" name="Oval 158">
              <a:extLst>
                <a:ext uri="{FF2B5EF4-FFF2-40B4-BE49-F238E27FC236}">
                  <a16:creationId xmlns:a16="http://schemas.microsoft.com/office/drawing/2014/main" id="{901A7817-5A74-48B6-BC99-619C396979B4}"/>
                </a:ext>
              </a:extLst>
            </p:cNvPr>
            <p:cNvSpPr/>
            <p:nvPr/>
          </p:nvSpPr>
          <p:spPr>
            <a:xfrm>
              <a:off x="2798573" y="1470990"/>
              <a:ext cx="675862" cy="675862"/>
            </a:xfrm>
            <a:prstGeom prst="ellipse">
              <a:avLst/>
            </a:prstGeom>
            <a:solidFill>
              <a:schemeClr val="bg1"/>
            </a:solid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78D7"/>
                </a:solidFill>
                <a:latin typeface="Segoe UI"/>
              </a:endParaRPr>
            </a:p>
          </p:txBody>
        </p:sp>
        <p:sp>
          <p:nvSpPr>
            <p:cNvPr id="160" name="Freeform 124">
              <a:extLst>
                <a:ext uri="{FF2B5EF4-FFF2-40B4-BE49-F238E27FC236}">
                  <a16:creationId xmlns:a16="http://schemas.microsoft.com/office/drawing/2014/main" id="{D2017A30-3995-4955-9961-13074F974E15}"/>
                </a:ext>
              </a:extLst>
            </p:cNvPr>
            <p:cNvSpPr>
              <a:spLocks/>
            </p:cNvSpPr>
            <p:nvPr/>
          </p:nvSpPr>
          <p:spPr bwMode="black">
            <a:xfrm>
              <a:off x="2933753" y="1697309"/>
              <a:ext cx="405502" cy="223225"/>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 name="connsiteX0" fmla="*/ 9937 w 9981"/>
                <a:gd name="connsiteY0" fmla="*/ 5537 h 9817"/>
                <a:gd name="connsiteX1" fmla="*/ 9524 w 9981"/>
                <a:gd name="connsiteY1" fmla="*/ 5114 h 9817"/>
                <a:gd name="connsiteX2" fmla="*/ 9333 w 9981"/>
                <a:gd name="connsiteY2" fmla="*/ 4986 h 9817"/>
                <a:gd name="connsiteX3" fmla="*/ 3937 w 9981"/>
                <a:gd name="connsiteY3" fmla="*/ 2275 h 9817"/>
                <a:gd name="connsiteX4" fmla="*/ 3968 w 9981"/>
                <a:gd name="connsiteY4" fmla="*/ 2190 h 9817"/>
                <a:gd name="connsiteX5" fmla="*/ 3175 w 9981"/>
                <a:gd name="connsiteY5" fmla="*/ 1470 h 9817"/>
                <a:gd name="connsiteX6" fmla="*/ 4857 w 9981"/>
                <a:gd name="connsiteY6" fmla="*/ 283 h 9817"/>
                <a:gd name="connsiteX7" fmla="*/ 3270 w 9981"/>
                <a:gd name="connsiteY7" fmla="*/ 156 h 9817"/>
                <a:gd name="connsiteX8" fmla="*/ 1937 w 9981"/>
                <a:gd name="connsiteY8" fmla="*/ 1681 h 9817"/>
                <a:gd name="connsiteX9" fmla="*/ 1714 w 9981"/>
                <a:gd name="connsiteY9" fmla="*/ 3419 h 9817"/>
                <a:gd name="connsiteX10" fmla="*/ 1175 w 9981"/>
                <a:gd name="connsiteY10" fmla="*/ 4563 h 9817"/>
                <a:gd name="connsiteX11" fmla="*/ 1778 w 9981"/>
                <a:gd name="connsiteY11" fmla="*/ 5453 h 9817"/>
                <a:gd name="connsiteX12" fmla="*/ 2000 w 9981"/>
                <a:gd name="connsiteY12" fmla="*/ 5537 h 9817"/>
                <a:gd name="connsiteX13" fmla="*/ 1111 w 9981"/>
                <a:gd name="connsiteY13" fmla="*/ 5537 h 9817"/>
                <a:gd name="connsiteX14" fmla="*/ 984 w 9981"/>
                <a:gd name="connsiteY14" fmla="*/ 5792 h 9817"/>
                <a:gd name="connsiteX15" fmla="*/ 1111 w 9981"/>
                <a:gd name="connsiteY15" fmla="*/ 6046 h 9817"/>
                <a:gd name="connsiteX16" fmla="*/ 1587 w 9981"/>
                <a:gd name="connsiteY16" fmla="*/ 6046 h 9817"/>
                <a:gd name="connsiteX17" fmla="*/ 1587 w 9981"/>
                <a:gd name="connsiteY17" fmla="*/ 7275 h 9817"/>
                <a:gd name="connsiteX18" fmla="*/ 0 w 9981"/>
                <a:gd name="connsiteY18" fmla="*/ 7275 h 9817"/>
                <a:gd name="connsiteX19" fmla="*/ 0 w 9981"/>
                <a:gd name="connsiteY19" fmla="*/ 9817 h 9817"/>
                <a:gd name="connsiteX20" fmla="*/ 7206 w 9981"/>
                <a:gd name="connsiteY20" fmla="*/ 9817 h 9817"/>
                <a:gd name="connsiteX21" fmla="*/ 1937 w 9981"/>
                <a:gd name="connsiteY21" fmla="*/ 7275 h 9817"/>
                <a:gd name="connsiteX22" fmla="*/ 1937 w 9981"/>
                <a:gd name="connsiteY22" fmla="*/ 6046 h 9817"/>
                <a:gd name="connsiteX23" fmla="*/ 2381 w 9981"/>
                <a:gd name="connsiteY23" fmla="*/ 6046 h 9817"/>
                <a:gd name="connsiteX24" fmla="*/ 2508 w 9981"/>
                <a:gd name="connsiteY24" fmla="*/ 5792 h 9817"/>
                <a:gd name="connsiteX25" fmla="*/ 2381 w 9981"/>
                <a:gd name="connsiteY25" fmla="*/ 5537 h 9817"/>
                <a:gd name="connsiteX26" fmla="*/ 2222 w 9981"/>
                <a:gd name="connsiteY26" fmla="*/ 5537 h 9817"/>
                <a:gd name="connsiteX27" fmla="*/ 2444 w 9981"/>
                <a:gd name="connsiteY27" fmla="*/ 5198 h 9817"/>
                <a:gd name="connsiteX28" fmla="*/ 2667 w 9981"/>
                <a:gd name="connsiteY28" fmla="*/ 3758 h 9817"/>
                <a:gd name="connsiteX29" fmla="*/ 3556 w 9981"/>
                <a:gd name="connsiteY29" fmla="*/ 3758 h 9817"/>
                <a:gd name="connsiteX30" fmla="*/ 3587 w 9981"/>
                <a:gd name="connsiteY30" fmla="*/ 3631 h 9817"/>
                <a:gd name="connsiteX31" fmla="*/ 8952 w 9981"/>
                <a:gd name="connsiteY31" fmla="*/ 6342 h 9817"/>
                <a:gd name="connsiteX32" fmla="*/ 9175 w 9981"/>
                <a:gd name="connsiteY32" fmla="*/ 6427 h 9817"/>
                <a:gd name="connsiteX33" fmla="*/ 9683 w 9981"/>
                <a:gd name="connsiteY33" fmla="*/ 6427 h 9817"/>
                <a:gd name="connsiteX34" fmla="*/ 9968 w 9981"/>
                <a:gd name="connsiteY34" fmla="*/ 5961 h 9817"/>
                <a:gd name="connsiteX35" fmla="*/ 9937 w 9981"/>
                <a:gd name="connsiteY35" fmla="*/ 5537 h 9817"/>
                <a:gd name="connsiteX0" fmla="*/ 9956 w 10000"/>
                <a:gd name="connsiteY0" fmla="*/ 5640 h 10000"/>
                <a:gd name="connsiteX1" fmla="*/ 9542 w 10000"/>
                <a:gd name="connsiteY1" fmla="*/ 5209 h 10000"/>
                <a:gd name="connsiteX2" fmla="*/ 9351 w 10000"/>
                <a:gd name="connsiteY2" fmla="*/ 5079 h 10000"/>
                <a:gd name="connsiteX3" fmla="*/ 3944 w 10000"/>
                <a:gd name="connsiteY3" fmla="*/ 2317 h 10000"/>
                <a:gd name="connsiteX4" fmla="*/ 3976 w 10000"/>
                <a:gd name="connsiteY4" fmla="*/ 2231 h 10000"/>
                <a:gd name="connsiteX5" fmla="*/ 3181 w 10000"/>
                <a:gd name="connsiteY5" fmla="*/ 1497 h 10000"/>
                <a:gd name="connsiteX6" fmla="*/ 4866 w 10000"/>
                <a:gd name="connsiteY6" fmla="*/ 288 h 10000"/>
                <a:gd name="connsiteX7" fmla="*/ 3276 w 10000"/>
                <a:gd name="connsiteY7" fmla="*/ 159 h 10000"/>
                <a:gd name="connsiteX8" fmla="*/ 1941 w 10000"/>
                <a:gd name="connsiteY8" fmla="*/ 1712 h 10000"/>
                <a:gd name="connsiteX9" fmla="*/ 1717 w 10000"/>
                <a:gd name="connsiteY9" fmla="*/ 3483 h 10000"/>
                <a:gd name="connsiteX10" fmla="*/ 1177 w 10000"/>
                <a:gd name="connsiteY10" fmla="*/ 4648 h 10000"/>
                <a:gd name="connsiteX11" fmla="*/ 1781 w 10000"/>
                <a:gd name="connsiteY11" fmla="*/ 5555 h 10000"/>
                <a:gd name="connsiteX12" fmla="*/ 2004 w 10000"/>
                <a:gd name="connsiteY12" fmla="*/ 5640 h 10000"/>
                <a:gd name="connsiteX13" fmla="*/ 1113 w 10000"/>
                <a:gd name="connsiteY13" fmla="*/ 5640 h 10000"/>
                <a:gd name="connsiteX14" fmla="*/ 986 w 10000"/>
                <a:gd name="connsiteY14" fmla="*/ 5900 h 10000"/>
                <a:gd name="connsiteX15" fmla="*/ 1113 w 10000"/>
                <a:gd name="connsiteY15" fmla="*/ 6159 h 10000"/>
                <a:gd name="connsiteX16" fmla="*/ 1590 w 10000"/>
                <a:gd name="connsiteY16" fmla="*/ 6159 h 10000"/>
                <a:gd name="connsiteX17" fmla="*/ 1590 w 10000"/>
                <a:gd name="connsiteY17" fmla="*/ 7411 h 10000"/>
                <a:gd name="connsiteX18" fmla="*/ 0 w 10000"/>
                <a:gd name="connsiteY18" fmla="*/ 7411 h 10000"/>
                <a:gd name="connsiteX19" fmla="*/ 0 w 10000"/>
                <a:gd name="connsiteY19" fmla="*/ 10000 h 10000"/>
                <a:gd name="connsiteX20" fmla="*/ 1941 w 10000"/>
                <a:gd name="connsiteY20" fmla="*/ 7411 h 10000"/>
                <a:gd name="connsiteX21" fmla="*/ 1941 w 10000"/>
                <a:gd name="connsiteY21" fmla="*/ 6159 h 10000"/>
                <a:gd name="connsiteX22" fmla="*/ 2386 w 10000"/>
                <a:gd name="connsiteY22" fmla="*/ 6159 h 10000"/>
                <a:gd name="connsiteX23" fmla="*/ 2513 w 10000"/>
                <a:gd name="connsiteY23" fmla="*/ 5900 h 10000"/>
                <a:gd name="connsiteX24" fmla="*/ 2386 w 10000"/>
                <a:gd name="connsiteY24" fmla="*/ 5640 h 10000"/>
                <a:gd name="connsiteX25" fmla="*/ 2226 w 10000"/>
                <a:gd name="connsiteY25" fmla="*/ 5640 h 10000"/>
                <a:gd name="connsiteX26" fmla="*/ 2449 w 10000"/>
                <a:gd name="connsiteY26" fmla="*/ 5295 h 10000"/>
                <a:gd name="connsiteX27" fmla="*/ 2672 w 10000"/>
                <a:gd name="connsiteY27" fmla="*/ 3828 h 10000"/>
                <a:gd name="connsiteX28" fmla="*/ 3563 w 10000"/>
                <a:gd name="connsiteY28" fmla="*/ 3828 h 10000"/>
                <a:gd name="connsiteX29" fmla="*/ 3594 w 10000"/>
                <a:gd name="connsiteY29" fmla="*/ 3699 h 10000"/>
                <a:gd name="connsiteX30" fmla="*/ 8969 w 10000"/>
                <a:gd name="connsiteY30" fmla="*/ 6460 h 10000"/>
                <a:gd name="connsiteX31" fmla="*/ 9192 w 10000"/>
                <a:gd name="connsiteY31" fmla="*/ 6547 h 10000"/>
                <a:gd name="connsiteX32" fmla="*/ 9701 w 10000"/>
                <a:gd name="connsiteY32" fmla="*/ 6547 h 10000"/>
                <a:gd name="connsiteX33" fmla="*/ 9987 w 10000"/>
                <a:gd name="connsiteY33" fmla="*/ 6072 h 10000"/>
                <a:gd name="connsiteX34" fmla="*/ 9956 w 10000"/>
                <a:gd name="connsiteY34" fmla="*/ 5640 h 10000"/>
                <a:gd name="connsiteX0" fmla="*/ 9956 w 10000"/>
                <a:gd name="connsiteY0" fmla="*/ 5640 h 7411"/>
                <a:gd name="connsiteX1" fmla="*/ 9542 w 10000"/>
                <a:gd name="connsiteY1" fmla="*/ 5209 h 7411"/>
                <a:gd name="connsiteX2" fmla="*/ 9351 w 10000"/>
                <a:gd name="connsiteY2" fmla="*/ 5079 h 7411"/>
                <a:gd name="connsiteX3" fmla="*/ 3944 w 10000"/>
                <a:gd name="connsiteY3" fmla="*/ 2317 h 7411"/>
                <a:gd name="connsiteX4" fmla="*/ 3976 w 10000"/>
                <a:gd name="connsiteY4" fmla="*/ 2231 h 7411"/>
                <a:gd name="connsiteX5" fmla="*/ 3181 w 10000"/>
                <a:gd name="connsiteY5" fmla="*/ 1497 h 7411"/>
                <a:gd name="connsiteX6" fmla="*/ 4866 w 10000"/>
                <a:gd name="connsiteY6" fmla="*/ 288 h 7411"/>
                <a:gd name="connsiteX7" fmla="*/ 3276 w 10000"/>
                <a:gd name="connsiteY7" fmla="*/ 159 h 7411"/>
                <a:gd name="connsiteX8" fmla="*/ 1941 w 10000"/>
                <a:gd name="connsiteY8" fmla="*/ 1712 h 7411"/>
                <a:gd name="connsiteX9" fmla="*/ 1717 w 10000"/>
                <a:gd name="connsiteY9" fmla="*/ 3483 h 7411"/>
                <a:gd name="connsiteX10" fmla="*/ 1177 w 10000"/>
                <a:gd name="connsiteY10" fmla="*/ 4648 h 7411"/>
                <a:gd name="connsiteX11" fmla="*/ 1781 w 10000"/>
                <a:gd name="connsiteY11" fmla="*/ 5555 h 7411"/>
                <a:gd name="connsiteX12" fmla="*/ 2004 w 10000"/>
                <a:gd name="connsiteY12" fmla="*/ 5640 h 7411"/>
                <a:gd name="connsiteX13" fmla="*/ 1113 w 10000"/>
                <a:gd name="connsiteY13" fmla="*/ 5640 h 7411"/>
                <a:gd name="connsiteX14" fmla="*/ 986 w 10000"/>
                <a:gd name="connsiteY14" fmla="*/ 5900 h 7411"/>
                <a:gd name="connsiteX15" fmla="*/ 1113 w 10000"/>
                <a:gd name="connsiteY15" fmla="*/ 6159 h 7411"/>
                <a:gd name="connsiteX16" fmla="*/ 1590 w 10000"/>
                <a:gd name="connsiteY16" fmla="*/ 6159 h 7411"/>
                <a:gd name="connsiteX17" fmla="*/ 1590 w 10000"/>
                <a:gd name="connsiteY17" fmla="*/ 7411 h 7411"/>
                <a:gd name="connsiteX18" fmla="*/ 0 w 10000"/>
                <a:gd name="connsiteY18" fmla="*/ 7411 h 7411"/>
                <a:gd name="connsiteX19" fmla="*/ 1941 w 10000"/>
                <a:gd name="connsiteY19" fmla="*/ 7411 h 7411"/>
                <a:gd name="connsiteX20" fmla="*/ 1941 w 10000"/>
                <a:gd name="connsiteY20" fmla="*/ 6159 h 7411"/>
                <a:gd name="connsiteX21" fmla="*/ 2386 w 10000"/>
                <a:gd name="connsiteY21" fmla="*/ 6159 h 7411"/>
                <a:gd name="connsiteX22" fmla="*/ 2513 w 10000"/>
                <a:gd name="connsiteY22" fmla="*/ 5900 h 7411"/>
                <a:gd name="connsiteX23" fmla="*/ 2386 w 10000"/>
                <a:gd name="connsiteY23" fmla="*/ 5640 h 7411"/>
                <a:gd name="connsiteX24" fmla="*/ 2226 w 10000"/>
                <a:gd name="connsiteY24" fmla="*/ 5640 h 7411"/>
                <a:gd name="connsiteX25" fmla="*/ 2449 w 10000"/>
                <a:gd name="connsiteY25" fmla="*/ 5295 h 7411"/>
                <a:gd name="connsiteX26" fmla="*/ 2672 w 10000"/>
                <a:gd name="connsiteY26" fmla="*/ 3828 h 7411"/>
                <a:gd name="connsiteX27" fmla="*/ 3563 w 10000"/>
                <a:gd name="connsiteY27" fmla="*/ 3828 h 7411"/>
                <a:gd name="connsiteX28" fmla="*/ 3594 w 10000"/>
                <a:gd name="connsiteY28" fmla="*/ 3699 h 7411"/>
                <a:gd name="connsiteX29" fmla="*/ 8969 w 10000"/>
                <a:gd name="connsiteY29" fmla="*/ 6460 h 7411"/>
                <a:gd name="connsiteX30" fmla="*/ 9192 w 10000"/>
                <a:gd name="connsiteY30" fmla="*/ 6547 h 7411"/>
                <a:gd name="connsiteX31" fmla="*/ 9701 w 10000"/>
                <a:gd name="connsiteY31" fmla="*/ 6547 h 7411"/>
                <a:gd name="connsiteX32" fmla="*/ 9987 w 10000"/>
                <a:gd name="connsiteY32" fmla="*/ 6072 h 7411"/>
                <a:gd name="connsiteX33" fmla="*/ 9956 w 10000"/>
                <a:gd name="connsiteY33" fmla="*/ 5640 h 7411"/>
                <a:gd name="connsiteX0" fmla="*/ 8970 w 9014"/>
                <a:gd name="connsiteY0" fmla="*/ 7609 h 9999"/>
                <a:gd name="connsiteX1" fmla="*/ 8556 w 9014"/>
                <a:gd name="connsiteY1" fmla="*/ 7028 h 9999"/>
                <a:gd name="connsiteX2" fmla="*/ 8365 w 9014"/>
                <a:gd name="connsiteY2" fmla="*/ 6852 h 9999"/>
                <a:gd name="connsiteX3" fmla="*/ 2958 w 9014"/>
                <a:gd name="connsiteY3" fmla="*/ 3125 h 9999"/>
                <a:gd name="connsiteX4" fmla="*/ 2990 w 9014"/>
                <a:gd name="connsiteY4" fmla="*/ 3009 h 9999"/>
                <a:gd name="connsiteX5" fmla="*/ 2195 w 9014"/>
                <a:gd name="connsiteY5" fmla="*/ 2019 h 9999"/>
                <a:gd name="connsiteX6" fmla="*/ 3880 w 9014"/>
                <a:gd name="connsiteY6" fmla="*/ 388 h 9999"/>
                <a:gd name="connsiteX7" fmla="*/ 2290 w 9014"/>
                <a:gd name="connsiteY7" fmla="*/ 214 h 9999"/>
                <a:gd name="connsiteX8" fmla="*/ 955 w 9014"/>
                <a:gd name="connsiteY8" fmla="*/ 2309 h 9999"/>
                <a:gd name="connsiteX9" fmla="*/ 731 w 9014"/>
                <a:gd name="connsiteY9" fmla="*/ 4699 h 9999"/>
                <a:gd name="connsiteX10" fmla="*/ 191 w 9014"/>
                <a:gd name="connsiteY10" fmla="*/ 6271 h 9999"/>
                <a:gd name="connsiteX11" fmla="*/ 795 w 9014"/>
                <a:gd name="connsiteY11" fmla="*/ 7495 h 9999"/>
                <a:gd name="connsiteX12" fmla="*/ 1018 w 9014"/>
                <a:gd name="connsiteY12" fmla="*/ 7609 h 9999"/>
                <a:gd name="connsiteX13" fmla="*/ 127 w 9014"/>
                <a:gd name="connsiteY13" fmla="*/ 7609 h 9999"/>
                <a:gd name="connsiteX14" fmla="*/ 0 w 9014"/>
                <a:gd name="connsiteY14" fmla="*/ 7960 h 9999"/>
                <a:gd name="connsiteX15" fmla="*/ 127 w 9014"/>
                <a:gd name="connsiteY15" fmla="*/ 8310 h 9999"/>
                <a:gd name="connsiteX16" fmla="*/ 604 w 9014"/>
                <a:gd name="connsiteY16" fmla="*/ 8310 h 9999"/>
                <a:gd name="connsiteX17" fmla="*/ 604 w 9014"/>
                <a:gd name="connsiteY17" fmla="*/ 9999 h 9999"/>
                <a:gd name="connsiteX18" fmla="*/ 955 w 9014"/>
                <a:gd name="connsiteY18" fmla="*/ 9999 h 9999"/>
                <a:gd name="connsiteX19" fmla="*/ 955 w 9014"/>
                <a:gd name="connsiteY19" fmla="*/ 8310 h 9999"/>
                <a:gd name="connsiteX20" fmla="*/ 1400 w 9014"/>
                <a:gd name="connsiteY20" fmla="*/ 8310 h 9999"/>
                <a:gd name="connsiteX21" fmla="*/ 1527 w 9014"/>
                <a:gd name="connsiteY21" fmla="*/ 7960 h 9999"/>
                <a:gd name="connsiteX22" fmla="*/ 1400 w 9014"/>
                <a:gd name="connsiteY22" fmla="*/ 7609 h 9999"/>
                <a:gd name="connsiteX23" fmla="*/ 1240 w 9014"/>
                <a:gd name="connsiteY23" fmla="*/ 7609 h 9999"/>
                <a:gd name="connsiteX24" fmla="*/ 1463 w 9014"/>
                <a:gd name="connsiteY24" fmla="*/ 7144 h 9999"/>
                <a:gd name="connsiteX25" fmla="*/ 1686 w 9014"/>
                <a:gd name="connsiteY25" fmla="*/ 5164 h 9999"/>
                <a:gd name="connsiteX26" fmla="*/ 2577 w 9014"/>
                <a:gd name="connsiteY26" fmla="*/ 5164 h 9999"/>
                <a:gd name="connsiteX27" fmla="*/ 2608 w 9014"/>
                <a:gd name="connsiteY27" fmla="*/ 4990 h 9999"/>
                <a:gd name="connsiteX28" fmla="*/ 7983 w 9014"/>
                <a:gd name="connsiteY28" fmla="*/ 8716 h 9999"/>
                <a:gd name="connsiteX29" fmla="*/ 8206 w 9014"/>
                <a:gd name="connsiteY29" fmla="*/ 8833 h 9999"/>
                <a:gd name="connsiteX30" fmla="*/ 8715 w 9014"/>
                <a:gd name="connsiteY30" fmla="*/ 8833 h 9999"/>
                <a:gd name="connsiteX31" fmla="*/ 9001 w 9014"/>
                <a:gd name="connsiteY31" fmla="*/ 8192 h 9999"/>
                <a:gd name="connsiteX32" fmla="*/ 8970 w 9014"/>
                <a:gd name="connsiteY32" fmla="*/ 7609 h 9999"/>
                <a:gd name="connsiteX0" fmla="*/ 9976 w 10025"/>
                <a:gd name="connsiteY0" fmla="*/ 7610 h 10000"/>
                <a:gd name="connsiteX1" fmla="*/ 9517 w 10025"/>
                <a:gd name="connsiteY1" fmla="*/ 7029 h 10000"/>
                <a:gd name="connsiteX2" fmla="*/ 9305 w 10025"/>
                <a:gd name="connsiteY2" fmla="*/ 6853 h 10000"/>
                <a:gd name="connsiteX3" fmla="*/ 3307 w 10025"/>
                <a:gd name="connsiteY3" fmla="*/ 3125 h 10000"/>
                <a:gd name="connsiteX4" fmla="*/ 3342 w 10025"/>
                <a:gd name="connsiteY4" fmla="*/ 3009 h 10000"/>
                <a:gd name="connsiteX5" fmla="*/ 2460 w 10025"/>
                <a:gd name="connsiteY5" fmla="*/ 2019 h 10000"/>
                <a:gd name="connsiteX6" fmla="*/ 4329 w 10025"/>
                <a:gd name="connsiteY6" fmla="*/ 388 h 10000"/>
                <a:gd name="connsiteX7" fmla="*/ 2565 w 10025"/>
                <a:gd name="connsiteY7" fmla="*/ 214 h 10000"/>
                <a:gd name="connsiteX8" fmla="*/ 1084 w 10025"/>
                <a:gd name="connsiteY8" fmla="*/ 2309 h 10000"/>
                <a:gd name="connsiteX9" fmla="*/ 836 w 10025"/>
                <a:gd name="connsiteY9" fmla="*/ 4699 h 10000"/>
                <a:gd name="connsiteX10" fmla="*/ 237 w 10025"/>
                <a:gd name="connsiteY10" fmla="*/ 6272 h 10000"/>
                <a:gd name="connsiteX11" fmla="*/ 907 w 10025"/>
                <a:gd name="connsiteY11" fmla="*/ 7496 h 10000"/>
                <a:gd name="connsiteX12" fmla="*/ 1154 w 10025"/>
                <a:gd name="connsiteY12" fmla="*/ 7610 h 10000"/>
                <a:gd name="connsiteX13" fmla="*/ 166 w 10025"/>
                <a:gd name="connsiteY13" fmla="*/ 7610 h 10000"/>
                <a:gd name="connsiteX14" fmla="*/ 25 w 10025"/>
                <a:gd name="connsiteY14" fmla="*/ 7961 h 10000"/>
                <a:gd name="connsiteX15" fmla="*/ 695 w 10025"/>
                <a:gd name="connsiteY15" fmla="*/ 8311 h 10000"/>
                <a:gd name="connsiteX16" fmla="*/ 695 w 10025"/>
                <a:gd name="connsiteY16" fmla="*/ 10000 h 10000"/>
                <a:gd name="connsiteX17" fmla="*/ 1084 w 10025"/>
                <a:gd name="connsiteY17" fmla="*/ 10000 h 10000"/>
                <a:gd name="connsiteX18" fmla="*/ 1084 w 10025"/>
                <a:gd name="connsiteY18" fmla="*/ 8311 h 10000"/>
                <a:gd name="connsiteX19" fmla="*/ 1578 w 10025"/>
                <a:gd name="connsiteY19" fmla="*/ 8311 h 10000"/>
                <a:gd name="connsiteX20" fmla="*/ 1719 w 10025"/>
                <a:gd name="connsiteY20" fmla="*/ 7961 h 10000"/>
                <a:gd name="connsiteX21" fmla="*/ 1578 w 10025"/>
                <a:gd name="connsiteY21" fmla="*/ 7610 h 10000"/>
                <a:gd name="connsiteX22" fmla="*/ 1401 w 10025"/>
                <a:gd name="connsiteY22" fmla="*/ 7610 h 10000"/>
                <a:gd name="connsiteX23" fmla="*/ 1648 w 10025"/>
                <a:gd name="connsiteY23" fmla="*/ 7145 h 10000"/>
                <a:gd name="connsiteX24" fmla="*/ 1895 w 10025"/>
                <a:gd name="connsiteY24" fmla="*/ 5165 h 10000"/>
                <a:gd name="connsiteX25" fmla="*/ 2884 w 10025"/>
                <a:gd name="connsiteY25" fmla="*/ 5165 h 10000"/>
                <a:gd name="connsiteX26" fmla="*/ 2918 w 10025"/>
                <a:gd name="connsiteY26" fmla="*/ 4990 h 10000"/>
                <a:gd name="connsiteX27" fmla="*/ 8881 w 10025"/>
                <a:gd name="connsiteY27" fmla="*/ 8717 h 10000"/>
                <a:gd name="connsiteX28" fmla="*/ 9129 w 10025"/>
                <a:gd name="connsiteY28" fmla="*/ 8834 h 10000"/>
                <a:gd name="connsiteX29" fmla="*/ 9693 w 10025"/>
                <a:gd name="connsiteY29" fmla="*/ 8834 h 10000"/>
                <a:gd name="connsiteX30" fmla="*/ 10011 w 10025"/>
                <a:gd name="connsiteY30" fmla="*/ 8193 h 10000"/>
                <a:gd name="connsiteX31" fmla="*/ 9976 w 10025"/>
                <a:gd name="connsiteY31" fmla="*/ 7610 h 10000"/>
                <a:gd name="connsiteX0" fmla="*/ 9951 w 10000"/>
                <a:gd name="connsiteY0" fmla="*/ 7610 h 10000"/>
                <a:gd name="connsiteX1" fmla="*/ 9492 w 10000"/>
                <a:gd name="connsiteY1" fmla="*/ 7029 h 10000"/>
                <a:gd name="connsiteX2" fmla="*/ 9280 w 10000"/>
                <a:gd name="connsiteY2" fmla="*/ 6853 h 10000"/>
                <a:gd name="connsiteX3" fmla="*/ 3282 w 10000"/>
                <a:gd name="connsiteY3" fmla="*/ 3125 h 10000"/>
                <a:gd name="connsiteX4" fmla="*/ 3317 w 10000"/>
                <a:gd name="connsiteY4" fmla="*/ 3009 h 10000"/>
                <a:gd name="connsiteX5" fmla="*/ 2435 w 10000"/>
                <a:gd name="connsiteY5" fmla="*/ 2019 h 10000"/>
                <a:gd name="connsiteX6" fmla="*/ 4304 w 10000"/>
                <a:gd name="connsiteY6" fmla="*/ 388 h 10000"/>
                <a:gd name="connsiteX7" fmla="*/ 2540 w 10000"/>
                <a:gd name="connsiteY7" fmla="*/ 214 h 10000"/>
                <a:gd name="connsiteX8" fmla="*/ 1059 w 10000"/>
                <a:gd name="connsiteY8" fmla="*/ 2309 h 10000"/>
                <a:gd name="connsiteX9" fmla="*/ 811 w 10000"/>
                <a:gd name="connsiteY9" fmla="*/ 4699 h 10000"/>
                <a:gd name="connsiteX10" fmla="*/ 212 w 10000"/>
                <a:gd name="connsiteY10" fmla="*/ 6272 h 10000"/>
                <a:gd name="connsiteX11" fmla="*/ 882 w 10000"/>
                <a:gd name="connsiteY11" fmla="*/ 7496 h 10000"/>
                <a:gd name="connsiteX12" fmla="*/ 1129 w 10000"/>
                <a:gd name="connsiteY12" fmla="*/ 7610 h 10000"/>
                <a:gd name="connsiteX13" fmla="*/ 0 w 10000"/>
                <a:gd name="connsiteY13" fmla="*/ 7961 h 10000"/>
                <a:gd name="connsiteX14" fmla="*/ 670 w 10000"/>
                <a:gd name="connsiteY14" fmla="*/ 8311 h 10000"/>
                <a:gd name="connsiteX15" fmla="*/ 670 w 10000"/>
                <a:gd name="connsiteY15" fmla="*/ 10000 h 10000"/>
                <a:gd name="connsiteX16" fmla="*/ 1059 w 10000"/>
                <a:gd name="connsiteY16" fmla="*/ 10000 h 10000"/>
                <a:gd name="connsiteX17" fmla="*/ 1059 w 10000"/>
                <a:gd name="connsiteY17" fmla="*/ 8311 h 10000"/>
                <a:gd name="connsiteX18" fmla="*/ 1553 w 10000"/>
                <a:gd name="connsiteY18" fmla="*/ 8311 h 10000"/>
                <a:gd name="connsiteX19" fmla="*/ 1694 w 10000"/>
                <a:gd name="connsiteY19" fmla="*/ 7961 h 10000"/>
                <a:gd name="connsiteX20" fmla="*/ 1553 w 10000"/>
                <a:gd name="connsiteY20" fmla="*/ 7610 h 10000"/>
                <a:gd name="connsiteX21" fmla="*/ 1376 w 10000"/>
                <a:gd name="connsiteY21" fmla="*/ 7610 h 10000"/>
                <a:gd name="connsiteX22" fmla="*/ 1623 w 10000"/>
                <a:gd name="connsiteY22" fmla="*/ 7145 h 10000"/>
                <a:gd name="connsiteX23" fmla="*/ 1870 w 10000"/>
                <a:gd name="connsiteY23" fmla="*/ 5165 h 10000"/>
                <a:gd name="connsiteX24" fmla="*/ 2859 w 10000"/>
                <a:gd name="connsiteY24" fmla="*/ 5165 h 10000"/>
                <a:gd name="connsiteX25" fmla="*/ 2893 w 10000"/>
                <a:gd name="connsiteY25" fmla="*/ 4990 h 10000"/>
                <a:gd name="connsiteX26" fmla="*/ 8856 w 10000"/>
                <a:gd name="connsiteY26" fmla="*/ 8717 h 10000"/>
                <a:gd name="connsiteX27" fmla="*/ 9104 w 10000"/>
                <a:gd name="connsiteY27" fmla="*/ 8834 h 10000"/>
                <a:gd name="connsiteX28" fmla="*/ 9668 w 10000"/>
                <a:gd name="connsiteY28" fmla="*/ 8834 h 10000"/>
                <a:gd name="connsiteX29" fmla="*/ 9986 w 10000"/>
                <a:gd name="connsiteY29" fmla="*/ 8193 h 10000"/>
                <a:gd name="connsiteX30" fmla="*/ 9951 w 10000"/>
                <a:gd name="connsiteY30" fmla="*/ 7610 h 10000"/>
                <a:gd name="connsiteX0" fmla="*/ 9776 w 9825"/>
                <a:gd name="connsiteY0" fmla="*/ 7610 h 10000"/>
                <a:gd name="connsiteX1" fmla="*/ 9317 w 9825"/>
                <a:gd name="connsiteY1" fmla="*/ 7029 h 10000"/>
                <a:gd name="connsiteX2" fmla="*/ 9105 w 9825"/>
                <a:gd name="connsiteY2" fmla="*/ 6853 h 10000"/>
                <a:gd name="connsiteX3" fmla="*/ 3107 w 9825"/>
                <a:gd name="connsiteY3" fmla="*/ 3125 h 10000"/>
                <a:gd name="connsiteX4" fmla="*/ 3142 w 9825"/>
                <a:gd name="connsiteY4" fmla="*/ 3009 h 10000"/>
                <a:gd name="connsiteX5" fmla="*/ 2260 w 9825"/>
                <a:gd name="connsiteY5" fmla="*/ 2019 h 10000"/>
                <a:gd name="connsiteX6" fmla="*/ 4129 w 9825"/>
                <a:gd name="connsiteY6" fmla="*/ 388 h 10000"/>
                <a:gd name="connsiteX7" fmla="*/ 2365 w 9825"/>
                <a:gd name="connsiteY7" fmla="*/ 214 h 10000"/>
                <a:gd name="connsiteX8" fmla="*/ 884 w 9825"/>
                <a:gd name="connsiteY8" fmla="*/ 2309 h 10000"/>
                <a:gd name="connsiteX9" fmla="*/ 636 w 9825"/>
                <a:gd name="connsiteY9" fmla="*/ 4699 h 10000"/>
                <a:gd name="connsiteX10" fmla="*/ 37 w 9825"/>
                <a:gd name="connsiteY10" fmla="*/ 6272 h 10000"/>
                <a:gd name="connsiteX11" fmla="*/ 707 w 9825"/>
                <a:gd name="connsiteY11" fmla="*/ 7496 h 10000"/>
                <a:gd name="connsiteX12" fmla="*/ 954 w 9825"/>
                <a:gd name="connsiteY12" fmla="*/ 7610 h 10000"/>
                <a:gd name="connsiteX13" fmla="*/ 495 w 9825"/>
                <a:gd name="connsiteY13" fmla="*/ 8311 h 10000"/>
                <a:gd name="connsiteX14" fmla="*/ 495 w 9825"/>
                <a:gd name="connsiteY14" fmla="*/ 10000 h 10000"/>
                <a:gd name="connsiteX15" fmla="*/ 884 w 9825"/>
                <a:gd name="connsiteY15" fmla="*/ 10000 h 10000"/>
                <a:gd name="connsiteX16" fmla="*/ 884 w 9825"/>
                <a:gd name="connsiteY16" fmla="*/ 8311 h 10000"/>
                <a:gd name="connsiteX17" fmla="*/ 1378 w 9825"/>
                <a:gd name="connsiteY17" fmla="*/ 8311 h 10000"/>
                <a:gd name="connsiteX18" fmla="*/ 1519 w 9825"/>
                <a:gd name="connsiteY18" fmla="*/ 7961 h 10000"/>
                <a:gd name="connsiteX19" fmla="*/ 1378 w 9825"/>
                <a:gd name="connsiteY19" fmla="*/ 7610 h 10000"/>
                <a:gd name="connsiteX20" fmla="*/ 1201 w 9825"/>
                <a:gd name="connsiteY20" fmla="*/ 7610 h 10000"/>
                <a:gd name="connsiteX21" fmla="*/ 1448 w 9825"/>
                <a:gd name="connsiteY21" fmla="*/ 7145 h 10000"/>
                <a:gd name="connsiteX22" fmla="*/ 1695 w 9825"/>
                <a:gd name="connsiteY22" fmla="*/ 5165 h 10000"/>
                <a:gd name="connsiteX23" fmla="*/ 2684 w 9825"/>
                <a:gd name="connsiteY23" fmla="*/ 5165 h 10000"/>
                <a:gd name="connsiteX24" fmla="*/ 2718 w 9825"/>
                <a:gd name="connsiteY24" fmla="*/ 4990 h 10000"/>
                <a:gd name="connsiteX25" fmla="*/ 8681 w 9825"/>
                <a:gd name="connsiteY25" fmla="*/ 8717 h 10000"/>
                <a:gd name="connsiteX26" fmla="*/ 8929 w 9825"/>
                <a:gd name="connsiteY26" fmla="*/ 8834 h 10000"/>
                <a:gd name="connsiteX27" fmla="*/ 9493 w 9825"/>
                <a:gd name="connsiteY27" fmla="*/ 8834 h 10000"/>
                <a:gd name="connsiteX28" fmla="*/ 9811 w 9825"/>
                <a:gd name="connsiteY28" fmla="*/ 8193 h 10000"/>
                <a:gd name="connsiteX29" fmla="*/ 9776 w 9825"/>
                <a:gd name="connsiteY29"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403 w 10000"/>
                <a:gd name="connsiteY17" fmla="*/ 8311 h 10000"/>
                <a:gd name="connsiteX18" fmla="*/ 1546 w 10000"/>
                <a:gd name="connsiteY18" fmla="*/ 7961 h 10000"/>
                <a:gd name="connsiteX19" fmla="*/ 1222 w 10000"/>
                <a:gd name="connsiteY19" fmla="*/ 7610 h 10000"/>
                <a:gd name="connsiteX20" fmla="*/ 1474 w 10000"/>
                <a:gd name="connsiteY20" fmla="*/ 7145 h 10000"/>
                <a:gd name="connsiteX21" fmla="*/ 1725 w 10000"/>
                <a:gd name="connsiteY21" fmla="*/ 5165 h 10000"/>
                <a:gd name="connsiteX22" fmla="*/ 2732 w 10000"/>
                <a:gd name="connsiteY22" fmla="*/ 5165 h 10000"/>
                <a:gd name="connsiteX23" fmla="*/ 2766 w 10000"/>
                <a:gd name="connsiteY23" fmla="*/ 4990 h 10000"/>
                <a:gd name="connsiteX24" fmla="*/ 8836 w 10000"/>
                <a:gd name="connsiteY24" fmla="*/ 8717 h 10000"/>
                <a:gd name="connsiteX25" fmla="*/ 9088 w 10000"/>
                <a:gd name="connsiteY25" fmla="*/ 8834 h 10000"/>
                <a:gd name="connsiteX26" fmla="*/ 9662 w 10000"/>
                <a:gd name="connsiteY26" fmla="*/ 8834 h 10000"/>
                <a:gd name="connsiteX27" fmla="*/ 9986 w 10000"/>
                <a:gd name="connsiteY27" fmla="*/ 8193 h 10000"/>
                <a:gd name="connsiteX28" fmla="*/ 9950 w 10000"/>
                <a:gd name="connsiteY28"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403 w 10000"/>
                <a:gd name="connsiteY17" fmla="*/ 8311 h 10000"/>
                <a:gd name="connsiteX18" fmla="*/ 1222 w 10000"/>
                <a:gd name="connsiteY18" fmla="*/ 7610 h 10000"/>
                <a:gd name="connsiteX19" fmla="*/ 1474 w 10000"/>
                <a:gd name="connsiteY19" fmla="*/ 7145 h 10000"/>
                <a:gd name="connsiteX20" fmla="*/ 1725 w 10000"/>
                <a:gd name="connsiteY20" fmla="*/ 5165 h 10000"/>
                <a:gd name="connsiteX21" fmla="*/ 2732 w 10000"/>
                <a:gd name="connsiteY21" fmla="*/ 5165 h 10000"/>
                <a:gd name="connsiteX22" fmla="*/ 2766 w 10000"/>
                <a:gd name="connsiteY22" fmla="*/ 4990 h 10000"/>
                <a:gd name="connsiteX23" fmla="*/ 8836 w 10000"/>
                <a:gd name="connsiteY23" fmla="*/ 8717 h 10000"/>
                <a:gd name="connsiteX24" fmla="*/ 9088 w 10000"/>
                <a:gd name="connsiteY24" fmla="*/ 8834 h 10000"/>
                <a:gd name="connsiteX25" fmla="*/ 9662 w 10000"/>
                <a:gd name="connsiteY25" fmla="*/ 8834 h 10000"/>
                <a:gd name="connsiteX26" fmla="*/ 9986 w 10000"/>
                <a:gd name="connsiteY26" fmla="*/ 8193 h 10000"/>
                <a:gd name="connsiteX27" fmla="*/ 9950 w 10000"/>
                <a:gd name="connsiteY27"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222 w 10000"/>
                <a:gd name="connsiteY17" fmla="*/ 7610 h 10000"/>
                <a:gd name="connsiteX18" fmla="*/ 1474 w 10000"/>
                <a:gd name="connsiteY18" fmla="*/ 7145 h 10000"/>
                <a:gd name="connsiteX19" fmla="*/ 1725 w 10000"/>
                <a:gd name="connsiteY19" fmla="*/ 5165 h 10000"/>
                <a:gd name="connsiteX20" fmla="*/ 2732 w 10000"/>
                <a:gd name="connsiteY20" fmla="*/ 5165 h 10000"/>
                <a:gd name="connsiteX21" fmla="*/ 2766 w 10000"/>
                <a:gd name="connsiteY21" fmla="*/ 4990 h 10000"/>
                <a:gd name="connsiteX22" fmla="*/ 8836 w 10000"/>
                <a:gd name="connsiteY22" fmla="*/ 8717 h 10000"/>
                <a:gd name="connsiteX23" fmla="*/ 9088 w 10000"/>
                <a:gd name="connsiteY23" fmla="*/ 8834 h 10000"/>
                <a:gd name="connsiteX24" fmla="*/ 9662 w 10000"/>
                <a:gd name="connsiteY24" fmla="*/ 8834 h 10000"/>
                <a:gd name="connsiteX25" fmla="*/ 9986 w 10000"/>
                <a:gd name="connsiteY25" fmla="*/ 8193 h 10000"/>
                <a:gd name="connsiteX26" fmla="*/ 9950 w 10000"/>
                <a:gd name="connsiteY26"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1222 w 10000"/>
                <a:gd name="connsiteY16" fmla="*/ 7610 h 10000"/>
                <a:gd name="connsiteX17" fmla="*/ 1474 w 10000"/>
                <a:gd name="connsiteY17" fmla="*/ 7145 h 10000"/>
                <a:gd name="connsiteX18" fmla="*/ 1725 w 10000"/>
                <a:gd name="connsiteY18" fmla="*/ 5165 h 10000"/>
                <a:gd name="connsiteX19" fmla="*/ 2732 w 10000"/>
                <a:gd name="connsiteY19" fmla="*/ 5165 h 10000"/>
                <a:gd name="connsiteX20" fmla="*/ 2766 w 10000"/>
                <a:gd name="connsiteY20" fmla="*/ 4990 h 10000"/>
                <a:gd name="connsiteX21" fmla="*/ 8836 w 10000"/>
                <a:gd name="connsiteY21" fmla="*/ 8717 h 10000"/>
                <a:gd name="connsiteX22" fmla="*/ 9088 w 10000"/>
                <a:gd name="connsiteY22" fmla="*/ 8834 h 10000"/>
                <a:gd name="connsiteX23" fmla="*/ 9662 w 10000"/>
                <a:gd name="connsiteY23" fmla="*/ 8834 h 10000"/>
                <a:gd name="connsiteX24" fmla="*/ 9986 w 10000"/>
                <a:gd name="connsiteY24" fmla="*/ 8193 h 10000"/>
                <a:gd name="connsiteX25" fmla="*/ 9950 w 10000"/>
                <a:gd name="connsiteY25"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10000 h 10000"/>
                <a:gd name="connsiteX14" fmla="*/ 900 w 10000"/>
                <a:gd name="connsiteY14" fmla="*/ 10000 h 10000"/>
                <a:gd name="connsiteX15" fmla="*/ 1222 w 10000"/>
                <a:gd name="connsiteY15" fmla="*/ 7610 h 10000"/>
                <a:gd name="connsiteX16" fmla="*/ 1474 w 10000"/>
                <a:gd name="connsiteY16" fmla="*/ 7145 h 10000"/>
                <a:gd name="connsiteX17" fmla="*/ 1725 w 10000"/>
                <a:gd name="connsiteY17" fmla="*/ 5165 h 10000"/>
                <a:gd name="connsiteX18" fmla="*/ 2732 w 10000"/>
                <a:gd name="connsiteY18" fmla="*/ 5165 h 10000"/>
                <a:gd name="connsiteX19" fmla="*/ 2766 w 10000"/>
                <a:gd name="connsiteY19" fmla="*/ 4990 h 10000"/>
                <a:gd name="connsiteX20" fmla="*/ 8836 w 10000"/>
                <a:gd name="connsiteY20" fmla="*/ 8717 h 10000"/>
                <a:gd name="connsiteX21" fmla="*/ 9088 w 10000"/>
                <a:gd name="connsiteY21" fmla="*/ 8834 h 10000"/>
                <a:gd name="connsiteX22" fmla="*/ 9662 w 10000"/>
                <a:gd name="connsiteY22" fmla="*/ 8834 h 10000"/>
                <a:gd name="connsiteX23" fmla="*/ 9986 w 10000"/>
                <a:gd name="connsiteY23" fmla="*/ 8193 h 10000"/>
                <a:gd name="connsiteX24" fmla="*/ 9950 w 10000"/>
                <a:gd name="connsiteY24"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900 w 10000"/>
                <a:gd name="connsiteY13" fmla="*/ 10000 h 10000"/>
                <a:gd name="connsiteX14" fmla="*/ 1222 w 10000"/>
                <a:gd name="connsiteY14" fmla="*/ 7610 h 10000"/>
                <a:gd name="connsiteX15" fmla="*/ 1474 w 10000"/>
                <a:gd name="connsiteY15" fmla="*/ 7145 h 10000"/>
                <a:gd name="connsiteX16" fmla="*/ 1725 w 10000"/>
                <a:gd name="connsiteY16" fmla="*/ 5165 h 10000"/>
                <a:gd name="connsiteX17" fmla="*/ 2732 w 10000"/>
                <a:gd name="connsiteY17" fmla="*/ 5165 h 10000"/>
                <a:gd name="connsiteX18" fmla="*/ 2766 w 10000"/>
                <a:gd name="connsiteY18" fmla="*/ 4990 h 10000"/>
                <a:gd name="connsiteX19" fmla="*/ 8836 w 10000"/>
                <a:gd name="connsiteY19" fmla="*/ 8717 h 10000"/>
                <a:gd name="connsiteX20" fmla="*/ 9088 w 10000"/>
                <a:gd name="connsiteY20" fmla="*/ 8834 h 10000"/>
                <a:gd name="connsiteX21" fmla="*/ 9662 w 10000"/>
                <a:gd name="connsiteY21" fmla="*/ 8834 h 10000"/>
                <a:gd name="connsiteX22" fmla="*/ 9986 w 10000"/>
                <a:gd name="connsiteY22" fmla="*/ 8193 h 10000"/>
                <a:gd name="connsiteX23" fmla="*/ 9950 w 10000"/>
                <a:gd name="connsiteY23" fmla="*/ 7610 h 10000"/>
                <a:gd name="connsiteX0" fmla="*/ 9950 w 10000"/>
                <a:gd name="connsiteY0" fmla="*/ 7610 h 8921"/>
                <a:gd name="connsiteX1" fmla="*/ 9483 w 10000"/>
                <a:gd name="connsiteY1" fmla="*/ 7029 h 8921"/>
                <a:gd name="connsiteX2" fmla="*/ 9267 w 10000"/>
                <a:gd name="connsiteY2" fmla="*/ 6853 h 8921"/>
                <a:gd name="connsiteX3" fmla="*/ 3162 w 10000"/>
                <a:gd name="connsiteY3" fmla="*/ 3125 h 8921"/>
                <a:gd name="connsiteX4" fmla="*/ 3198 w 10000"/>
                <a:gd name="connsiteY4" fmla="*/ 3009 h 8921"/>
                <a:gd name="connsiteX5" fmla="*/ 2300 w 10000"/>
                <a:gd name="connsiteY5" fmla="*/ 2019 h 8921"/>
                <a:gd name="connsiteX6" fmla="*/ 4203 w 10000"/>
                <a:gd name="connsiteY6" fmla="*/ 388 h 8921"/>
                <a:gd name="connsiteX7" fmla="*/ 2407 w 10000"/>
                <a:gd name="connsiteY7" fmla="*/ 214 h 8921"/>
                <a:gd name="connsiteX8" fmla="*/ 900 w 10000"/>
                <a:gd name="connsiteY8" fmla="*/ 2309 h 8921"/>
                <a:gd name="connsiteX9" fmla="*/ 647 w 10000"/>
                <a:gd name="connsiteY9" fmla="*/ 4699 h 8921"/>
                <a:gd name="connsiteX10" fmla="*/ 38 w 10000"/>
                <a:gd name="connsiteY10" fmla="*/ 6272 h 8921"/>
                <a:gd name="connsiteX11" fmla="*/ 720 w 10000"/>
                <a:gd name="connsiteY11" fmla="*/ 7496 h 8921"/>
                <a:gd name="connsiteX12" fmla="*/ 971 w 10000"/>
                <a:gd name="connsiteY12" fmla="*/ 7610 h 8921"/>
                <a:gd name="connsiteX13" fmla="*/ 1222 w 10000"/>
                <a:gd name="connsiteY13" fmla="*/ 7610 h 8921"/>
                <a:gd name="connsiteX14" fmla="*/ 1474 w 10000"/>
                <a:gd name="connsiteY14" fmla="*/ 7145 h 8921"/>
                <a:gd name="connsiteX15" fmla="*/ 1725 w 10000"/>
                <a:gd name="connsiteY15" fmla="*/ 5165 h 8921"/>
                <a:gd name="connsiteX16" fmla="*/ 2732 w 10000"/>
                <a:gd name="connsiteY16" fmla="*/ 5165 h 8921"/>
                <a:gd name="connsiteX17" fmla="*/ 2766 w 10000"/>
                <a:gd name="connsiteY17" fmla="*/ 4990 h 8921"/>
                <a:gd name="connsiteX18" fmla="*/ 8836 w 10000"/>
                <a:gd name="connsiteY18" fmla="*/ 8717 h 8921"/>
                <a:gd name="connsiteX19" fmla="*/ 9088 w 10000"/>
                <a:gd name="connsiteY19" fmla="*/ 8834 h 8921"/>
                <a:gd name="connsiteX20" fmla="*/ 9662 w 10000"/>
                <a:gd name="connsiteY20" fmla="*/ 8834 h 8921"/>
                <a:gd name="connsiteX21" fmla="*/ 9986 w 10000"/>
                <a:gd name="connsiteY21" fmla="*/ 8193 h 8921"/>
                <a:gd name="connsiteX22" fmla="*/ 9950 w 10000"/>
                <a:gd name="connsiteY22" fmla="*/ 7610 h 8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00" h="8921">
                  <a:moveTo>
                    <a:pt x="9950" y="7610"/>
                  </a:moveTo>
                  <a:cubicBezTo>
                    <a:pt x="9878" y="7378"/>
                    <a:pt x="9698" y="7145"/>
                    <a:pt x="9483" y="7029"/>
                  </a:cubicBezTo>
                  <a:lnTo>
                    <a:pt x="9267" y="6853"/>
                  </a:lnTo>
                  <a:cubicBezTo>
                    <a:pt x="7220" y="5631"/>
                    <a:pt x="5209" y="4407"/>
                    <a:pt x="3162" y="3125"/>
                  </a:cubicBezTo>
                  <a:cubicBezTo>
                    <a:pt x="3175" y="3086"/>
                    <a:pt x="3186" y="3049"/>
                    <a:pt x="3198" y="3009"/>
                  </a:cubicBezTo>
                  <a:cubicBezTo>
                    <a:pt x="3448" y="2776"/>
                    <a:pt x="2444" y="2718"/>
                    <a:pt x="2300" y="2019"/>
                  </a:cubicBezTo>
                  <a:cubicBezTo>
                    <a:pt x="2157" y="1262"/>
                    <a:pt x="3952" y="563"/>
                    <a:pt x="4203" y="388"/>
                  </a:cubicBezTo>
                  <a:cubicBezTo>
                    <a:pt x="4491" y="156"/>
                    <a:pt x="3198" y="-252"/>
                    <a:pt x="2407" y="214"/>
                  </a:cubicBezTo>
                  <a:cubicBezTo>
                    <a:pt x="1617" y="679"/>
                    <a:pt x="1186" y="1436"/>
                    <a:pt x="900" y="2309"/>
                  </a:cubicBezTo>
                  <a:cubicBezTo>
                    <a:pt x="613" y="3125"/>
                    <a:pt x="683" y="4232"/>
                    <a:pt x="647" y="4699"/>
                  </a:cubicBezTo>
                  <a:cubicBezTo>
                    <a:pt x="647" y="5106"/>
                    <a:pt x="145" y="5806"/>
                    <a:pt x="38" y="6272"/>
                  </a:cubicBezTo>
                  <a:cubicBezTo>
                    <a:pt x="-141" y="7029"/>
                    <a:pt x="360" y="7261"/>
                    <a:pt x="720" y="7496"/>
                  </a:cubicBezTo>
                  <a:cubicBezTo>
                    <a:pt x="827" y="7552"/>
                    <a:pt x="888" y="7591"/>
                    <a:pt x="971" y="7610"/>
                  </a:cubicBezTo>
                  <a:cubicBezTo>
                    <a:pt x="1054" y="7629"/>
                    <a:pt x="1138" y="7687"/>
                    <a:pt x="1222" y="7610"/>
                  </a:cubicBezTo>
                  <a:cubicBezTo>
                    <a:pt x="1329" y="7552"/>
                    <a:pt x="1403" y="7436"/>
                    <a:pt x="1474" y="7145"/>
                  </a:cubicBezTo>
                  <a:cubicBezTo>
                    <a:pt x="1653" y="6621"/>
                    <a:pt x="1439" y="5806"/>
                    <a:pt x="1725" y="5165"/>
                  </a:cubicBezTo>
                  <a:cubicBezTo>
                    <a:pt x="1977" y="4581"/>
                    <a:pt x="2732" y="5165"/>
                    <a:pt x="2732" y="5165"/>
                  </a:cubicBezTo>
                  <a:cubicBezTo>
                    <a:pt x="2743" y="5107"/>
                    <a:pt x="2755" y="5049"/>
                    <a:pt x="2766" y="4990"/>
                  </a:cubicBezTo>
                  <a:cubicBezTo>
                    <a:pt x="4814" y="6212"/>
                    <a:pt x="6826" y="7436"/>
                    <a:pt x="8836" y="8717"/>
                  </a:cubicBezTo>
                  <a:cubicBezTo>
                    <a:pt x="8908" y="8717"/>
                    <a:pt x="9016" y="8776"/>
                    <a:pt x="9088" y="8834"/>
                  </a:cubicBezTo>
                  <a:cubicBezTo>
                    <a:pt x="9267" y="8950"/>
                    <a:pt x="9483" y="8950"/>
                    <a:pt x="9662" y="8834"/>
                  </a:cubicBezTo>
                  <a:cubicBezTo>
                    <a:pt x="9842" y="8717"/>
                    <a:pt x="9986" y="8485"/>
                    <a:pt x="9986" y="8193"/>
                  </a:cubicBezTo>
                  <a:cubicBezTo>
                    <a:pt x="10021" y="8019"/>
                    <a:pt x="9986" y="7786"/>
                    <a:pt x="9950" y="7610"/>
                  </a:cubicBezTo>
                  <a:close/>
                </a:path>
              </a:pathLst>
            </a:custGeom>
            <a:solidFill>
              <a:srgbClr val="0078D7"/>
            </a:solidFill>
            <a:ln w="28575">
              <a:noFill/>
            </a:ln>
          </p:spPr>
          <p:txBody>
            <a:bodyPr vert="horz" wrap="square" lIns="82293" tIns="41147" rIns="82293" bIns="41147" numCol="1" anchor="t" anchorCtr="0" compatLnSpc="1">
              <a:prstTxWarp prst="textNoShape">
                <a:avLst/>
              </a:prstTxWarp>
            </a:bodyPr>
            <a:lstStyle/>
            <a:p>
              <a:pPr defTabSz="914225">
                <a:defRPr/>
              </a:pPr>
              <a:endParaRPr lang="en-US" sz="1600">
                <a:solidFill>
                  <a:srgbClr val="0078D7"/>
                </a:solidFill>
                <a:latin typeface="Segoe Pro" pitchFamily="34" charset="0"/>
              </a:endParaRPr>
            </a:p>
          </p:txBody>
        </p:sp>
      </p:grpSp>
      <p:pic>
        <p:nvPicPr>
          <p:cNvPr id="166" name="Picture 165">
            <a:extLst>
              <a:ext uri="{FF2B5EF4-FFF2-40B4-BE49-F238E27FC236}">
                <a16:creationId xmlns:a16="http://schemas.microsoft.com/office/drawing/2014/main" id="{E4D90AAD-06B0-461C-A1E8-0EF89EEEE79E}"/>
              </a:ext>
            </a:extLst>
          </p:cNvPr>
          <p:cNvPicPr>
            <a:picLocks noChangeAspect="1"/>
          </p:cNvPicPr>
          <p:nvPr/>
        </p:nvPicPr>
        <p:blipFill>
          <a:blip r:embed="rId2"/>
          <a:stretch>
            <a:fillRect/>
          </a:stretch>
        </p:blipFill>
        <p:spPr>
          <a:xfrm>
            <a:off x="5545988" y="2070308"/>
            <a:ext cx="215044" cy="460808"/>
          </a:xfrm>
          <a:prstGeom prst="rect">
            <a:avLst/>
          </a:prstGeom>
        </p:spPr>
      </p:pic>
      <p:sp>
        <p:nvSpPr>
          <p:cNvPr id="167" name="Oval 166">
            <a:extLst>
              <a:ext uri="{FF2B5EF4-FFF2-40B4-BE49-F238E27FC236}">
                <a16:creationId xmlns:a16="http://schemas.microsoft.com/office/drawing/2014/main" id="{1EDFE34A-AD59-4D29-BB45-D3E8482DD1F5}"/>
              </a:ext>
            </a:extLst>
          </p:cNvPr>
          <p:cNvSpPr/>
          <p:nvPr/>
        </p:nvSpPr>
        <p:spPr>
          <a:xfrm>
            <a:off x="5302489" y="1943481"/>
            <a:ext cx="675766" cy="675766"/>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78D7"/>
              </a:solidFill>
              <a:latin typeface="Segoe UI"/>
            </a:endParaRPr>
          </a:p>
        </p:txBody>
      </p:sp>
      <p:grpSp>
        <p:nvGrpSpPr>
          <p:cNvPr id="169" name="Group 168">
            <a:extLst>
              <a:ext uri="{FF2B5EF4-FFF2-40B4-BE49-F238E27FC236}">
                <a16:creationId xmlns:a16="http://schemas.microsoft.com/office/drawing/2014/main" id="{681CA859-2C88-4D79-AB1F-7BCDB835F334}"/>
              </a:ext>
            </a:extLst>
          </p:cNvPr>
          <p:cNvGrpSpPr/>
          <p:nvPr/>
        </p:nvGrpSpPr>
        <p:grpSpPr>
          <a:xfrm>
            <a:off x="7352010" y="1943481"/>
            <a:ext cx="675766" cy="675766"/>
            <a:chOff x="6608573" y="1540840"/>
            <a:chExt cx="675862" cy="675862"/>
          </a:xfrm>
        </p:grpSpPr>
        <p:sp>
          <p:nvSpPr>
            <p:cNvPr id="173" name="Oval 172">
              <a:extLst>
                <a:ext uri="{FF2B5EF4-FFF2-40B4-BE49-F238E27FC236}">
                  <a16:creationId xmlns:a16="http://schemas.microsoft.com/office/drawing/2014/main" id="{1E613487-BE94-4213-AD13-79DBABB38C8E}"/>
                </a:ext>
              </a:extLst>
            </p:cNvPr>
            <p:cNvSpPr/>
            <p:nvPr/>
          </p:nvSpPr>
          <p:spPr>
            <a:xfrm>
              <a:off x="6608573" y="1540840"/>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78D7"/>
                </a:solidFill>
                <a:latin typeface="Segoe UI"/>
              </a:endParaRPr>
            </a:p>
          </p:txBody>
        </p:sp>
        <p:sp>
          <p:nvSpPr>
            <p:cNvPr id="174" name="Freeform 9">
              <a:extLst>
                <a:ext uri="{FF2B5EF4-FFF2-40B4-BE49-F238E27FC236}">
                  <a16:creationId xmlns:a16="http://schemas.microsoft.com/office/drawing/2014/main" id="{E9C12BC0-E4C3-4FDD-91D2-0F2846E4D807}"/>
                </a:ext>
              </a:extLst>
            </p:cNvPr>
            <p:cNvSpPr>
              <a:spLocks noChangeAspect="1" noEditPoints="1"/>
            </p:cNvSpPr>
            <p:nvPr/>
          </p:nvSpPr>
          <p:spPr bwMode="black">
            <a:xfrm>
              <a:off x="6759569" y="1727198"/>
              <a:ext cx="373871" cy="30314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78D7"/>
            </a:solidFill>
            <a:ln>
              <a:noFill/>
            </a:ln>
          </p:spPr>
          <p:txBody>
            <a:bodyPr vert="horz" wrap="square" lIns="68564" tIns="34283" rIns="68564" bIns="34283" numCol="1" anchor="t" anchorCtr="0" compatLnSpc="1">
              <a:prstTxWarp prst="textNoShape">
                <a:avLst/>
              </a:prstTxWarp>
            </a:bodyPr>
            <a:lstStyle/>
            <a:p>
              <a:pPr defTabSz="914225">
                <a:defRPr/>
              </a:pPr>
              <a:endParaRPr lang="en-US" sz="1350">
                <a:solidFill>
                  <a:srgbClr val="000000"/>
                </a:solidFill>
                <a:latin typeface="Segoe UI"/>
              </a:endParaRPr>
            </a:p>
          </p:txBody>
        </p:sp>
      </p:grpSp>
      <p:sp>
        <p:nvSpPr>
          <p:cNvPr id="118" name="Rectangle 117">
            <a:extLst>
              <a:ext uri="{FF2B5EF4-FFF2-40B4-BE49-F238E27FC236}">
                <a16:creationId xmlns:a16="http://schemas.microsoft.com/office/drawing/2014/main" id="{87E41DFB-49B3-4684-BF4A-F516702F01BC}"/>
              </a:ext>
            </a:extLst>
          </p:cNvPr>
          <p:cNvSpPr/>
          <p:nvPr/>
        </p:nvSpPr>
        <p:spPr>
          <a:xfrm>
            <a:off x="5922763" y="2090324"/>
            <a:ext cx="1235613" cy="469037"/>
          </a:xfrm>
          <a:prstGeom prst="rect">
            <a:avLst/>
          </a:prstGeom>
        </p:spPr>
        <p:txBody>
          <a:bodyPr wrap="square">
            <a:spAutoFit/>
          </a:bodyPr>
          <a:lstStyle/>
          <a:p>
            <a:pPr algn="ctr" defTabSz="914225">
              <a:spcAft>
                <a:spcPts val="800"/>
              </a:spcAft>
              <a:defRPr/>
            </a:pPr>
            <a:r>
              <a:rPr lang="en-US" sz="1200">
                <a:solidFill>
                  <a:srgbClr val="0078D7"/>
                </a:solidFill>
                <a:latin typeface="Segoe UI" panose="020B0502040204020203" pitchFamily="34" charset="0"/>
                <a:cs typeface="Segoe UI" panose="020B0502040204020203" pitchFamily="34" charset="0"/>
              </a:rPr>
              <a:t>Fully-managed infrastructure</a:t>
            </a:r>
          </a:p>
        </p:txBody>
      </p:sp>
      <p:sp>
        <p:nvSpPr>
          <p:cNvPr id="123" name="Rectangle 122">
            <a:extLst>
              <a:ext uri="{FF2B5EF4-FFF2-40B4-BE49-F238E27FC236}">
                <a16:creationId xmlns:a16="http://schemas.microsoft.com/office/drawing/2014/main" id="{F770B067-886E-42C3-8908-BA6D0506D673}"/>
              </a:ext>
            </a:extLst>
          </p:cNvPr>
          <p:cNvSpPr/>
          <p:nvPr/>
        </p:nvSpPr>
        <p:spPr>
          <a:xfrm>
            <a:off x="7975861" y="2090324"/>
            <a:ext cx="875143" cy="469037"/>
          </a:xfrm>
          <a:prstGeom prst="rect">
            <a:avLst/>
          </a:prstGeom>
        </p:spPr>
        <p:txBody>
          <a:bodyPr wrap="square">
            <a:spAutoFit/>
          </a:bodyPr>
          <a:lstStyle/>
          <a:p>
            <a:pPr algn="ctr" defTabSz="914225">
              <a:spcAft>
                <a:spcPts val="800"/>
              </a:spcAft>
              <a:defRPr/>
            </a:pPr>
            <a:r>
              <a:rPr lang="en-US" sz="1200">
                <a:solidFill>
                  <a:srgbClr val="0078D7"/>
                </a:solidFill>
                <a:latin typeface="Segoe UI" panose="020B0502040204020203" pitchFamily="34" charset="0"/>
                <a:cs typeface="Segoe UI" panose="020B0502040204020203" pitchFamily="34" charset="0"/>
              </a:rPr>
              <a:t>Elastic </a:t>
            </a:r>
            <a:br>
              <a:rPr lang="en-US" sz="1200">
                <a:solidFill>
                  <a:srgbClr val="0078D7"/>
                </a:solidFill>
                <a:latin typeface="Segoe UI" panose="020B0502040204020203" pitchFamily="34" charset="0"/>
                <a:cs typeface="Segoe UI" panose="020B0502040204020203" pitchFamily="34" charset="0"/>
              </a:rPr>
            </a:br>
            <a:r>
              <a:rPr lang="en-US" sz="1200">
                <a:solidFill>
                  <a:srgbClr val="0078D7"/>
                </a:solidFill>
                <a:latin typeface="Segoe UI" panose="020B0502040204020203" pitchFamily="34" charset="0"/>
                <a:cs typeface="Segoe UI" panose="020B0502040204020203" pitchFamily="34" charset="0"/>
              </a:rPr>
              <a:t>scalability</a:t>
            </a:r>
          </a:p>
        </p:txBody>
      </p:sp>
      <p:sp>
        <p:nvSpPr>
          <p:cNvPr id="36" name="Hexagon 35">
            <a:extLst>
              <a:ext uri="{FF2B5EF4-FFF2-40B4-BE49-F238E27FC236}">
                <a16:creationId xmlns:a16="http://schemas.microsoft.com/office/drawing/2014/main" id="{C00598CA-BC50-48EE-8AB7-DA3398172719}"/>
              </a:ext>
            </a:extLst>
          </p:cNvPr>
          <p:cNvSpPr/>
          <p:nvPr/>
        </p:nvSpPr>
        <p:spPr>
          <a:xfrm>
            <a:off x="7500243" y="4657120"/>
            <a:ext cx="493195" cy="425168"/>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39" name="Hexagon 38">
            <a:extLst>
              <a:ext uri="{FF2B5EF4-FFF2-40B4-BE49-F238E27FC236}">
                <a16:creationId xmlns:a16="http://schemas.microsoft.com/office/drawing/2014/main" id="{905233E3-B261-45EA-9281-91B3BCA9AA98}"/>
              </a:ext>
            </a:extLst>
          </p:cNvPr>
          <p:cNvSpPr/>
          <p:nvPr/>
        </p:nvSpPr>
        <p:spPr>
          <a:xfrm>
            <a:off x="3608336" y="4675533"/>
            <a:ext cx="493195" cy="425168"/>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42" name="Hexagon 41">
            <a:extLst>
              <a:ext uri="{FF2B5EF4-FFF2-40B4-BE49-F238E27FC236}">
                <a16:creationId xmlns:a16="http://schemas.microsoft.com/office/drawing/2014/main" id="{7B9D4AB9-4B8B-4528-8628-8341D7906F93}"/>
              </a:ext>
            </a:extLst>
          </p:cNvPr>
          <p:cNvSpPr/>
          <p:nvPr/>
        </p:nvSpPr>
        <p:spPr>
          <a:xfrm>
            <a:off x="7702884" y="3120072"/>
            <a:ext cx="493195" cy="425168"/>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81" name="Hexagon 80">
            <a:extLst>
              <a:ext uri="{FF2B5EF4-FFF2-40B4-BE49-F238E27FC236}">
                <a16:creationId xmlns:a16="http://schemas.microsoft.com/office/drawing/2014/main" id="{A42005B5-5957-4721-B925-12995DF45694}"/>
              </a:ext>
            </a:extLst>
          </p:cNvPr>
          <p:cNvSpPr/>
          <p:nvPr/>
        </p:nvSpPr>
        <p:spPr>
          <a:xfrm>
            <a:off x="5070611" y="4501366"/>
            <a:ext cx="493195" cy="425168"/>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26" name="Group 25">
            <a:extLst>
              <a:ext uri="{FF2B5EF4-FFF2-40B4-BE49-F238E27FC236}">
                <a16:creationId xmlns:a16="http://schemas.microsoft.com/office/drawing/2014/main" id="{BE8F906B-814F-492D-9FE8-55A59178EB43}"/>
              </a:ext>
            </a:extLst>
          </p:cNvPr>
          <p:cNvGrpSpPr/>
          <p:nvPr/>
        </p:nvGrpSpPr>
        <p:grpSpPr>
          <a:xfrm>
            <a:off x="5076598" y="3845940"/>
            <a:ext cx="493195" cy="425168"/>
            <a:chOff x="5076453" y="3286702"/>
            <a:chExt cx="493265" cy="425229"/>
          </a:xfrm>
        </p:grpSpPr>
        <p:sp>
          <p:nvSpPr>
            <p:cNvPr id="37" name="Hexagon 36">
              <a:extLst>
                <a:ext uri="{FF2B5EF4-FFF2-40B4-BE49-F238E27FC236}">
                  <a16:creationId xmlns:a16="http://schemas.microsoft.com/office/drawing/2014/main" id="{2CD153DA-CB0B-4670-9B59-65DE97BE609E}"/>
                </a:ext>
              </a:extLst>
            </p:cNvPr>
            <p:cNvSpPr/>
            <p:nvPr/>
          </p:nvSpPr>
          <p:spPr>
            <a:xfrm>
              <a:off x="5076453" y="328670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48" name="Group 47">
              <a:extLst>
                <a:ext uri="{FF2B5EF4-FFF2-40B4-BE49-F238E27FC236}">
                  <a16:creationId xmlns:a16="http://schemas.microsoft.com/office/drawing/2014/main" id="{5A16696D-E7D6-40C4-9118-66EE4BB9357C}"/>
                </a:ext>
              </a:extLst>
            </p:cNvPr>
            <p:cNvGrpSpPr/>
            <p:nvPr/>
          </p:nvGrpSpPr>
          <p:grpSpPr>
            <a:xfrm>
              <a:off x="5191677" y="3395898"/>
              <a:ext cx="262816" cy="206836"/>
              <a:chOff x="1200453" y="4307032"/>
              <a:chExt cx="421817" cy="331969"/>
            </a:xfrm>
          </p:grpSpPr>
          <p:sp>
            <p:nvSpPr>
              <p:cNvPr id="49" name="TextBox 48">
                <a:extLst>
                  <a:ext uri="{FF2B5EF4-FFF2-40B4-BE49-F238E27FC236}">
                    <a16:creationId xmlns:a16="http://schemas.microsoft.com/office/drawing/2014/main" id="{F793E076-A6E6-4890-9AE6-9C2CF52B047A}"/>
                  </a:ext>
                </a:extLst>
              </p:cNvPr>
              <p:cNvSpPr txBox="1"/>
              <p:nvPr/>
            </p:nvSpPr>
            <p:spPr>
              <a:xfrm>
                <a:off x="1239230" y="4359730"/>
                <a:ext cx="344264" cy="197620"/>
              </a:xfrm>
              <a:prstGeom prst="rect">
                <a:avLst/>
              </a:prstGeom>
            </p:spPr>
            <p:txBody>
              <a:bodyPr wrap="square" lIns="0" tIns="0" rIns="0" bIns="0" rtlCol="0" anchor="t" anchorCtr="0">
                <a:spAutoFit/>
              </a:bodyPr>
              <a:lstStyle/>
              <a:p>
                <a:pPr algn="ctr" defTabSz="914225">
                  <a:defRPr/>
                </a:pPr>
                <a:r>
                  <a:rPr lang="en-US" sz="800">
                    <a:solidFill>
                      <a:srgbClr val="797979"/>
                    </a:solidFill>
                    <a:latin typeface="Showcard Gothic" panose="04020904020102020604" pitchFamily="82" charset="0"/>
                    <a:cs typeface="Shruti" panose="020B0502040204020203" pitchFamily="34" charset="0"/>
                  </a:rPr>
                  <a:t>&lt;/&gt;</a:t>
                </a:r>
              </a:p>
            </p:txBody>
          </p:sp>
          <p:sp>
            <p:nvSpPr>
              <p:cNvPr id="50" name="Freeform 127">
                <a:extLst>
                  <a:ext uri="{FF2B5EF4-FFF2-40B4-BE49-F238E27FC236}">
                    <a16:creationId xmlns:a16="http://schemas.microsoft.com/office/drawing/2014/main" id="{CD2F3052-6983-45C9-ABEA-D431D33D1C88}"/>
                  </a:ext>
                </a:extLst>
              </p:cNvPr>
              <p:cNvSpPr>
                <a:spLocks noChangeAspect="1"/>
              </p:cNvSpPr>
              <p:nvPr/>
            </p:nvSpPr>
            <p:spPr bwMode="black">
              <a:xfrm>
                <a:off x="1200453" y="4307032"/>
                <a:ext cx="421817" cy="33196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797979"/>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8" tIns="109703" rIns="137128" bIns="109703" numCol="1" spcCol="0" rtlCol="0" fromWordArt="0" anchor="t" anchorCtr="0" forceAA="0" compatLnSpc="1">
                <a:prstTxWarp prst="textNoShape">
                  <a:avLst/>
                </a:prstTxWarp>
                <a:noAutofit/>
              </a:bodyPr>
              <a:lstStyle/>
              <a:p>
                <a:pPr algn="ctr" defTabSz="69912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57" name="Group 56">
            <a:extLst>
              <a:ext uri="{FF2B5EF4-FFF2-40B4-BE49-F238E27FC236}">
                <a16:creationId xmlns:a16="http://schemas.microsoft.com/office/drawing/2014/main" id="{61F736B8-00D4-4066-AAF6-E9B557CFFF90}"/>
              </a:ext>
            </a:extLst>
          </p:cNvPr>
          <p:cNvGrpSpPr/>
          <p:nvPr/>
        </p:nvGrpSpPr>
        <p:grpSpPr>
          <a:xfrm>
            <a:off x="4039338" y="4444277"/>
            <a:ext cx="493195" cy="425168"/>
            <a:chOff x="2406426" y="2875676"/>
            <a:chExt cx="791685" cy="682487"/>
          </a:xfrm>
        </p:grpSpPr>
        <p:sp>
          <p:nvSpPr>
            <p:cNvPr id="58" name="Hexagon 57">
              <a:extLst>
                <a:ext uri="{FF2B5EF4-FFF2-40B4-BE49-F238E27FC236}">
                  <a16:creationId xmlns:a16="http://schemas.microsoft.com/office/drawing/2014/main" id="{7350CD70-8A37-4DAC-8810-CCA17700A758}"/>
                </a:ext>
              </a:extLst>
            </p:cNvPr>
            <p:cNvSpPr/>
            <p:nvPr/>
          </p:nvSpPr>
          <p:spPr>
            <a:xfrm>
              <a:off x="2406426" y="2875676"/>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59" name="Freeform 5">
              <a:extLst>
                <a:ext uri="{FF2B5EF4-FFF2-40B4-BE49-F238E27FC236}">
                  <a16:creationId xmlns:a16="http://schemas.microsoft.com/office/drawing/2014/main" id="{6277BDC5-964B-4F6C-B943-1B87C2426819}"/>
                </a:ext>
              </a:extLst>
            </p:cNvPr>
            <p:cNvSpPr>
              <a:spLocks noEditPoints="1"/>
            </p:cNvSpPr>
            <p:nvPr/>
          </p:nvSpPr>
          <p:spPr bwMode="black">
            <a:xfrm>
              <a:off x="2614371" y="3071103"/>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797979"/>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000000"/>
                </a:solidFill>
                <a:latin typeface="Segoe UI"/>
              </a:endParaRPr>
            </a:p>
          </p:txBody>
        </p:sp>
      </p:grpSp>
      <p:sp>
        <p:nvSpPr>
          <p:cNvPr id="64" name="Hexagon 63">
            <a:extLst>
              <a:ext uri="{FF2B5EF4-FFF2-40B4-BE49-F238E27FC236}">
                <a16:creationId xmlns:a16="http://schemas.microsoft.com/office/drawing/2014/main" id="{E9290256-C5DC-4953-AE39-DFE607D5124F}"/>
              </a:ext>
            </a:extLst>
          </p:cNvPr>
          <p:cNvSpPr/>
          <p:nvPr/>
        </p:nvSpPr>
        <p:spPr>
          <a:xfrm>
            <a:off x="5076598" y="3367275"/>
            <a:ext cx="493195" cy="425168"/>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78" name="Hexagon 77">
            <a:extLst>
              <a:ext uri="{FF2B5EF4-FFF2-40B4-BE49-F238E27FC236}">
                <a16:creationId xmlns:a16="http://schemas.microsoft.com/office/drawing/2014/main" id="{C4CCE317-3DDD-4755-80FF-0F2681DE45CE}"/>
              </a:ext>
            </a:extLst>
          </p:cNvPr>
          <p:cNvSpPr/>
          <p:nvPr/>
        </p:nvSpPr>
        <p:spPr>
          <a:xfrm>
            <a:off x="5517030" y="3507819"/>
            <a:ext cx="722381" cy="622742"/>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113" name="Group 112">
            <a:extLst>
              <a:ext uri="{FF2B5EF4-FFF2-40B4-BE49-F238E27FC236}">
                <a16:creationId xmlns:a16="http://schemas.microsoft.com/office/drawing/2014/main" id="{72503714-B2AD-4591-9D74-C611B1B8C876}"/>
              </a:ext>
            </a:extLst>
          </p:cNvPr>
          <p:cNvGrpSpPr/>
          <p:nvPr/>
        </p:nvGrpSpPr>
        <p:grpSpPr>
          <a:xfrm>
            <a:off x="7500243" y="4185512"/>
            <a:ext cx="493195" cy="425168"/>
            <a:chOff x="10430688" y="262913"/>
            <a:chExt cx="791685" cy="682487"/>
          </a:xfrm>
        </p:grpSpPr>
        <p:sp>
          <p:nvSpPr>
            <p:cNvPr id="114" name="Hexagon 113">
              <a:extLst>
                <a:ext uri="{FF2B5EF4-FFF2-40B4-BE49-F238E27FC236}">
                  <a16:creationId xmlns:a16="http://schemas.microsoft.com/office/drawing/2014/main" id="{132CAAD0-532D-450C-AED3-43D479BFAAFF}"/>
                </a:ext>
              </a:extLst>
            </p:cNvPr>
            <p:cNvSpPr/>
            <p:nvPr/>
          </p:nvSpPr>
          <p:spPr>
            <a:xfrm>
              <a:off x="10430688" y="262913"/>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115" name="Group 114">
              <a:extLst>
                <a:ext uri="{FF2B5EF4-FFF2-40B4-BE49-F238E27FC236}">
                  <a16:creationId xmlns:a16="http://schemas.microsoft.com/office/drawing/2014/main" id="{758A8DF5-5EF6-4B83-A552-A1695CD817B8}"/>
                </a:ext>
              </a:extLst>
            </p:cNvPr>
            <p:cNvGrpSpPr/>
            <p:nvPr/>
          </p:nvGrpSpPr>
          <p:grpSpPr>
            <a:xfrm>
              <a:off x="10646269" y="409293"/>
              <a:ext cx="360522" cy="389726"/>
              <a:chOff x="528732" y="3883901"/>
              <a:chExt cx="360522" cy="389726"/>
            </a:xfrm>
          </p:grpSpPr>
          <p:sp>
            <p:nvSpPr>
              <p:cNvPr id="116" name="Freeform: Shape 115">
                <a:extLst>
                  <a:ext uri="{FF2B5EF4-FFF2-40B4-BE49-F238E27FC236}">
                    <a16:creationId xmlns:a16="http://schemas.microsoft.com/office/drawing/2014/main" id="{9112DB0B-D900-44D9-8A35-14E1D28C296C}"/>
                  </a:ext>
                </a:extLst>
              </p:cNvPr>
              <p:cNvSpPr/>
              <p:nvPr/>
            </p:nvSpPr>
            <p:spPr>
              <a:xfrm>
                <a:off x="528732" y="3883901"/>
                <a:ext cx="276228" cy="389451"/>
              </a:xfrm>
              <a:custGeom>
                <a:avLst/>
                <a:gdLst>
                  <a:gd name="connsiteX0" fmla="*/ 366510 w 734983"/>
                  <a:gd name="connsiteY0" fmla="*/ 39615 h 1036243"/>
                  <a:gd name="connsiteX1" fmla="*/ 74477 w 734983"/>
                  <a:gd name="connsiteY1" fmla="*/ 133441 h 1036243"/>
                  <a:gd name="connsiteX2" fmla="*/ 368470 w 734983"/>
                  <a:gd name="connsiteY2" fmla="*/ 227266 h 1036243"/>
                  <a:gd name="connsiteX3" fmla="*/ 660504 w 734983"/>
                  <a:gd name="connsiteY3" fmla="*/ 133441 h 1036243"/>
                  <a:gd name="connsiteX4" fmla="*/ 366510 w 734983"/>
                  <a:gd name="connsiteY4" fmla="*/ 39615 h 1036243"/>
                  <a:gd name="connsiteX5" fmla="*/ 366511 w 734983"/>
                  <a:gd name="connsiteY5" fmla="*/ 0 h 1036243"/>
                  <a:gd name="connsiteX6" fmla="*/ 727430 w 734983"/>
                  <a:gd name="connsiteY6" fmla="*/ 113539 h 1036243"/>
                  <a:gd name="connsiteX7" fmla="*/ 734983 w 734983"/>
                  <a:gd name="connsiteY7" fmla="*/ 141780 h 1036243"/>
                  <a:gd name="connsiteX8" fmla="*/ 734983 w 734983"/>
                  <a:gd name="connsiteY8" fmla="*/ 268791 h 1036243"/>
                  <a:gd name="connsiteX9" fmla="*/ 714275 w 734983"/>
                  <a:gd name="connsiteY9" fmla="*/ 267399 h 1036243"/>
                  <a:gd name="connsiteX10" fmla="*/ 419004 w 734983"/>
                  <a:gd name="connsiteY10" fmla="*/ 359454 h 1036243"/>
                  <a:gd name="connsiteX11" fmla="*/ 412877 w 734983"/>
                  <a:gd name="connsiteY11" fmla="*/ 382824 h 1036243"/>
                  <a:gd name="connsiteX12" fmla="*/ 412877 w 734983"/>
                  <a:gd name="connsiteY12" fmla="*/ 382826 h 1036243"/>
                  <a:gd name="connsiteX13" fmla="*/ 412877 w 734983"/>
                  <a:gd name="connsiteY13" fmla="*/ 1000992 h 1036243"/>
                  <a:gd name="connsiteX14" fmla="*/ 425034 w 734983"/>
                  <a:gd name="connsiteY14" fmla="*/ 1031895 h 1036243"/>
                  <a:gd name="connsiteX15" fmla="*/ 368471 w 734983"/>
                  <a:gd name="connsiteY15" fmla="*/ 1036243 h 1036243"/>
                  <a:gd name="connsiteX16" fmla="*/ 366512 w 734983"/>
                  <a:gd name="connsiteY16" fmla="*/ 1036243 h 1036243"/>
                  <a:gd name="connsiteX17" fmla="*/ 362591 w 734983"/>
                  <a:gd name="connsiteY17" fmla="*/ 1036243 h 1036243"/>
                  <a:gd name="connsiteX18" fmla="*/ 362591 w 734983"/>
                  <a:gd name="connsiteY18" fmla="*/ 1035940 h 1036243"/>
                  <a:gd name="connsiteX19" fmla="*/ 224078 w 734983"/>
                  <a:gd name="connsiteY19" fmla="*/ 1025231 h 1036243"/>
                  <a:gd name="connsiteX20" fmla="*/ 0 w 734983"/>
                  <a:gd name="connsiteY20" fmla="*/ 894463 h 1036243"/>
                  <a:gd name="connsiteX21" fmla="*/ 0 w 734983"/>
                  <a:gd name="connsiteY21" fmla="*/ 141780 h 1036243"/>
                  <a:gd name="connsiteX22" fmla="*/ 7469 w 734983"/>
                  <a:gd name="connsiteY22" fmla="*/ 113539 h 1036243"/>
                  <a:gd name="connsiteX23" fmla="*/ 366511 w 734983"/>
                  <a:gd name="connsiteY23" fmla="*/ 0 h 103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4983" h="1036243">
                    <a:moveTo>
                      <a:pt x="366510" y="39615"/>
                    </a:moveTo>
                    <a:cubicBezTo>
                      <a:pt x="205794" y="39615"/>
                      <a:pt x="74477" y="81315"/>
                      <a:pt x="74477" y="133441"/>
                    </a:cubicBezTo>
                    <a:cubicBezTo>
                      <a:pt x="74477" y="185566"/>
                      <a:pt x="207754" y="227266"/>
                      <a:pt x="368470" y="227266"/>
                    </a:cubicBezTo>
                    <a:cubicBezTo>
                      <a:pt x="529187" y="227266"/>
                      <a:pt x="660504" y="185566"/>
                      <a:pt x="660504" y="133441"/>
                    </a:cubicBezTo>
                    <a:cubicBezTo>
                      <a:pt x="660504" y="81315"/>
                      <a:pt x="527227" y="39615"/>
                      <a:pt x="366510" y="39615"/>
                    </a:cubicBezTo>
                    <a:close/>
                    <a:moveTo>
                      <a:pt x="366511" y="0"/>
                    </a:moveTo>
                    <a:cubicBezTo>
                      <a:pt x="543152" y="0"/>
                      <a:pt x="692783" y="49486"/>
                      <a:pt x="727430" y="113539"/>
                    </a:cubicBezTo>
                    <a:lnTo>
                      <a:pt x="734983" y="141780"/>
                    </a:lnTo>
                    <a:lnTo>
                      <a:pt x="734983" y="268791"/>
                    </a:lnTo>
                    <a:lnTo>
                      <a:pt x="714275" y="267399"/>
                    </a:lnTo>
                    <a:cubicBezTo>
                      <a:pt x="568701" y="267399"/>
                      <a:pt x="447124" y="306676"/>
                      <a:pt x="419004" y="359454"/>
                    </a:cubicBezTo>
                    <a:lnTo>
                      <a:pt x="412877" y="382824"/>
                    </a:lnTo>
                    <a:lnTo>
                      <a:pt x="412877" y="382826"/>
                    </a:lnTo>
                    <a:lnTo>
                      <a:pt x="412877" y="1000992"/>
                    </a:lnTo>
                    <a:lnTo>
                      <a:pt x="425034" y="1031895"/>
                    </a:lnTo>
                    <a:lnTo>
                      <a:pt x="368471" y="1036243"/>
                    </a:lnTo>
                    <a:lnTo>
                      <a:pt x="366512" y="1036243"/>
                    </a:lnTo>
                    <a:lnTo>
                      <a:pt x="362591" y="1036243"/>
                    </a:lnTo>
                    <a:lnTo>
                      <a:pt x="362591" y="1035940"/>
                    </a:lnTo>
                    <a:lnTo>
                      <a:pt x="224078" y="1025231"/>
                    </a:lnTo>
                    <a:cubicBezTo>
                      <a:pt x="92608" y="1003925"/>
                      <a:pt x="0" y="953885"/>
                      <a:pt x="0" y="894463"/>
                    </a:cubicBezTo>
                    <a:lnTo>
                      <a:pt x="0" y="141780"/>
                    </a:lnTo>
                    <a:lnTo>
                      <a:pt x="7469" y="113539"/>
                    </a:lnTo>
                    <a:cubicBezTo>
                      <a:pt x="41741" y="49486"/>
                      <a:pt x="189870" y="0"/>
                      <a:pt x="366511" y="0"/>
                    </a:cubicBezTo>
                    <a:close/>
                  </a:path>
                </a:pathLst>
              </a:custGeom>
              <a:solidFill>
                <a:srgbClr val="797979"/>
              </a:solidFill>
              <a:ln w="3905" cap="flat">
                <a:noFill/>
                <a:prstDash val="solid"/>
                <a:miter/>
              </a:ln>
            </p:spPr>
            <p:txBody>
              <a:bodyPr rtlCol="0" anchor="ctr"/>
              <a:lstStyle/>
              <a:p>
                <a:pPr defTabSz="914225">
                  <a:defRPr/>
                </a:pPr>
                <a:endParaRPr lang="en-US">
                  <a:solidFill>
                    <a:srgbClr val="000000"/>
                  </a:solidFill>
                  <a:latin typeface="Segoe UI"/>
                </a:endParaRPr>
              </a:p>
            </p:txBody>
          </p:sp>
          <p:sp>
            <p:nvSpPr>
              <p:cNvPr id="117" name="Freeform: Shape 116">
                <a:extLst>
                  <a:ext uri="{FF2B5EF4-FFF2-40B4-BE49-F238E27FC236}">
                    <a16:creationId xmlns:a16="http://schemas.microsoft.com/office/drawing/2014/main" id="{8EE60D78-8D30-4E50-A2E8-A89ED2F3F916}"/>
                  </a:ext>
                </a:extLst>
              </p:cNvPr>
              <p:cNvSpPr/>
              <p:nvPr/>
            </p:nvSpPr>
            <p:spPr>
              <a:xfrm>
                <a:off x="705102" y="4014255"/>
                <a:ext cx="184152" cy="259372"/>
              </a:xfrm>
              <a:custGeom>
                <a:avLst/>
                <a:gdLst>
                  <a:gd name="connsiteX0" fmla="*/ 391991 w 489989"/>
                  <a:gd name="connsiteY0" fmla="*/ 214754 h 690133"/>
                  <a:gd name="connsiteX1" fmla="*/ 119557 w 489989"/>
                  <a:gd name="connsiteY1" fmla="*/ 452444 h 690133"/>
                  <a:gd name="connsiteX2" fmla="*/ 211675 w 489989"/>
                  <a:gd name="connsiteY2" fmla="*/ 452444 h 690133"/>
                  <a:gd name="connsiteX3" fmla="*/ 105837 w 489989"/>
                  <a:gd name="connsiteY3" fmla="*/ 638009 h 690133"/>
                  <a:gd name="connsiteX4" fmla="*/ 378272 w 489989"/>
                  <a:gd name="connsiteY4" fmla="*/ 398234 h 690133"/>
                  <a:gd name="connsiteX5" fmla="*/ 286154 w 489989"/>
                  <a:gd name="connsiteY5" fmla="*/ 398234 h 690133"/>
                  <a:gd name="connsiteX6" fmla="*/ 244994 w 489989"/>
                  <a:gd name="connsiteY6" fmla="*/ 25020 h 690133"/>
                  <a:gd name="connsiteX7" fmla="*/ 50958 w 489989"/>
                  <a:gd name="connsiteY7" fmla="*/ 87571 h 690133"/>
                  <a:gd name="connsiteX8" fmla="*/ 244994 w 489989"/>
                  <a:gd name="connsiteY8" fmla="*/ 150121 h 690133"/>
                  <a:gd name="connsiteX9" fmla="*/ 439029 w 489989"/>
                  <a:gd name="connsiteY9" fmla="*/ 87571 h 690133"/>
                  <a:gd name="connsiteX10" fmla="*/ 244994 w 489989"/>
                  <a:gd name="connsiteY10" fmla="*/ 25020 h 690133"/>
                  <a:gd name="connsiteX11" fmla="*/ 244994 w 489989"/>
                  <a:gd name="connsiteY11" fmla="*/ 0 h 690133"/>
                  <a:gd name="connsiteX12" fmla="*/ 485009 w 489989"/>
                  <a:gd name="connsiteY12" fmla="*/ 74828 h 690133"/>
                  <a:gd name="connsiteX13" fmla="*/ 489989 w 489989"/>
                  <a:gd name="connsiteY13" fmla="*/ 93824 h 690133"/>
                  <a:gd name="connsiteX14" fmla="*/ 489989 w 489989"/>
                  <a:gd name="connsiteY14" fmla="*/ 93826 h 690133"/>
                  <a:gd name="connsiteX15" fmla="*/ 489989 w 489989"/>
                  <a:gd name="connsiteY15" fmla="*/ 596308 h 690133"/>
                  <a:gd name="connsiteX16" fmla="*/ 340328 w 489989"/>
                  <a:gd name="connsiteY16" fmla="*/ 682803 h 690133"/>
                  <a:gd name="connsiteX17" fmla="*/ 244995 w 489989"/>
                  <a:gd name="connsiteY17" fmla="*/ 690133 h 690133"/>
                  <a:gd name="connsiteX18" fmla="*/ 244994 w 489989"/>
                  <a:gd name="connsiteY18" fmla="*/ 690133 h 690133"/>
                  <a:gd name="connsiteX19" fmla="*/ 241074 w 489989"/>
                  <a:gd name="connsiteY19" fmla="*/ 690133 h 690133"/>
                  <a:gd name="connsiteX20" fmla="*/ 241074 w 489989"/>
                  <a:gd name="connsiteY20" fmla="*/ 689831 h 690133"/>
                  <a:gd name="connsiteX21" fmla="*/ 149661 w 489989"/>
                  <a:gd name="connsiteY21" fmla="*/ 682803 h 690133"/>
                  <a:gd name="connsiteX22" fmla="*/ 0 w 489989"/>
                  <a:gd name="connsiteY22" fmla="*/ 596308 h 690133"/>
                  <a:gd name="connsiteX23" fmla="*/ 0 w 489989"/>
                  <a:gd name="connsiteY23" fmla="*/ 93826 h 690133"/>
                  <a:gd name="connsiteX24" fmla="*/ 0 w 489989"/>
                  <a:gd name="connsiteY24" fmla="*/ 93824 h 690133"/>
                  <a:gd name="connsiteX25" fmla="*/ 4980 w 489989"/>
                  <a:gd name="connsiteY25" fmla="*/ 74828 h 690133"/>
                  <a:gd name="connsiteX26" fmla="*/ 244994 w 489989"/>
                  <a:gd name="connsiteY26" fmla="*/ 0 h 69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989" h="690133">
                    <a:moveTo>
                      <a:pt x="391991" y="214754"/>
                    </a:moveTo>
                    <a:lnTo>
                      <a:pt x="119557" y="452444"/>
                    </a:lnTo>
                    <a:lnTo>
                      <a:pt x="211675" y="452444"/>
                    </a:lnTo>
                    <a:lnTo>
                      <a:pt x="105837" y="638009"/>
                    </a:lnTo>
                    <a:lnTo>
                      <a:pt x="378272" y="398234"/>
                    </a:lnTo>
                    <a:lnTo>
                      <a:pt x="286154" y="398234"/>
                    </a:lnTo>
                    <a:close/>
                    <a:moveTo>
                      <a:pt x="244994" y="25020"/>
                    </a:moveTo>
                    <a:cubicBezTo>
                      <a:pt x="139156" y="25020"/>
                      <a:pt x="50958" y="54211"/>
                      <a:pt x="50958" y="87571"/>
                    </a:cubicBezTo>
                    <a:cubicBezTo>
                      <a:pt x="50958" y="123016"/>
                      <a:pt x="139156" y="150121"/>
                      <a:pt x="244994" y="150121"/>
                    </a:cubicBezTo>
                    <a:cubicBezTo>
                      <a:pt x="350831" y="150121"/>
                      <a:pt x="439029" y="120931"/>
                      <a:pt x="439029" y="87571"/>
                    </a:cubicBezTo>
                    <a:cubicBezTo>
                      <a:pt x="439029" y="54211"/>
                      <a:pt x="350831" y="25020"/>
                      <a:pt x="244994" y="25020"/>
                    </a:cubicBezTo>
                    <a:close/>
                    <a:moveTo>
                      <a:pt x="244994" y="0"/>
                    </a:moveTo>
                    <a:cubicBezTo>
                      <a:pt x="363327" y="0"/>
                      <a:pt x="462152" y="31927"/>
                      <a:pt x="485009" y="74828"/>
                    </a:cubicBezTo>
                    <a:lnTo>
                      <a:pt x="489989" y="93824"/>
                    </a:lnTo>
                    <a:lnTo>
                      <a:pt x="489989" y="93826"/>
                    </a:lnTo>
                    <a:lnTo>
                      <a:pt x="489989" y="596308"/>
                    </a:lnTo>
                    <a:cubicBezTo>
                      <a:pt x="489989" y="635402"/>
                      <a:pt x="428251" y="668631"/>
                      <a:pt x="340328" y="682803"/>
                    </a:cubicBezTo>
                    <a:lnTo>
                      <a:pt x="244995" y="690133"/>
                    </a:lnTo>
                    <a:lnTo>
                      <a:pt x="244994" y="690133"/>
                    </a:lnTo>
                    <a:lnTo>
                      <a:pt x="241074" y="690133"/>
                    </a:lnTo>
                    <a:lnTo>
                      <a:pt x="241074" y="689831"/>
                    </a:lnTo>
                    <a:lnTo>
                      <a:pt x="149661" y="682803"/>
                    </a:lnTo>
                    <a:cubicBezTo>
                      <a:pt x="61739" y="668631"/>
                      <a:pt x="0" y="635402"/>
                      <a:pt x="0" y="596308"/>
                    </a:cubicBezTo>
                    <a:lnTo>
                      <a:pt x="0" y="93826"/>
                    </a:lnTo>
                    <a:lnTo>
                      <a:pt x="0" y="93824"/>
                    </a:lnTo>
                    <a:lnTo>
                      <a:pt x="4980" y="74828"/>
                    </a:lnTo>
                    <a:cubicBezTo>
                      <a:pt x="27838" y="31927"/>
                      <a:pt x="126663" y="0"/>
                      <a:pt x="244994" y="0"/>
                    </a:cubicBezTo>
                    <a:close/>
                  </a:path>
                </a:pathLst>
              </a:custGeom>
              <a:solidFill>
                <a:srgbClr val="797979"/>
              </a:solidFill>
              <a:ln w="3905" cap="flat">
                <a:noFill/>
                <a:prstDash val="solid"/>
                <a:miter/>
              </a:ln>
            </p:spPr>
            <p:txBody>
              <a:bodyPr rtlCol="0" anchor="ctr"/>
              <a:lstStyle/>
              <a:p>
                <a:pPr defTabSz="914225">
                  <a:defRPr/>
                </a:pPr>
                <a:endParaRPr lang="en-US">
                  <a:solidFill>
                    <a:srgbClr val="000000"/>
                  </a:solidFill>
                  <a:latin typeface="Segoe UI"/>
                </a:endParaRPr>
              </a:p>
            </p:txBody>
          </p:sp>
        </p:grpSp>
      </p:grpSp>
      <p:sp>
        <p:nvSpPr>
          <p:cNvPr id="140" name="Hexagon 139">
            <a:extLst>
              <a:ext uri="{FF2B5EF4-FFF2-40B4-BE49-F238E27FC236}">
                <a16:creationId xmlns:a16="http://schemas.microsoft.com/office/drawing/2014/main" id="{8B36D2B3-3EE5-460F-8AC7-74B1944222F5}"/>
              </a:ext>
            </a:extLst>
          </p:cNvPr>
          <p:cNvSpPr/>
          <p:nvPr/>
        </p:nvSpPr>
        <p:spPr>
          <a:xfrm>
            <a:off x="3554456" y="3780900"/>
            <a:ext cx="723446" cy="62091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128" name="Group 127">
            <a:extLst>
              <a:ext uri="{FF2B5EF4-FFF2-40B4-BE49-F238E27FC236}">
                <a16:creationId xmlns:a16="http://schemas.microsoft.com/office/drawing/2014/main" id="{4CE9B219-6EC4-43A3-BF1F-950A149E16B6}"/>
              </a:ext>
            </a:extLst>
          </p:cNvPr>
          <p:cNvGrpSpPr>
            <a:grpSpLocks noChangeAspect="1"/>
          </p:cNvGrpSpPr>
          <p:nvPr/>
        </p:nvGrpSpPr>
        <p:grpSpPr>
          <a:xfrm>
            <a:off x="4453108" y="4078491"/>
            <a:ext cx="720256" cy="620910"/>
            <a:chOff x="609937" y="2683669"/>
            <a:chExt cx="791685" cy="682487"/>
          </a:xfrm>
        </p:grpSpPr>
        <p:sp>
          <p:nvSpPr>
            <p:cNvPr id="129" name="Hexagon 128">
              <a:extLst>
                <a:ext uri="{FF2B5EF4-FFF2-40B4-BE49-F238E27FC236}">
                  <a16:creationId xmlns:a16="http://schemas.microsoft.com/office/drawing/2014/main" id="{F7115E8A-DF0B-4B00-8C95-A2F8145FF144}"/>
                </a:ext>
              </a:extLst>
            </p:cNvPr>
            <p:cNvSpPr/>
            <p:nvPr/>
          </p:nvSpPr>
          <p:spPr>
            <a:xfrm>
              <a:off x="609937" y="2683669"/>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130" name="Group 129">
              <a:extLst>
                <a:ext uri="{FF2B5EF4-FFF2-40B4-BE49-F238E27FC236}">
                  <a16:creationId xmlns:a16="http://schemas.microsoft.com/office/drawing/2014/main" id="{894E32DC-9648-4FD1-A3ED-0C7FB051DBFD}"/>
                </a:ext>
              </a:extLst>
            </p:cNvPr>
            <p:cNvGrpSpPr/>
            <p:nvPr/>
          </p:nvGrpSpPr>
          <p:grpSpPr>
            <a:xfrm>
              <a:off x="812654" y="2833099"/>
              <a:ext cx="386251" cy="383627"/>
              <a:chOff x="8369454" y="1749836"/>
              <a:chExt cx="1062388" cy="1055171"/>
            </a:xfrm>
            <a:solidFill>
              <a:srgbClr val="797979"/>
            </a:solidFill>
          </p:grpSpPr>
          <p:sp>
            <p:nvSpPr>
              <p:cNvPr id="131" name="Freeform: Shape 130">
                <a:extLst>
                  <a:ext uri="{FF2B5EF4-FFF2-40B4-BE49-F238E27FC236}">
                    <a16:creationId xmlns:a16="http://schemas.microsoft.com/office/drawing/2014/main" id="{06143991-CC06-4232-A9FF-1A19DA125961}"/>
                  </a:ext>
                </a:extLst>
              </p:cNvPr>
              <p:cNvSpPr/>
              <p:nvPr/>
            </p:nvSpPr>
            <p:spPr>
              <a:xfrm>
                <a:off x="8369454" y="1749836"/>
                <a:ext cx="790575" cy="790575"/>
              </a:xfrm>
              <a:custGeom>
                <a:avLst/>
                <a:gdLst>
                  <a:gd name="connsiteX0" fmla="*/ 529233 w 790575"/>
                  <a:gd name="connsiteY0" fmla="*/ 7144 h 790575"/>
                  <a:gd name="connsiteX1" fmla="*/ 278904 w 790575"/>
                  <a:gd name="connsiteY1" fmla="*/ 122932 h 790575"/>
                  <a:gd name="connsiteX2" fmla="*/ 279202 w 790575"/>
                  <a:gd name="connsiteY2" fmla="*/ 242888 h 790575"/>
                  <a:gd name="connsiteX3" fmla="*/ 533995 w 790575"/>
                  <a:gd name="connsiteY3" fmla="*/ 242888 h 790575"/>
                  <a:gd name="connsiteX4" fmla="*/ 533995 w 790575"/>
                  <a:gd name="connsiteY4" fmla="*/ 278903 h 790575"/>
                  <a:gd name="connsiteX5" fmla="*/ 177998 w 790575"/>
                  <a:gd name="connsiteY5" fmla="*/ 278903 h 790575"/>
                  <a:gd name="connsiteX6" fmla="*/ 7144 w 790575"/>
                  <a:gd name="connsiteY6" fmla="*/ 528935 h 790575"/>
                  <a:gd name="connsiteX7" fmla="*/ 156270 w 790575"/>
                  <a:gd name="connsiteY7" fmla="*/ 788786 h 790575"/>
                  <a:gd name="connsiteX8" fmla="*/ 245269 w 790575"/>
                  <a:gd name="connsiteY8" fmla="*/ 788786 h 790575"/>
                  <a:gd name="connsiteX9" fmla="*/ 245269 w 790575"/>
                  <a:gd name="connsiteY9" fmla="*/ 663771 h 790575"/>
                  <a:gd name="connsiteX10" fmla="*/ 392014 w 790575"/>
                  <a:gd name="connsiteY10" fmla="*/ 514647 h 790575"/>
                  <a:gd name="connsiteX11" fmla="*/ 644723 w 790575"/>
                  <a:gd name="connsiteY11" fmla="*/ 514647 h 790575"/>
                  <a:gd name="connsiteX12" fmla="*/ 786703 w 790575"/>
                  <a:gd name="connsiteY12" fmla="*/ 377430 h 790575"/>
                  <a:gd name="connsiteX13" fmla="*/ 786703 w 790575"/>
                  <a:gd name="connsiteY13" fmla="*/ 146744 h 790575"/>
                  <a:gd name="connsiteX14" fmla="*/ 529233 w 790575"/>
                  <a:gd name="connsiteY14" fmla="*/ 7144 h 790575"/>
                  <a:gd name="connsiteX15" fmla="*/ 388739 w 790575"/>
                  <a:gd name="connsiteY15" fmla="*/ 87808 h 790575"/>
                  <a:gd name="connsiteX16" fmla="*/ 434578 w 790575"/>
                  <a:gd name="connsiteY16" fmla="*/ 133647 h 790575"/>
                  <a:gd name="connsiteX17" fmla="*/ 388739 w 790575"/>
                  <a:gd name="connsiteY17" fmla="*/ 179486 h 790575"/>
                  <a:gd name="connsiteX18" fmla="*/ 342900 w 790575"/>
                  <a:gd name="connsiteY18" fmla="*/ 133647 h 790575"/>
                  <a:gd name="connsiteX19" fmla="*/ 388739 w 790575"/>
                  <a:gd name="connsiteY19" fmla="*/ 87808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529233" y="7144"/>
                    </a:moveTo>
                    <a:cubicBezTo>
                      <a:pt x="262231" y="7144"/>
                      <a:pt x="278904" y="122932"/>
                      <a:pt x="278904" y="122932"/>
                    </a:cubicBezTo>
                    <a:lnTo>
                      <a:pt x="279202" y="242888"/>
                    </a:lnTo>
                    <a:lnTo>
                      <a:pt x="533995" y="242888"/>
                    </a:lnTo>
                    <a:lnTo>
                      <a:pt x="533995" y="278903"/>
                    </a:lnTo>
                    <a:lnTo>
                      <a:pt x="177998" y="278903"/>
                    </a:lnTo>
                    <a:cubicBezTo>
                      <a:pt x="177998" y="278903"/>
                      <a:pt x="7144" y="259527"/>
                      <a:pt x="7144" y="528935"/>
                    </a:cubicBezTo>
                    <a:cubicBezTo>
                      <a:pt x="7144" y="798340"/>
                      <a:pt x="156270" y="788786"/>
                      <a:pt x="156270" y="788786"/>
                    </a:cubicBezTo>
                    <a:lnTo>
                      <a:pt x="245269" y="788786"/>
                    </a:lnTo>
                    <a:lnTo>
                      <a:pt x="245269" y="663771"/>
                    </a:lnTo>
                    <a:cubicBezTo>
                      <a:pt x="245269" y="663771"/>
                      <a:pt x="240471" y="514647"/>
                      <a:pt x="392014" y="514647"/>
                    </a:cubicBezTo>
                    <a:cubicBezTo>
                      <a:pt x="543558" y="514647"/>
                      <a:pt x="644723" y="514647"/>
                      <a:pt x="644723" y="514647"/>
                    </a:cubicBezTo>
                    <a:cubicBezTo>
                      <a:pt x="644723" y="514647"/>
                      <a:pt x="786703" y="516943"/>
                      <a:pt x="786703" y="377430"/>
                    </a:cubicBezTo>
                    <a:cubicBezTo>
                      <a:pt x="786703" y="237913"/>
                      <a:pt x="786703" y="146744"/>
                      <a:pt x="786703" y="146744"/>
                    </a:cubicBezTo>
                    <a:cubicBezTo>
                      <a:pt x="786703" y="146744"/>
                      <a:pt x="808258" y="7144"/>
                      <a:pt x="529233" y="7144"/>
                    </a:cubicBezTo>
                    <a:close/>
                    <a:moveTo>
                      <a:pt x="388739" y="87808"/>
                    </a:moveTo>
                    <a:cubicBezTo>
                      <a:pt x="414089" y="87808"/>
                      <a:pt x="434578" y="108297"/>
                      <a:pt x="434578" y="133647"/>
                    </a:cubicBezTo>
                    <a:cubicBezTo>
                      <a:pt x="434578" y="158997"/>
                      <a:pt x="414089" y="179486"/>
                      <a:pt x="388739" y="179486"/>
                    </a:cubicBezTo>
                    <a:cubicBezTo>
                      <a:pt x="363389" y="179486"/>
                      <a:pt x="342900" y="158997"/>
                      <a:pt x="342900" y="133647"/>
                    </a:cubicBezTo>
                    <a:cubicBezTo>
                      <a:pt x="342900" y="108297"/>
                      <a:pt x="363389" y="87808"/>
                      <a:pt x="388739" y="87808"/>
                    </a:cubicBezTo>
                    <a:close/>
                  </a:path>
                </a:pathLst>
              </a:custGeom>
              <a:grpFill/>
              <a:ln w="9525" cap="flat">
                <a:noFill/>
                <a:prstDash val="solid"/>
                <a:miter/>
              </a:ln>
            </p:spPr>
            <p:txBody>
              <a:bodyPr rtlCol="0" anchor="ctr"/>
              <a:lstStyle/>
              <a:p>
                <a:pPr defTabSz="914225">
                  <a:defRPr/>
                </a:pPr>
                <a:endParaRPr lang="en-US">
                  <a:solidFill>
                    <a:srgbClr val="000000"/>
                  </a:solidFill>
                  <a:latin typeface="Segoe UI"/>
                </a:endParaRPr>
              </a:p>
            </p:txBody>
          </p:sp>
          <p:sp>
            <p:nvSpPr>
              <p:cNvPr id="132" name="Freeform: Shape 131">
                <a:extLst>
                  <a:ext uri="{FF2B5EF4-FFF2-40B4-BE49-F238E27FC236}">
                    <a16:creationId xmlns:a16="http://schemas.microsoft.com/office/drawing/2014/main" id="{EC79F0FE-FF1A-4C80-820D-72015E72A6FC}"/>
                  </a:ext>
                </a:extLst>
              </p:cNvPr>
              <p:cNvSpPr/>
              <p:nvPr/>
            </p:nvSpPr>
            <p:spPr>
              <a:xfrm>
                <a:off x="8641267" y="2014432"/>
                <a:ext cx="790575" cy="790575"/>
              </a:xfrm>
              <a:custGeom>
                <a:avLst/>
                <a:gdLst>
                  <a:gd name="connsiteX0" fmla="*/ 265002 w 790575"/>
                  <a:gd name="connsiteY0" fmla="*/ 788833 h 790575"/>
                  <a:gd name="connsiteX1" fmla="*/ 515329 w 790575"/>
                  <a:gd name="connsiteY1" fmla="*/ 673047 h 790575"/>
                  <a:gd name="connsiteX2" fmla="*/ 515033 w 790575"/>
                  <a:gd name="connsiteY2" fmla="*/ 553089 h 790575"/>
                  <a:gd name="connsiteX3" fmla="*/ 260239 w 790575"/>
                  <a:gd name="connsiteY3" fmla="*/ 553089 h 790575"/>
                  <a:gd name="connsiteX4" fmla="*/ 260239 w 790575"/>
                  <a:gd name="connsiteY4" fmla="*/ 517075 h 790575"/>
                  <a:gd name="connsiteX5" fmla="*/ 616236 w 790575"/>
                  <a:gd name="connsiteY5" fmla="*/ 517075 h 790575"/>
                  <a:gd name="connsiteX6" fmla="*/ 787096 w 790575"/>
                  <a:gd name="connsiteY6" fmla="*/ 267044 h 790575"/>
                  <a:gd name="connsiteX7" fmla="*/ 637963 w 790575"/>
                  <a:gd name="connsiteY7" fmla="*/ 7186 h 790575"/>
                  <a:gd name="connsiteX8" fmla="*/ 548971 w 790575"/>
                  <a:gd name="connsiteY8" fmla="*/ 7186 h 790575"/>
                  <a:gd name="connsiteX9" fmla="*/ 548971 w 790575"/>
                  <a:gd name="connsiteY9" fmla="*/ 132198 h 790575"/>
                  <a:gd name="connsiteX10" fmla="*/ 402219 w 790575"/>
                  <a:gd name="connsiteY10" fmla="*/ 281331 h 790575"/>
                  <a:gd name="connsiteX11" fmla="*/ 149512 w 790575"/>
                  <a:gd name="connsiteY11" fmla="*/ 281331 h 790575"/>
                  <a:gd name="connsiteX12" fmla="*/ 7530 w 790575"/>
                  <a:gd name="connsiteY12" fmla="*/ 418549 h 790575"/>
                  <a:gd name="connsiteX13" fmla="*/ 7530 w 790575"/>
                  <a:gd name="connsiteY13" fmla="*/ 649234 h 790575"/>
                  <a:gd name="connsiteX14" fmla="*/ 265002 w 790575"/>
                  <a:gd name="connsiteY14" fmla="*/ 788833 h 790575"/>
                  <a:gd name="connsiteX15" fmla="*/ 405496 w 790575"/>
                  <a:gd name="connsiteY15" fmla="*/ 708166 h 790575"/>
                  <a:gd name="connsiteX16" fmla="*/ 359661 w 790575"/>
                  <a:gd name="connsiteY16" fmla="*/ 662331 h 790575"/>
                  <a:gd name="connsiteX17" fmla="*/ 405496 w 790575"/>
                  <a:gd name="connsiteY17" fmla="*/ 616488 h 790575"/>
                  <a:gd name="connsiteX18" fmla="*/ 451340 w 790575"/>
                  <a:gd name="connsiteY18" fmla="*/ 662331 h 790575"/>
                  <a:gd name="connsiteX19" fmla="*/ 405496 w 790575"/>
                  <a:gd name="connsiteY19" fmla="*/ 708166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265002" y="788833"/>
                    </a:moveTo>
                    <a:cubicBezTo>
                      <a:pt x="532007" y="788833"/>
                      <a:pt x="515329" y="673047"/>
                      <a:pt x="515329" y="673047"/>
                    </a:cubicBezTo>
                    <a:lnTo>
                      <a:pt x="515033" y="553089"/>
                    </a:lnTo>
                    <a:lnTo>
                      <a:pt x="260239" y="553089"/>
                    </a:lnTo>
                    <a:lnTo>
                      <a:pt x="260239" y="517075"/>
                    </a:lnTo>
                    <a:lnTo>
                      <a:pt x="616236" y="517075"/>
                    </a:lnTo>
                    <a:cubicBezTo>
                      <a:pt x="616236" y="517075"/>
                      <a:pt x="787096" y="536449"/>
                      <a:pt x="787096" y="267044"/>
                    </a:cubicBezTo>
                    <a:cubicBezTo>
                      <a:pt x="787096" y="-2368"/>
                      <a:pt x="637963" y="7186"/>
                      <a:pt x="637963" y="7186"/>
                    </a:cubicBezTo>
                    <a:lnTo>
                      <a:pt x="548971" y="7186"/>
                    </a:lnTo>
                    <a:lnTo>
                      <a:pt x="548971" y="132198"/>
                    </a:lnTo>
                    <a:cubicBezTo>
                      <a:pt x="548971" y="132198"/>
                      <a:pt x="553762" y="281331"/>
                      <a:pt x="402219" y="281331"/>
                    </a:cubicBezTo>
                    <a:cubicBezTo>
                      <a:pt x="250680" y="281331"/>
                      <a:pt x="149512" y="281331"/>
                      <a:pt x="149512" y="281331"/>
                    </a:cubicBezTo>
                    <a:cubicBezTo>
                      <a:pt x="149512" y="281331"/>
                      <a:pt x="7530" y="279036"/>
                      <a:pt x="7530" y="418549"/>
                    </a:cubicBezTo>
                    <a:cubicBezTo>
                      <a:pt x="7530" y="558061"/>
                      <a:pt x="7530" y="649234"/>
                      <a:pt x="7530" y="649234"/>
                    </a:cubicBezTo>
                    <a:cubicBezTo>
                      <a:pt x="7530" y="649234"/>
                      <a:pt x="-14026" y="788833"/>
                      <a:pt x="265002" y="788833"/>
                    </a:cubicBezTo>
                    <a:close/>
                    <a:moveTo>
                      <a:pt x="405496" y="708166"/>
                    </a:moveTo>
                    <a:cubicBezTo>
                      <a:pt x="380150" y="708166"/>
                      <a:pt x="359661" y="687678"/>
                      <a:pt x="359661" y="662331"/>
                    </a:cubicBezTo>
                    <a:cubicBezTo>
                      <a:pt x="359661" y="636976"/>
                      <a:pt x="380150" y="616488"/>
                      <a:pt x="405496" y="616488"/>
                    </a:cubicBezTo>
                    <a:cubicBezTo>
                      <a:pt x="430851" y="616488"/>
                      <a:pt x="451340" y="636976"/>
                      <a:pt x="451340" y="662331"/>
                    </a:cubicBezTo>
                    <a:cubicBezTo>
                      <a:pt x="451340" y="687678"/>
                      <a:pt x="430851" y="708166"/>
                      <a:pt x="405496" y="708166"/>
                    </a:cubicBezTo>
                    <a:close/>
                  </a:path>
                </a:pathLst>
              </a:custGeom>
              <a:grpFill/>
              <a:ln w="9525" cap="flat">
                <a:noFill/>
                <a:prstDash val="solid"/>
                <a:miter/>
              </a:ln>
            </p:spPr>
            <p:txBody>
              <a:bodyPr rtlCol="0" anchor="ctr"/>
              <a:lstStyle/>
              <a:p>
                <a:pPr defTabSz="914225">
                  <a:defRPr/>
                </a:pPr>
                <a:endParaRPr lang="en-US">
                  <a:solidFill>
                    <a:srgbClr val="000000"/>
                  </a:solidFill>
                  <a:latin typeface="Segoe UI"/>
                </a:endParaRPr>
              </a:p>
            </p:txBody>
          </p:sp>
        </p:grpSp>
      </p:grpSp>
      <p:grpSp>
        <p:nvGrpSpPr>
          <p:cNvPr id="28" name="Group 27">
            <a:extLst>
              <a:ext uri="{FF2B5EF4-FFF2-40B4-BE49-F238E27FC236}">
                <a16:creationId xmlns:a16="http://schemas.microsoft.com/office/drawing/2014/main" id="{8AED3470-B93A-43CD-8069-A2CB586A26C1}"/>
              </a:ext>
            </a:extLst>
          </p:cNvPr>
          <p:cNvGrpSpPr/>
          <p:nvPr/>
        </p:nvGrpSpPr>
        <p:grpSpPr>
          <a:xfrm>
            <a:off x="6414437" y="4382738"/>
            <a:ext cx="722381" cy="622742"/>
            <a:chOff x="6414482" y="3823577"/>
            <a:chExt cx="722483" cy="622830"/>
          </a:xfrm>
        </p:grpSpPr>
        <p:sp>
          <p:nvSpPr>
            <p:cNvPr id="72" name="Hexagon 71">
              <a:extLst>
                <a:ext uri="{FF2B5EF4-FFF2-40B4-BE49-F238E27FC236}">
                  <a16:creationId xmlns:a16="http://schemas.microsoft.com/office/drawing/2014/main" id="{3223D557-8538-473E-B460-8E3BAFD0037B}"/>
                </a:ext>
              </a:extLst>
            </p:cNvPr>
            <p:cNvSpPr/>
            <p:nvPr/>
          </p:nvSpPr>
          <p:spPr>
            <a:xfrm>
              <a:off x="6414482" y="3823577"/>
              <a:ext cx="722483" cy="62283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pic>
          <p:nvPicPr>
            <p:cNvPr id="144" name="Graphic 143">
              <a:extLst>
                <a:ext uri="{FF2B5EF4-FFF2-40B4-BE49-F238E27FC236}">
                  <a16:creationId xmlns:a16="http://schemas.microsoft.com/office/drawing/2014/main" id="{561D65B2-42BB-46B1-9A4F-EA95D86F43CF}"/>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6517" y="3943974"/>
              <a:ext cx="338413" cy="382036"/>
            </a:xfrm>
            <a:prstGeom prst="rect">
              <a:avLst/>
            </a:prstGeom>
          </p:spPr>
        </p:pic>
      </p:grpSp>
      <p:sp>
        <p:nvSpPr>
          <p:cNvPr id="146" name="Hexagon 145">
            <a:extLst>
              <a:ext uri="{FF2B5EF4-FFF2-40B4-BE49-F238E27FC236}">
                <a16:creationId xmlns:a16="http://schemas.microsoft.com/office/drawing/2014/main" id="{AD06C680-8D77-423D-9D48-FD05B3794C76}"/>
              </a:ext>
            </a:extLst>
          </p:cNvPr>
          <p:cNvSpPr/>
          <p:nvPr/>
        </p:nvSpPr>
        <p:spPr>
          <a:xfrm>
            <a:off x="3669581" y="3304783"/>
            <a:ext cx="493195" cy="425168"/>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149" name="Hexagon 148">
            <a:extLst>
              <a:ext uri="{FF2B5EF4-FFF2-40B4-BE49-F238E27FC236}">
                <a16:creationId xmlns:a16="http://schemas.microsoft.com/office/drawing/2014/main" id="{BA9699C8-7A33-4D75-99DA-D02FB4391509}"/>
              </a:ext>
            </a:extLst>
          </p:cNvPr>
          <p:cNvSpPr/>
          <p:nvPr/>
        </p:nvSpPr>
        <p:spPr>
          <a:xfrm>
            <a:off x="7917289" y="3803484"/>
            <a:ext cx="720256" cy="62091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153" name="TextBox 152">
            <a:extLst>
              <a:ext uri="{FF2B5EF4-FFF2-40B4-BE49-F238E27FC236}">
                <a16:creationId xmlns:a16="http://schemas.microsoft.com/office/drawing/2014/main" id="{DBB615D8-C99B-4B0D-AAD2-C914FA7BBDE9}"/>
              </a:ext>
            </a:extLst>
          </p:cNvPr>
          <p:cNvSpPr txBox="1"/>
          <p:nvPr/>
        </p:nvSpPr>
        <p:spPr>
          <a:xfrm>
            <a:off x="3993786" y="482549"/>
            <a:ext cx="4778194" cy="594566"/>
          </a:xfrm>
          <a:prstGeom prst="rect">
            <a:avLst/>
          </a:prstGeom>
          <a:noFill/>
        </p:spPr>
        <p:txBody>
          <a:bodyPr wrap="none" rtlCol="0">
            <a:spAutoFit/>
          </a:bodyPr>
          <a:lstStyle/>
          <a:p>
            <a:pPr algn="ctr" defTabSz="914225">
              <a:defRPr/>
            </a:pPr>
            <a:r>
              <a:rPr lang="en-US" sz="3200">
                <a:solidFill>
                  <a:srgbClr val="0078D7"/>
                </a:solidFill>
                <a:latin typeface="Segoe UI Light" panose="020B0502040204020203" pitchFamily="34" charset="0"/>
                <a:cs typeface="Segoe UI Light" panose="020B0502040204020203" pitchFamily="34" charset="0"/>
              </a:rPr>
              <a:t>Azure Service Fabric Mesh</a:t>
            </a:r>
          </a:p>
        </p:txBody>
      </p:sp>
      <p:sp>
        <p:nvSpPr>
          <p:cNvPr id="154" name="Content Placeholder 6">
            <a:extLst>
              <a:ext uri="{FF2B5EF4-FFF2-40B4-BE49-F238E27FC236}">
                <a16:creationId xmlns:a16="http://schemas.microsoft.com/office/drawing/2014/main" id="{DC5B7B22-FD71-4EEE-92DC-49746691B48B}"/>
              </a:ext>
            </a:extLst>
          </p:cNvPr>
          <p:cNvSpPr>
            <a:spLocks noGrp="1"/>
          </p:cNvSpPr>
          <p:nvPr>
            <p:ph type="subTitle" idx="27"/>
          </p:nvPr>
        </p:nvSpPr>
        <p:spPr>
          <a:xfrm>
            <a:off x="1044804" y="1032769"/>
            <a:ext cx="9762351" cy="523659"/>
          </a:xfrm>
        </p:spPr>
        <p:txBody>
          <a:bodyPr vert="horz" wrap="square" lIns="91427" tIns="89642" rIns="91427" bIns="89642" rtlCol="0">
            <a:spAutoFit/>
          </a:bodyPr>
          <a:lstStyle/>
          <a:p>
            <a:pPr algn="ctr"/>
            <a:r>
              <a:rPr lang="en-US" b="0" spc="0" dirty="0">
                <a:latin typeface="Segoe UI Light" panose="020B0502040204020203" pitchFamily="34" charset="0"/>
                <a:ea typeface="+mn-ea"/>
                <a:cs typeface="Segoe UI Light" panose="020B0502040204020203" pitchFamily="34" charset="0"/>
              </a:rPr>
              <a:t>A fully managed microservices platform for business-critical applications</a:t>
            </a:r>
          </a:p>
        </p:txBody>
      </p:sp>
      <p:grpSp>
        <p:nvGrpSpPr>
          <p:cNvPr id="15" name="Group 14">
            <a:extLst>
              <a:ext uri="{FF2B5EF4-FFF2-40B4-BE49-F238E27FC236}">
                <a16:creationId xmlns:a16="http://schemas.microsoft.com/office/drawing/2014/main" id="{1297E7CE-5C05-4474-A6F8-5FAC7445E7F4}"/>
              </a:ext>
            </a:extLst>
          </p:cNvPr>
          <p:cNvGrpSpPr/>
          <p:nvPr/>
        </p:nvGrpSpPr>
        <p:grpSpPr>
          <a:xfrm>
            <a:off x="5517031" y="4179083"/>
            <a:ext cx="723446" cy="620910"/>
            <a:chOff x="5516949" y="3619892"/>
            <a:chExt cx="723549" cy="620999"/>
          </a:xfrm>
        </p:grpSpPr>
        <p:sp>
          <p:nvSpPr>
            <p:cNvPr id="137" name="Hexagon 136">
              <a:extLst>
                <a:ext uri="{FF2B5EF4-FFF2-40B4-BE49-F238E27FC236}">
                  <a16:creationId xmlns:a16="http://schemas.microsoft.com/office/drawing/2014/main" id="{F892CCA8-6E27-4BAF-8C84-26B68EBF5728}"/>
                </a:ext>
              </a:extLst>
            </p:cNvPr>
            <p:cNvSpPr/>
            <p:nvPr/>
          </p:nvSpPr>
          <p:spPr>
            <a:xfrm>
              <a:off x="5516949" y="3619892"/>
              <a:ext cx="72354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168" name="Intelligence" title="Icon of circles connected by crossing lines">
              <a:extLst>
                <a:ext uri="{FF2B5EF4-FFF2-40B4-BE49-F238E27FC236}">
                  <a16:creationId xmlns:a16="http://schemas.microsoft.com/office/drawing/2014/main" id="{882DE960-8A06-4F41-A3E4-1A4098D587B5}"/>
                </a:ext>
              </a:extLst>
            </p:cNvPr>
            <p:cNvSpPr>
              <a:spLocks noChangeAspect="1" noEditPoints="1"/>
            </p:cNvSpPr>
            <p:nvPr/>
          </p:nvSpPr>
          <p:spPr bwMode="auto">
            <a:xfrm>
              <a:off x="5674319" y="3733977"/>
              <a:ext cx="408808" cy="392829"/>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rgbClr val="79797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a:solidFill>
                  <a:srgbClr val="8CCAFD"/>
                </a:solidFill>
                <a:latin typeface="Segoe UI"/>
              </a:endParaRPr>
            </a:p>
          </p:txBody>
        </p:sp>
      </p:grpSp>
      <p:grpSp>
        <p:nvGrpSpPr>
          <p:cNvPr id="19" name="Group 18">
            <a:extLst>
              <a:ext uri="{FF2B5EF4-FFF2-40B4-BE49-F238E27FC236}">
                <a16:creationId xmlns:a16="http://schemas.microsoft.com/office/drawing/2014/main" id="{B116A662-C3BA-489B-BA3B-8095168100EC}"/>
              </a:ext>
            </a:extLst>
          </p:cNvPr>
          <p:cNvGrpSpPr/>
          <p:nvPr/>
        </p:nvGrpSpPr>
        <p:grpSpPr>
          <a:xfrm>
            <a:off x="6178502" y="3845940"/>
            <a:ext cx="493195" cy="425168"/>
            <a:chOff x="6178514" y="3286702"/>
            <a:chExt cx="493265" cy="425229"/>
          </a:xfrm>
        </p:grpSpPr>
        <p:sp>
          <p:nvSpPr>
            <p:cNvPr id="52" name="Hexagon 51">
              <a:extLst>
                <a:ext uri="{FF2B5EF4-FFF2-40B4-BE49-F238E27FC236}">
                  <a16:creationId xmlns:a16="http://schemas.microsoft.com/office/drawing/2014/main" id="{32F05345-C724-4FB7-85A7-5040D0697930}"/>
                </a:ext>
              </a:extLst>
            </p:cNvPr>
            <p:cNvSpPr/>
            <p:nvPr/>
          </p:nvSpPr>
          <p:spPr>
            <a:xfrm>
              <a:off x="6178514" y="328670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170" name="Freeform 92">
              <a:extLst>
                <a:ext uri="{FF2B5EF4-FFF2-40B4-BE49-F238E27FC236}">
                  <a16:creationId xmlns:a16="http://schemas.microsoft.com/office/drawing/2014/main" id="{634739D0-A8CF-4A44-A04D-6B623CBEFF29}"/>
                </a:ext>
              </a:extLst>
            </p:cNvPr>
            <p:cNvSpPr>
              <a:spLocks noChangeAspect="1" noEditPoints="1"/>
            </p:cNvSpPr>
            <p:nvPr/>
          </p:nvSpPr>
          <p:spPr bwMode="black">
            <a:xfrm>
              <a:off x="6330273" y="3370052"/>
              <a:ext cx="189746" cy="25852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797979"/>
            </a:solidFill>
            <a:ln>
              <a:noFill/>
            </a:ln>
            <a:extLst/>
          </p:spPr>
          <p:txBody>
            <a:bodyPr vert="horz" wrap="square" lIns="69943" tIns="34971" rIns="69943" bIns="34971" numCol="1" anchor="t" anchorCtr="0" compatLnSpc="1">
              <a:prstTxWarp prst="textNoShape">
                <a:avLst/>
              </a:prstTxWarp>
            </a:bodyPr>
            <a:lstStyle/>
            <a:p>
              <a:pPr defTabSz="914225">
                <a:defRPr/>
              </a:pPr>
              <a:endParaRPr lang="en-US" sz="1350">
                <a:solidFill>
                  <a:srgbClr val="000000"/>
                </a:solidFill>
                <a:latin typeface="Segoe UI"/>
              </a:endParaRPr>
            </a:p>
          </p:txBody>
        </p:sp>
      </p:grpSp>
      <p:sp>
        <p:nvSpPr>
          <p:cNvPr id="92" name="Hexagon 91">
            <a:extLst>
              <a:ext uri="{FF2B5EF4-FFF2-40B4-BE49-F238E27FC236}">
                <a16:creationId xmlns:a16="http://schemas.microsoft.com/office/drawing/2014/main" id="{E468B4EC-D350-4A58-91D6-8B975E75FE00}"/>
              </a:ext>
            </a:extLst>
          </p:cNvPr>
          <p:cNvSpPr/>
          <p:nvPr/>
        </p:nvSpPr>
        <p:spPr>
          <a:xfrm>
            <a:off x="4642108" y="3589603"/>
            <a:ext cx="493195" cy="425168"/>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18" name="Group 17">
            <a:extLst>
              <a:ext uri="{FF2B5EF4-FFF2-40B4-BE49-F238E27FC236}">
                <a16:creationId xmlns:a16="http://schemas.microsoft.com/office/drawing/2014/main" id="{AF1F3801-EC3F-4A82-9067-153D21F277C0}"/>
              </a:ext>
            </a:extLst>
          </p:cNvPr>
          <p:cNvGrpSpPr/>
          <p:nvPr/>
        </p:nvGrpSpPr>
        <p:grpSpPr>
          <a:xfrm>
            <a:off x="4195284" y="3589603"/>
            <a:ext cx="493195" cy="425168"/>
            <a:chOff x="3180259" y="4622049"/>
            <a:chExt cx="791685" cy="682487"/>
          </a:xfrm>
        </p:grpSpPr>
        <p:sp>
          <p:nvSpPr>
            <p:cNvPr id="95" name="Hexagon 94">
              <a:extLst>
                <a:ext uri="{FF2B5EF4-FFF2-40B4-BE49-F238E27FC236}">
                  <a16:creationId xmlns:a16="http://schemas.microsoft.com/office/drawing/2014/main" id="{12ED3900-56FA-4168-AA15-140C5E74DAA9}"/>
                </a:ext>
              </a:extLst>
            </p:cNvPr>
            <p:cNvSpPr/>
            <p:nvPr/>
          </p:nvSpPr>
          <p:spPr>
            <a:xfrm>
              <a:off x="3180259" y="4622049"/>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96" name="Freeform: Shape 95">
              <a:extLst>
                <a:ext uri="{FF2B5EF4-FFF2-40B4-BE49-F238E27FC236}">
                  <a16:creationId xmlns:a16="http://schemas.microsoft.com/office/drawing/2014/main" id="{C392D4DD-24AD-4CFD-8BDE-4EC55F912C5A}"/>
                </a:ext>
              </a:extLst>
            </p:cNvPr>
            <p:cNvSpPr/>
            <p:nvPr/>
          </p:nvSpPr>
          <p:spPr>
            <a:xfrm>
              <a:off x="3346899" y="4800773"/>
              <a:ext cx="458405" cy="325038"/>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797979"/>
            </a:solidFill>
            <a:ln w="9525" cap="flat">
              <a:noFill/>
              <a:prstDash val="solid"/>
              <a:miter/>
            </a:ln>
          </p:spPr>
          <p:txBody>
            <a:bodyPr wrap="square" rtlCol="0" anchor="ctr">
              <a:noAutofit/>
            </a:bodyPr>
            <a:lstStyle/>
            <a:p>
              <a:pPr defTabSz="914225">
                <a:defRPr/>
              </a:pPr>
              <a:endParaRPr lang="en-US">
                <a:solidFill>
                  <a:srgbClr val="000000"/>
                </a:solidFill>
                <a:latin typeface="Segoe UI"/>
              </a:endParaRPr>
            </a:p>
          </p:txBody>
        </p:sp>
      </p:grpSp>
      <p:grpSp>
        <p:nvGrpSpPr>
          <p:cNvPr id="14" name="Group 13">
            <a:extLst>
              <a:ext uri="{FF2B5EF4-FFF2-40B4-BE49-F238E27FC236}">
                <a16:creationId xmlns:a16="http://schemas.microsoft.com/office/drawing/2014/main" id="{DBAAF00C-5121-4076-A5AC-5866A2D98A00}"/>
              </a:ext>
            </a:extLst>
          </p:cNvPr>
          <p:cNvGrpSpPr/>
          <p:nvPr/>
        </p:nvGrpSpPr>
        <p:grpSpPr>
          <a:xfrm>
            <a:off x="4418696" y="3250031"/>
            <a:ext cx="493195" cy="425168"/>
            <a:chOff x="4418458" y="2690709"/>
            <a:chExt cx="493265" cy="425229"/>
          </a:xfrm>
        </p:grpSpPr>
        <p:sp>
          <p:nvSpPr>
            <p:cNvPr id="98" name="Hexagon 97">
              <a:extLst>
                <a:ext uri="{FF2B5EF4-FFF2-40B4-BE49-F238E27FC236}">
                  <a16:creationId xmlns:a16="http://schemas.microsoft.com/office/drawing/2014/main" id="{0D14B9F1-30E8-4C3A-84F9-195869F00B5B}"/>
                </a:ext>
              </a:extLst>
            </p:cNvPr>
            <p:cNvSpPr/>
            <p:nvPr/>
          </p:nvSpPr>
          <p:spPr>
            <a:xfrm>
              <a:off x="4418458" y="269070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13" name="Group 12">
              <a:extLst>
                <a:ext uri="{FF2B5EF4-FFF2-40B4-BE49-F238E27FC236}">
                  <a16:creationId xmlns:a16="http://schemas.microsoft.com/office/drawing/2014/main" id="{457C791A-0C8B-40FB-9A60-6EE75C820085}"/>
                </a:ext>
              </a:extLst>
            </p:cNvPr>
            <p:cNvGrpSpPr/>
            <p:nvPr/>
          </p:nvGrpSpPr>
          <p:grpSpPr>
            <a:xfrm>
              <a:off x="4529073" y="2787233"/>
              <a:ext cx="272034" cy="232181"/>
              <a:chOff x="4485861" y="2054748"/>
              <a:chExt cx="3220278" cy="2748504"/>
            </a:xfrm>
          </p:grpSpPr>
          <p:grpSp>
            <p:nvGrpSpPr>
              <p:cNvPr id="119" name="Group 118">
                <a:extLst>
                  <a:ext uri="{FF2B5EF4-FFF2-40B4-BE49-F238E27FC236}">
                    <a16:creationId xmlns:a16="http://schemas.microsoft.com/office/drawing/2014/main" id="{039EAD4D-43FA-4B43-B096-4D7714FA63FE}"/>
                  </a:ext>
                </a:extLst>
              </p:cNvPr>
              <p:cNvGrpSpPr/>
              <p:nvPr/>
            </p:nvGrpSpPr>
            <p:grpSpPr>
              <a:xfrm>
                <a:off x="4485861" y="3307082"/>
                <a:ext cx="3220278" cy="1496170"/>
                <a:chOff x="8040600" y="1481595"/>
                <a:chExt cx="3220278" cy="1496170"/>
              </a:xfrm>
            </p:grpSpPr>
            <p:sp>
              <p:nvSpPr>
                <p:cNvPr id="162" name="Freeform: Shape 161">
                  <a:extLst>
                    <a:ext uri="{FF2B5EF4-FFF2-40B4-BE49-F238E27FC236}">
                      <a16:creationId xmlns:a16="http://schemas.microsoft.com/office/drawing/2014/main" id="{63ADB9C9-ECCA-45A3-916D-33604FB95DCB}"/>
                    </a:ext>
                  </a:extLst>
                </p:cNvPr>
                <p:cNvSpPr/>
                <p:nvPr/>
              </p:nvSpPr>
              <p:spPr>
                <a:xfrm>
                  <a:off x="8040600" y="1481595"/>
                  <a:ext cx="3220278" cy="1496170"/>
                </a:xfrm>
                <a:custGeom>
                  <a:avLst/>
                  <a:gdLst>
                    <a:gd name="connsiteX0" fmla="*/ 1610139 w 3220278"/>
                    <a:gd name="connsiteY0" fmla="*/ 0 h 1496170"/>
                    <a:gd name="connsiteX1" fmla="*/ 3220278 w 3220278"/>
                    <a:gd name="connsiteY1" fmla="*/ 588396 h 1496170"/>
                    <a:gd name="connsiteX2" fmla="*/ 3219482 w 3220278"/>
                    <a:gd name="connsiteY2" fmla="*/ 594157 h 1496170"/>
                    <a:gd name="connsiteX3" fmla="*/ 3219482 w 3220278"/>
                    <a:gd name="connsiteY3" fmla="*/ 902014 h 1496170"/>
                    <a:gd name="connsiteX4" fmla="*/ 3220278 w 3220278"/>
                    <a:gd name="connsiteY4" fmla="*/ 907774 h 1496170"/>
                    <a:gd name="connsiteX5" fmla="*/ 1610139 w 3220278"/>
                    <a:gd name="connsiteY5" fmla="*/ 1496170 h 1496170"/>
                    <a:gd name="connsiteX6" fmla="*/ 0 w 3220278"/>
                    <a:gd name="connsiteY6" fmla="*/ 907774 h 1496170"/>
                    <a:gd name="connsiteX7" fmla="*/ 794 w 3220278"/>
                    <a:gd name="connsiteY7" fmla="*/ 902028 h 1496170"/>
                    <a:gd name="connsiteX8" fmla="*/ 794 w 3220278"/>
                    <a:gd name="connsiteY8" fmla="*/ 594142 h 1496170"/>
                    <a:gd name="connsiteX9" fmla="*/ 0 w 3220278"/>
                    <a:gd name="connsiteY9" fmla="*/ 588396 h 1496170"/>
                    <a:gd name="connsiteX10" fmla="*/ 1610139 w 3220278"/>
                    <a:gd name="connsiteY10" fmla="*/ 0 h 14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0278" h="1496170">
                      <a:moveTo>
                        <a:pt x="1610139" y="0"/>
                      </a:moveTo>
                      <a:cubicBezTo>
                        <a:pt x="2499394" y="0"/>
                        <a:pt x="3220278" y="263434"/>
                        <a:pt x="3220278" y="588396"/>
                      </a:cubicBezTo>
                      <a:lnTo>
                        <a:pt x="3219482" y="594157"/>
                      </a:lnTo>
                      <a:lnTo>
                        <a:pt x="3219482" y="902014"/>
                      </a:lnTo>
                      <a:lnTo>
                        <a:pt x="3220278" y="907774"/>
                      </a:lnTo>
                      <a:cubicBezTo>
                        <a:pt x="3220278" y="1232736"/>
                        <a:pt x="2499394" y="1496170"/>
                        <a:pt x="1610139" y="1496170"/>
                      </a:cubicBezTo>
                      <a:cubicBezTo>
                        <a:pt x="720884" y="1496170"/>
                        <a:pt x="0" y="1232736"/>
                        <a:pt x="0" y="907774"/>
                      </a:cubicBezTo>
                      <a:lnTo>
                        <a:pt x="794" y="902028"/>
                      </a:lnTo>
                      <a:lnTo>
                        <a:pt x="794" y="594142"/>
                      </a:lnTo>
                      <a:lnTo>
                        <a:pt x="0" y="588396"/>
                      </a:lnTo>
                      <a:cubicBezTo>
                        <a:pt x="0" y="263434"/>
                        <a:pt x="720884" y="0"/>
                        <a:pt x="1610139" y="0"/>
                      </a:cubicBezTo>
                      <a:close/>
                    </a:path>
                  </a:pathLst>
                </a:cu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defRPr/>
                  </a:pPr>
                  <a:endParaRPr lang="en-US">
                    <a:solidFill>
                      <a:srgbClr val="000000"/>
                    </a:solidFill>
                    <a:latin typeface="Segoe UI"/>
                  </a:endParaRPr>
                </a:p>
              </p:txBody>
            </p:sp>
            <p:sp>
              <p:nvSpPr>
                <p:cNvPr id="163" name="Oval 162">
                  <a:extLst>
                    <a:ext uri="{FF2B5EF4-FFF2-40B4-BE49-F238E27FC236}">
                      <a16:creationId xmlns:a16="http://schemas.microsoft.com/office/drawing/2014/main" id="{EB4629AE-3853-4D13-ACDA-41607B5A4B5D}"/>
                    </a:ext>
                  </a:extLst>
                </p:cNvPr>
                <p:cNvSpPr/>
                <p:nvPr/>
              </p:nvSpPr>
              <p:spPr>
                <a:xfrm>
                  <a:off x="8040601" y="1481595"/>
                  <a:ext cx="3220277" cy="1176792"/>
                </a:xfrm>
                <a:prstGeom prst="ellipse">
                  <a:avLst/>
                </a:prstGeom>
                <a:solidFill>
                  <a:srgbClr val="A3A3A3"/>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defRPr/>
                  </a:pPr>
                  <a:endParaRPr lang="en-US">
                    <a:solidFill>
                      <a:srgbClr val="000000"/>
                    </a:solidFill>
                    <a:latin typeface="Segoe UI"/>
                  </a:endParaRPr>
                </a:p>
              </p:txBody>
            </p:sp>
            <p:sp>
              <p:nvSpPr>
                <p:cNvPr id="165" name="Oval 164">
                  <a:extLst>
                    <a:ext uri="{FF2B5EF4-FFF2-40B4-BE49-F238E27FC236}">
                      <a16:creationId xmlns:a16="http://schemas.microsoft.com/office/drawing/2014/main" id="{68031F1A-1AAE-4BF8-B2CF-8AD7EF56303D}"/>
                    </a:ext>
                  </a:extLst>
                </p:cNvPr>
                <p:cNvSpPr/>
                <p:nvPr/>
              </p:nvSpPr>
              <p:spPr>
                <a:xfrm>
                  <a:off x="9123201" y="1909218"/>
                  <a:ext cx="1055077" cy="321547"/>
                </a:xfrm>
                <a:prstGeom prst="ellipse">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defRPr/>
                  </a:pPr>
                  <a:endParaRPr lang="en-US">
                    <a:solidFill>
                      <a:srgbClr val="000000"/>
                    </a:solidFill>
                    <a:latin typeface="Segoe UI"/>
                  </a:endParaRPr>
                </a:p>
              </p:txBody>
            </p:sp>
          </p:grpSp>
          <p:grpSp>
            <p:nvGrpSpPr>
              <p:cNvPr id="120" name="Group 119">
                <a:extLst>
                  <a:ext uri="{FF2B5EF4-FFF2-40B4-BE49-F238E27FC236}">
                    <a16:creationId xmlns:a16="http://schemas.microsoft.com/office/drawing/2014/main" id="{340B1842-3DDA-4C3B-9201-A31EFF6E10CD}"/>
                  </a:ext>
                </a:extLst>
              </p:cNvPr>
              <p:cNvGrpSpPr/>
              <p:nvPr/>
            </p:nvGrpSpPr>
            <p:grpSpPr>
              <a:xfrm>
                <a:off x="4485861" y="2054748"/>
                <a:ext cx="3220278" cy="1496170"/>
                <a:chOff x="8040600" y="1481595"/>
                <a:chExt cx="3220278" cy="1496170"/>
              </a:xfrm>
            </p:grpSpPr>
            <p:sp>
              <p:nvSpPr>
                <p:cNvPr id="156" name="Freeform: Shape 155">
                  <a:extLst>
                    <a:ext uri="{FF2B5EF4-FFF2-40B4-BE49-F238E27FC236}">
                      <a16:creationId xmlns:a16="http://schemas.microsoft.com/office/drawing/2014/main" id="{B9264D31-0AEF-4D2F-86E5-15BCDCEF1F17}"/>
                    </a:ext>
                  </a:extLst>
                </p:cNvPr>
                <p:cNvSpPr/>
                <p:nvPr/>
              </p:nvSpPr>
              <p:spPr>
                <a:xfrm>
                  <a:off x="8040600" y="1481595"/>
                  <a:ext cx="3220278" cy="1496170"/>
                </a:xfrm>
                <a:custGeom>
                  <a:avLst/>
                  <a:gdLst>
                    <a:gd name="connsiteX0" fmla="*/ 1610139 w 3220278"/>
                    <a:gd name="connsiteY0" fmla="*/ 0 h 1496170"/>
                    <a:gd name="connsiteX1" fmla="*/ 3220278 w 3220278"/>
                    <a:gd name="connsiteY1" fmla="*/ 588396 h 1496170"/>
                    <a:gd name="connsiteX2" fmla="*/ 3219482 w 3220278"/>
                    <a:gd name="connsiteY2" fmla="*/ 594157 h 1496170"/>
                    <a:gd name="connsiteX3" fmla="*/ 3219482 w 3220278"/>
                    <a:gd name="connsiteY3" fmla="*/ 902014 h 1496170"/>
                    <a:gd name="connsiteX4" fmla="*/ 3220278 w 3220278"/>
                    <a:gd name="connsiteY4" fmla="*/ 907774 h 1496170"/>
                    <a:gd name="connsiteX5" fmla="*/ 1610139 w 3220278"/>
                    <a:gd name="connsiteY5" fmla="*/ 1496170 h 1496170"/>
                    <a:gd name="connsiteX6" fmla="*/ 0 w 3220278"/>
                    <a:gd name="connsiteY6" fmla="*/ 907774 h 1496170"/>
                    <a:gd name="connsiteX7" fmla="*/ 794 w 3220278"/>
                    <a:gd name="connsiteY7" fmla="*/ 902028 h 1496170"/>
                    <a:gd name="connsiteX8" fmla="*/ 794 w 3220278"/>
                    <a:gd name="connsiteY8" fmla="*/ 594142 h 1496170"/>
                    <a:gd name="connsiteX9" fmla="*/ 0 w 3220278"/>
                    <a:gd name="connsiteY9" fmla="*/ 588396 h 1496170"/>
                    <a:gd name="connsiteX10" fmla="*/ 1610139 w 3220278"/>
                    <a:gd name="connsiteY10" fmla="*/ 0 h 14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0278" h="1496170">
                      <a:moveTo>
                        <a:pt x="1610139" y="0"/>
                      </a:moveTo>
                      <a:cubicBezTo>
                        <a:pt x="2499394" y="0"/>
                        <a:pt x="3220278" y="263434"/>
                        <a:pt x="3220278" y="588396"/>
                      </a:cubicBezTo>
                      <a:lnTo>
                        <a:pt x="3219482" y="594157"/>
                      </a:lnTo>
                      <a:lnTo>
                        <a:pt x="3219482" y="902014"/>
                      </a:lnTo>
                      <a:lnTo>
                        <a:pt x="3220278" y="907774"/>
                      </a:lnTo>
                      <a:cubicBezTo>
                        <a:pt x="3220278" y="1232736"/>
                        <a:pt x="2499394" y="1496170"/>
                        <a:pt x="1610139" y="1496170"/>
                      </a:cubicBezTo>
                      <a:cubicBezTo>
                        <a:pt x="720884" y="1496170"/>
                        <a:pt x="0" y="1232736"/>
                        <a:pt x="0" y="907774"/>
                      </a:cubicBezTo>
                      <a:lnTo>
                        <a:pt x="794" y="902028"/>
                      </a:lnTo>
                      <a:lnTo>
                        <a:pt x="794" y="594142"/>
                      </a:lnTo>
                      <a:lnTo>
                        <a:pt x="0" y="588396"/>
                      </a:lnTo>
                      <a:cubicBezTo>
                        <a:pt x="0" y="263434"/>
                        <a:pt x="720884" y="0"/>
                        <a:pt x="1610139" y="0"/>
                      </a:cubicBezTo>
                      <a:close/>
                    </a:path>
                  </a:pathLst>
                </a:cu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defRPr/>
                  </a:pPr>
                  <a:endParaRPr lang="en-US">
                    <a:solidFill>
                      <a:srgbClr val="000000"/>
                    </a:solidFill>
                    <a:latin typeface="Segoe UI"/>
                  </a:endParaRPr>
                </a:p>
              </p:txBody>
            </p:sp>
            <p:sp>
              <p:nvSpPr>
                <p:cNvPr id="158" name="Oval 157">
                  <a:extLst>
                    <a:ext uri="{FF2B5EF4-FFF2-40B4-BE49-F238E27FC236}">
                      <a16:creationId xmlns:a16="http://schemas.microsoft.com/office/drawing/2014/main" id="{C6DB41DD-E737-4572-A6BA-5F2BC113C36B}"/>
                    </a:ext>
                  </a:extLst>
                </p:cNvPr>
                <p:cNvSpPr/>
                <p:nvPr/>
              </p:nvSpPr>
              <p:spPr>
                <a:xfrm>
                  <a:off x="8040601" y="1481595"/>
                  <a:ext cx="3220277" cy="1176792"/>
                </a:xfrm>
                <a:prstGeom prst="ellipse">
                  <a:avLst/>
                </a:prstGeom>
                <a:solidFill>
                  <a:srgbClr val="A3A3A3"/>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defRPr/>
                  </a:pPr>
                  <a:endParaRPr lang="en-US">
                    <a:solidFill>
                      <a:srgbClr val="000000"/>
                    </a:solidFill>
                    <a:latin typeface="Segoe UI"/>
                  </a:endParaRPr>
                </a:p>
              </p:txBody>
            </p:sp>
            <p:sp>
              <p:nvSpPr>
                <p:cNvPr id="161" name="Oval 160">
                  <a:extLst>
                    <a:ext uri="{FF2B5EF4-FFF2-40B4-BE49-F238E27FC236}">
                      <a16:creationId xmlns:a16="http://schemas.microsoft.com/office/drawing/2014/main" id="{62B550EC-EF51-49B7-ACCB-D7987DAC4B5B}"/>
                    </a:ext>
                  </a:extLst>
                </p:cNvPr>
                <p:cNvSpPr/>
                <p:nvPr/>
              </p:nvSpPr>
              <p:spPr>
                <a:xfrm>
                  <a:off x="9123201" y="1909218"/>
                  <a:ext cx="1055077" cy="321547"/>
                </a:xfrm>
                <a:prstGeom prst="ellipse">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defRPr/>
                  </a:pPr>
                  <a:endParaRPr lang="en-US">
                    <a:solidFill>
                      <a:srgbClr val="000000"/>
                    </a:solidFill>
                    <a:latin typeface="Segoe UI"/>
                  </a:endParaRPr>
                </a:p>
              </p:txBody>
            </p:sp>
          </p:grpSp>
        </p:grpSp>
      </p:grpSp>
      <p:grpSp>
        <p:nvGrpSpPr>
          <p:cNvPr id="24" name="Group 23">
            <a:extLst>
              <a:ext uri="{FF2B5EF4-FFF2-40B4-BE49-F238E27FC236}">
                <a16:creationId xmlns:a16="http://schemas.microsoft.com/office/drawing/2014/main" id="{D78CC750-CB61-4545-A699-ECE02FF4B18E}"/>
              </a:ext>
            </a:extLst>
          </p:cNvPr>
          <p:cNvGrpSpPr/>
          <p:nvPr/>
        </p:nvGrpSpPr>
        <p:grpSpPr>
          <a:xfrm>
            <a:off x="6612110" y="3507820"/>
            <a:ext cx="720256" cy="620910"/>
            <a:chOff x="6612182" y="2948534"/>
            <a:chExt cx="720359" cy="620999"/>
          </a:xfrm>
        </p:grpSpPr>
        <p:sp>
          <p:nvSpPr>
            <p:cNvPr id="143" name="Hexagon 142">
              <a:extLst>
                <a:ext uri="{FF2B5EF4-FFF2-40B4-BE49-F238E27FC236}">
                  <a16:creationId xmlns:a16="http://schemas.microsoft.com/office/drawing/2014/main" id="{7167D7E9-1006-4058-953C-85ED783B81FB}"/>
                </a:ext>
              </a:extLst>
            </p:cNvPr>
            <p:cNvSpPr/>
            <p:nvPr/>
          </p:nvSpPr>
          <p:spPr>
            <a:xfrm>
              <a:off x="6612182" y="2948534"/>
              <a:ext cx="72035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22" name="TextBox 21">
              <a:extLst>
                <a:ext uri="{FF2B5EF4-FFF2-40B4-BE49-F238E27FC236}">
                  <a16:creationId xmlns:a16="http://schemas.microsoft.com/office/drawing/2014/main" id="{8FD2CBF2-805F-419A-885B-DBD041A0FB29}"/>
                </a:ext>
              </a:extLst>
            </p:cNvPr>
            <p:cNvSpPr txBox="1"/>
            <p:nvPr/>
          </p:nvSpPr>
          <p:spPr>
            <a:xfrm>
              <a:off x="6698041" y="3120534"/>
              <a:ext cx="548640" cy="277039"/>
            </a:xfrm>
            <a:prstGeom prst="rect">
              <a:avLst/>
            </a:prstGeom>
          </p:spPr>
          <p:txBody>
            <a:bodyPr wrap="square" lIns="0" tIns="0" rIns="0" bIns="0" rtlCol="0" anchor="t" anchorCtr="0">
              <a:spAutoFit/>
            </a:bodyPr>
            <a:lstStyle/>
            <a:p>
              <a:pPr algn="ctr" defTabSz="914225">
                <a:defRPr/>
              </a:pPr>
              <a:r>
                <a:rPr lang="en-US">
                  <a:solidFill>
                    <a:srgbClr val="797979"/>
                  </a:solidFill>
                  <a:latin typeface="Segoe UI Semibold" panose="020B0702040204020203" pitchFamily="34" charset="0"/>
                  <a:cs typeface="Segoe UI Semibold" panose="020B0702040204020203" pitchFamily="34" charset="0"/>
                </a:rPr>
                <a:t>.NET</a:t>
              </a:r>
            </a:p>
          </p:txBody>
        </p:sp>
      </p:grpSp>
      <p:grpSp>
        <p:nvGrpSpPr>
          <p:cNvPr id="25" name="Group 24">
            <a:extLst>
              <a:ext uri="{FF2B5EF4-FFF2-40B4-BE49-F238E27FC236}">
                <a16:creationId xmlns:a16="http://schemas.microsoft.com/office/drawing/2014/main" id="{C04D17E1-B898-46CE-9158-85FD672E1C42}"/>
              </a:ext>
            </a:extLst>
          </p:cNvPr>
          <p:cNvGrpSpPr/>
          <p:nvPr/>
        </p:nvGrpSpPr>
        <p:grpSpPr>
          <a:xfrm>
            <a:off x="7270634" y="3367275"/>
            <a:ext cx="493195" cy="425168"/>
            <a:chOff x="7270800" y="2807969"/>
            <a:chExt cx="493265" cy="425229"/>
          </a:xfrm>
        </p:grpSpPr>
        <p:sp>
          <p:nvSpPr>
            <p:cNvPr id="47" name="Hexagon 46">
              <a:extLst>
                <a:ext uri="{FF2B5EF4-FFF2-40B4-BE49-F238E27FC236}">
                  <a16:creationId xmlns:a16="http://schemas.microsoft.com/office/drawing/2014/main" id="{4BDF521B-3417-4285-A5E0-45F151F140EE}"/>
                </a:ext>
              </a:extLst>
            </p:cNvPr>
            <p:cNvSpPr/>
            <p:nvPr/>
          </p:nvSpPr>
          <p:spPr>
            <a:xfrm>
              <a:off x="7270800" y="280796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grpSp>
          <p:nvGrpSpPr>
            <p:cNvPr id="172" name="Group 171">
              <a:extLst>
                <a:ext uri="{FF2B5EF4-FFF2-40B4-BE49-F238E27FC236}">
                  <a16:creationId xmlns:a16="http://schemas.microsoft.com/office/drawing/2014/main" id="{BAA754D2-D3AF-4DD4-9970-EE9A8AC1804D}"/>
                </a:ext>
              </a:extLst>
            </p:cNvPr>
            <p:cNvGrpSpPr/>
            <p:nvPr/>
          </p:nvGrpSpPr>
          <p:grpSpPr>
            <a:xfrm>
              <a:off x="7386024" y="2917165"/>
              <a:ext cx="262816" cy="206836"/>
              <a:chOff x="1200453" y="4307032"/>
              <a:chExt cx="421817" cy="331969"/>
            </a:xfrm>
          </p:grpSpPr>
          <p:sp>
            <p:nvSpPr>
              <p:cNvPr id="175" name="TextBox 174">
                <a:extLst>
                  <a:ext uri="{FF2B5EF4-FFF2-40B4-BE49-F238E27FC236}">
                    <a16:creationId xmlns:a16="http://schemas.microsoft.com/office/drawing/2014/main" id="{03DEAA99-5A83-4A49-8F52-64F628F0ABF5}"/>
                  </a:ext>
                </a:extLst>
              </p:cNvPr>
              <p:cNvSpPr txBox="1"/>
              <p:nvPr/>
            </p:nvSpPr>
            <p:spPr>
              <a:xfrm>
                <a:off x="1239230" y="4359730"/>
                <a:ext cx="344264" cy="197620"/>
              </a:xfrm>
              <a:prstGeom prst="rect">
                <a:avLst/>
              </a:prstGeom>
            </p:spPr>
            <p:txBody>
              <a:bodyPr wrap="square" lIns="0" tIns="0" rIns="0" bIns="0" rtlCol="0" anchor="t" anchorCtr="0">
                <a:spAutoFit/>
              </a:bodyPr>
              <a:lstStyle/>
              <a:p>
                <a:pPr algn="ctr" defTabSz="914225">
                  <a:defRPr/>
                </a:pPr>
                <a:r>
                  <a:rPr lang="en-US" sz="800">
                    <a:solidFill>
                      <a:srgbClr val="797979"/>
                    </a:solidFill>
                    <a:latin typeface="Showcard Gothic" panose="04020904020102020604" pitchFamily="82" charset="0"/>
                    <a:cs typeface="Shruti" panose="020B0502040204020203" pitchFamily="34" charset="0"/>
                  </a:rPr>
                  <a:t>&lt;/&gt;</a:t>
                </a:r>
              </a:p>
            </p:txBody>
          </p:sp>
          <p:sp>
            <p:nvSpPr>
              <p:cNvPr id="176" name="Freeform 127">
                <a:extLst>
                  <a:ext uri="{FF2B5EF4-FFF2-40B4-BE49-F238E27FC236}">
                    <a16:creationId xmlns:a16="http://schemas.microsoft.com/office/drawing/2014/main" id="{C4D99701-85EE-451D-B1FC-746CFC5BE12E}"/>
                  </a:ext>
                </a:extLst>
              </p:cNvPr>
              <p:cNvSpPr>
                <a:spLocks noChangeAspect="1"/>
              </p:cNvSpPr>
              <p:nvPr/>
            </p:nvSpPr>
            <p:spPr bwMode="black">
              <a:xfrm>
                <a:off x="1200453" y="4307032"/>
                <a:ext cx="421817" cy="33196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797979"/>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8" tIns="109703" rIns="137128" bIns="109703" numCol="1" spcCol="0" rtlCol="0" fromWordArt="0" anchor="t" anchorCtr="0" forceAA="0" compatLnSpc="1">
                <a:prstTxWarp prst="textNoShape">
                  <a:avLst/>
                </a:prstTxWarp>
                <a:noAutofit/>
              </a:bodyPr>
              <a:lstStyle/>
              <a:p>
                <a:pPr algn="ctr" defTabSz="69912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7" name="Group 26">
            <a:extLst>
              <a:ext uri="{FF2B5EF4-FFF2-40B4-BE49-F238E27FC236}">
                <a16:creationId xmlns:a16="http://schemas.microsoft.com/office/drawing/2014/main" id="{DB4ABDCA-BDDE-46A5-A9E3-21C98A7A49B0}"/>
              </a:ext>
            </a:extLst>
          </p:cNvPr>
          <p:cNvGrpSpPr/>
          <p:nvPr/>
        </p:nvGrpSpPr>
        <p:grpSpPr>
          <a:xfrm>
            <a:off x="7053417" y="4185512"/>
            <a:ext cx="493195" cy="425168"/>
            <a:chOff x="7053553" y="3626322"/>
            <a:chExt cx="493265" cy="425229"/>
          </a:xfrm>
        </p:grpSpPr>
        <p:sp>
          <p:nvSpPr>
            <p:cNvPr id="108" name="Hexagon 107">
              <a:extLst>
                <a:ext uri="{FF2B5EF4-FFF2-40B4-BE49-F238E27FC236}">
                  <a16:creationId xmlns:a16="http://schemas.microsoft.com/office/drawing/2014/main" id="{D03AEF14-74F7-4B58-BBCC-614E76B7AA55}"/>
                </a:ext>
              </a:extLst>
            </p:cNvPr>
            <p:cNvSpPr/>
            <p:nvPr/>
          </p:nvSpPr>
          <p:spPr>
            <a:xfrm>
              <a:off x="7053553" y="362632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177" name="Freeform 5">
              <a:extLst>
                <a:ext uri="{FF2B5EF4-FFF2-40B4-BE49-F238E27FC236}">
                  <a16:creationId xmlns:a16="http://schemas.microsoft.com/office/drawing/2014/main" id="{9EBEBB66-72FB-40E0-B693-BB5B2B164631}"/>
                </a:ext>
              </a:extLst>
            </p:cNvPr>
            <p:cNvSpPr>
              <a:spLocks noEditPoints="1"/>
            </p:cNvSpPr>
            <p:nvPr/>
          </p:nvSpPr>
          <p:spPr bwMode="black">
            <a:xfrm>
              <a:off x="7183114" y="3748084"/>
              <a:ext cx="234142" cy="181704"/>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797979"/>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000000"/>
                </a:solidFill>
                <a:latin typeface="Segoe UI"/>
              </a:endParaRPr>
            </a:p>
          </p:txBody>
        </p:sp>
      </p:grpSp>
      <p:grpSp>
        <p:nvGrpSpPr>
          <p:cNvPr id="110" name="Group 109">
            <a:extLst>
              <a:ext uri="{FF2B5EF4-FFF2-40B4-BE49-F238E27FC236}">
                <a16:creationId xmlns:a16="http://schemas.microsoft.com/office/drawing/2014/main" id="{76CC4963-CE8A-46CA-9206-C3DFFB7821D3}"/>
              </a:ext>
            </a:extLst>
          </p:cNvPr>
          <p:cNvGrpSpPr/>
          <p:nvPr/>
        </p:nvGrpSpPr>
        <p:grpSpPr>
          <a:xfrm>
            <a:off x="7276831" y="3845940"/>
            <a:ext cx="493195" cy="425168"/>
            <a:chOff x="8516643" y="4170132"/>
            <a:chExt cx="791685" cy="682487"/>
          </a:xfrm>
        </p:grpSpPr>
        <p:sp>
          <p:nvSpPr>
            <p:cNvPr id="111" name="Hexagon 110">
              <a:extLst>
                <a:ext uri="{FF2B5EF4-FFF2-40B4-BE49-F238E27FC236}">
                  <a16:creationId xmlns:a16="http://schemas.microsoft.com/office/drawing/2014/main" id="{A87E04AB-334D-4757-BE31-C85E1B475BB0}"/>
                </a:ext>
              </a:extLst>
            </p:cNvPr>
            <p:cNvSpPr/>
            <p:nvPr/>
          </p:nvSpPr>
          <p:spPr>
            <a:xfrm>
              <a:off x="8516643" y="4170132"/>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225">
                <a:defRPr/>
              </a:pPr>
              <a:endParaRPr lang="en-US">
                <a:solidFill>
                  <a:srgbClr val="000000"/>
                </a:solidFill>
                <a:latin typeface="Segoe UI"/>
              </a:endParaRPr>
            </a:p>
          </p:txBody>
        </p:sp>
        <p:sp>
          <p:nvSpPr>
            <p:cNvPr id="112" name="Freeform: Shape 111">
              <a:extLst>
                <a:ext uri="{FF2B5EF4-FFF2-40B4-BE49-F238E27FC236}">
                  <a16:creationId xmlns:a16="http://schemas.microsoft.com/office/drawing/2014/main" id="{B4441E37-8ED8-443F-B8F1-1166AACA7BFB}"/>
                </a:ext>
              </a:extLst>
            </p:cNvPr>
            <p:cNvSpPr/>
            <p:nvPr/>
          </p:nvSpPr>
          <p:spPr>
            <a:xfrm>
              <a:off x="8683283" y="4348856"/>
              <a:ext cx="458405" cy="325038"/>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797979"/>
            </a:solidFill>
            <a:ln w="9525" cap="flat">
              <a:noFill/>
              <a:prstDash val="solid"/>
              <a:miter/>
            </a:ln>
          </p:spPr>
          <p:txBody>
            <a:bodyPr wrap="square" rtlCol="0" anchor="ctr">
              <a:noAutofit/>
            </a:bodyPr>
            <a:lstStyle/>
            <a:p>
              <a:pPr defTabSz="914225">
                <a:defRPr/>
              </a:pPr>
              <a:endParaRPr lang="en-US">
                <a:solidFill>
                  <a:srgbClr val="000000"/>
                </a:solidFill>
                <a:latin typeface="Segoe UI"/>
              </a:endParaRPr>
            </a:p>
          </p:txBody>
        </p:sp>
      </p:grpSp>
      <p:pic>
        <p:nvPicPr>
          <p:cNvPr id="4" name="Graphic 3">
            <a:extLst>
              <a:ext uri="{FF2B5EF4-FFF2-40B4-BE49-F238E27FC236}">
                <a16:creationId xmlns:a16="http://schemas.microsoft.com/office/drawing/2014/main" id="{B87E00EA-E904-4360-9820-1321BDB12E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31312" y="544766"/>
            <a:ext cx="476183" cy="476183"/>
          </a:xfrm>
          <a:prstGeom prst="rect">
            <a:avLst/>
          </a:prstGeom>
        </p:spPr>
      </p:pic>
      <p:sp>
        <p:nvSpPr>
          <p:cNvPr id="107" name="Rectangle 106">
            <a:extLst>
              <a:ext uri="{FF2B5EF4-FFF2-40B4-BE49-F238E27FC236}">
                <a16:creationId xmlns:a16="http://schemas.microsoft.com/office/drawing/2014/main" id="{B58F1B31-8C57-4ADD-9554-7D9A295DE6AF}"/>
              </a:ext>
            </a:extLst>
          </p:cNvPr>
          <p:cNvSpPr/>
          <p:nvPr/>
        </p:nvSpPr>
        <p:spPr>
          <a:xfrm>
            <a:off x="3814316" y="1998004"/>
            <a:ext cx="1235613" cy="657395"/>
          </a:xfrm>
          <a:prstGeom prst="rect">
            <a:avLst/>
          </a:prstGeom>
        </p:spPr>
        <p:txBody>
          <a:bodyPr wrap="square">
            <a:spAutoFit/>
          </a:bodyPr>
          <a:lstStyle/>
          <a:p>
            <a:pPr algn="ctr" defTabSz="914225">
              <a:spcAft>
                <a:spcPts val="800"/>
              </a:spcAft>
              <a:defRPr/>
            </a:pPr>
            <a:r>
              <a:rPr lang="en-US" sz="1200">
                <a:solidFill>
                  <a:srgbClr val="0078D7"/>
                </a:solidFill>
                <a:latin typeface="Segoe UI" panose="020B0502040204020203" pitchFamily="34" charset="0"/>
                <a:cs typeface="Segoe UI" panose="020B0502040204020203" pitchFamily="34" charset="0"/>
              </a:rPr>
              <a:t>Focused  microservices development</a:t>
            </a:r>
          </a:p>
        </p:txBody>
      </p:sp>
      <p:pic>
        <p:nvPicPr>
          <p:cNvPr id="94" name="Picture 93">
            <a:extLst>
              <a:ext uri="{FF2B5EF4-FFF2-40B4-BE49-F238E27FC236}">
                <a16:creationId xmlns:a16="http://schemas.microsoft.com/office/drawing/2014/main" id="{03C67F30-995D-4378-AC76-99EDCD0ADC5C}"/>
              </a:ext>
            </a:extLst>
          </p:cNvPr>
          <p:cNvPicPr>
            <a:picLocks noChangeAspect="1"/>
          </p:cNvPicPr>
          <p:nvPr/>
        </p:nvPicPr>
        <p:blipFill>
          <a:blip r:embed="rId7">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5227518" y="4619752"/>
            <a:ext cx="178837" cy="178837"/>
          </a:xfrm>
          <a:prstGeom prst="rect">
            <a:avLst/>
          </a:prstGeom>
        </p:spPr>
      </p:pic>
      <p:pic>
        <p:nvPicPr>
          <p:cNvPr id="97" name="Picture 96">
            <a:extLst>
              <a:ext uri="{FF2B5EF4-FFF2-40B4-BE49-F238E27FC236}">
                <a16:creationId xmlns:a16="http://schemas.microsoft.com/office/drawing/2014/main" id="{276A8076-8E48-43D9-899B-08362FDB5320}"/>
              </a:ext>
            </a:extLst>
          </p:cNvPr>
          <p:cNvPicPr>
            <a:picLocks noChangeAspect="1"/>
          </p:cNvPicPr>
          <p:nvPr/>
        </p:nvPicPr>
        <p:blipFill>
          <a:blip r:embed="rId8">
            <a:duotone>
              <a:schemeClr val="accent6">
                <a:shade val="45000"/>
                <a:satMod val="135000"/>
              </a:schemeClr>
              <a:prstClr val="white"/>
            </a:duotone>
            <a:extLst>
              <a:ext uri="{BEBA8EAE-BF5A-486C-A8C5-ECC9F3942E4B}">
                <a14:imgProps xmlns:a14="http://schemas.microsoft.com/office/drawing/2010/main">
                  <a14:imgLayer r:embed="rId9">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7550693" y="4654307"/>
            <a:ext cx="425168" cy="425168"/>
          </a:xfrm>
          <a:prstGeom prst="rect">
            <a:avLst/>
          </a:prstGeom>
        </p:spPr>
      </p:pic>
      <p:pic>
        <p:nvPicPr>
          <p:cNvPr id="99" name="Picture 98">
            <a:extLst>
              <a:ext uri="{FF2B5EF4-FFF2-40B4-BE49-F238E27FC236}">
                <a16:creationId xmlns:a16="http://schemas.microsoft.com/office/drawing/2014/main" id="{866E6A5F-BFE9-4EBA-9BA5-DFC6F9D3B842}"/>
              </a:ext>
            </a:extLst>
          </p:cNvPr>
          <p:cNvPicPr>
            <a:picLocks noChangeAspect="1"/>
          </p:cNvPicPr>
          <p:nvPr/>
        </p:nvPicPr>
        <p:blipFill>
          <a:blip r:embed="rId10">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4790944" y="3688800"/>
            <a:ext cx="172249" cy="239520"/>
          </a:xfrm>
          <a:prstGeom prst="rect">
            <a:avLst/>
          </a:prstGeom>
        </p:spPr>
      </p:pic>
      <p:sp>
        <p:nvSpPr>
          <p:cNvPr id="100" name="Freeform: Shape 99">
            <a:extLst>
              <a:ext uri="{FF2B5EF4-FFF2-40B4-BE49-F238E27FC236}">
                <a16:creationId xmlns:a16="http://schemas.microsoft.com/office/drawing/2014/main" id="{3EEF18D4-A173-4352-A951-F62DB8830490}"/>
              </a:ext>
            </a:extLst>
          </p:cNvPr>
          <p:cNvSpPr/>
          <p:nvPr/>
        </p:nvSpPr>
        <p:spPr>
          <a:xfrm>
            <a:off x="5743841" y="3649144"/>
            <a:ext cx="260441" cy="338805"/>
          </a:xfrm>
          <a:custGeom>
            <a:avLst/>
            <a:gdLst>
              <a:gd name="connsiteX0" fmla="*/ 888688 w 888689"/>
              <a:gd name="connsiteY0" fmla="*/ 1016472 h 1175041"/>
              <a:gd name="connsiteX1" fmla="*/ 882028 w 888689"/>
              <a:gd name="connsiteY1" fmla="*/ 1047176 h 1175041"/>
              <a:gd name="connsiteX2" fmla="*/ 845422 w 888689"/>
              <a:gd name="connsiteY2" fmla="*/ 1091758 h 1175041"/>
              <a:gd name="connsiteX3" fmla="*/ 761005 w 888689"/>
              <a:gd name="connsiteY3" fmla="*/ 1136179 h 1175041"/>
              <a:gd name="connsiteX4" fmla="*/ 652702 w 888689"/>
              <a:gd name="connsiteY4" fmla="*/ 1163414 h 1175041"/>
              <a:gd name="connsiteX5" fmla="*/ 471227 w 888689"/>
              <a:gd name="connsiteY5" fmla="*/ 1174380 h 1175041"/>
              <a:gd name="connsiteX6" fmla="*/ 328233 w 888689"/>
              <a:gd name="connsiteY6" fmla="*/ 1159347 h 1175041"/>
              <a:gd name="connsiteX7" fmla="*/ 150108 w 888689"/>
              <a:gd name="connsiteY7" fmla="*/ 1107947 h 1175041"/>
              <a:gd name="connsiteX8" fmla="*/ 149430 w 888689"/>
              <a:gd name="connsiteY8" fmla="*/ 1107668 h 1175041"/>
              <a:gd name="connsiteX9" fmla="*/ 152301 w 888689"/>
              <a:gd name="connsiteY9" fmla="*/ 1107389 h 1175041"/>
              <a:gd name="connsiteX10" fmla="*/ 155570 w 888689"/>
              <a:gd name="connsiteY10" fmla="*/ 1108146 h 1175041"/>
              <a:gd name="connsiteX11" fmla="*/ 278149 w 888689"/>
              <a:gd name="connsiteY11" fmla="*/ 1130557 h 1175041"/>
              <a:gd name="connsiteX12" fmla="*/ 385814 w 888689"/>
              <a:gd name="connsiteY12" fmla="*/ 1140725 h 1175041"/>
              <a:gd name="connsiteX13" fmla="*/ 487935 w 888689"/>
              <a:gd name="connsiteY13" fmla="*/ 1141881 h 1175041"/>
              <a:gd name="connsiteX14" fmla="*/ 563301 w 888689"/>
              <a:gd name="connsiteY14" fmla="*/ 1137057 h 1175041"/>
              <a:gd name="connsiteX15" fmla="*/ 776317 w 888689"/>
              <a:gd name="connsiteY15" fmla="*/ 1087092 h 1175041"/>
              <a:gd name="connsiteX16" fmla="*/ 870145 w 888689"/>
              <a:gd name="connsiteY16" fmla="*/ 1032940 h 1175041"/>
              <a:gd name="connsiteX17" fmla="*/ 888688 w 888689"/>
              <a:gd name="connsiteY17" fmla="*/ 1016472 h 1175041"/>
              <a:gd name="connsiteX18" fmla="*/ 763159 w 888689"/>
              <a:gd name="connsiteY18" fmla="*/ 914948 h 1175041"/>
              <a:gd name="connsiteX19" fmla="*/ 764036 w 888689"/>
              <a:gd name="connsiteY19" fmla="*/ 914948 h 1175041"/>
              <a:gd name="connsiteX20" fmla="*/ 763518 w 888689"/>
              <a:gd name="connsiteY20" fmla="*/ 915706 h 1175041"/>
              <a:gd name="connsiteX21" fmla="*/ 143050 w 888689"/>
              <a:gd name="connsiteY21" fmla="*/ 907770 h 1175041"/>
              <a:gd name="connsiteX22" fmla="*/ 159798 w 888689"/>
              <a:gd name="connsiteY22" fmla="*/ 909365 h 1175041"/>
              <a:gd name="connsiteX23" fmla="*/ 168809 w 888689"/>
              <a:gd name="connsiteY23" fmla="*/ 912475 h 1175041"/>
              <a:gd name="connsiteX24" fmla="*/ 204937 w 888689"/>
              <a:gd name="connsiteY24" fmla="*/ 933291 h 1175041"/>
              <a:gd name="connsiteX25" fmla="*/ 185478 w 888689"/>
              <a:gd name="connsiteY25" fmla="*/ 931696 h 1175041"/>
              <a:gd name="connsiteX26" fmla="*/ 122075 w 888689"/>
              <a:gd name="connsiteY26" fmla="*/ 945652 h 1175041"/>
              <a:gd name="connsiteX27" fmla="*/ 108677 w 888689"/>
              <a:gd name="connsiteY27" fmla="*/ 956777 h 1175041"/>
              <a:gd name="connsiteX28" fmla="*/ 107799 w 888689"/>
              <a:gd name="connsiteY28" fmla="*/ 976715 h 1175041"/>
              <a:gd name="connsiteX29" fmla="*/ 128614 w 888689"/>
              <a:gd name="connsiteY29" fmla="*/ 994300 h 1175041"/>
              <a:gd name="connsiteX30" fmla="*/ 184799 w 888689"/>
              <a:gd name="connsiteY30" fmla="*/ 1013720 h 1175041"/>
              <a:gd name="connsiteX31" fmla="*/ 294299 w 888689"/>
              <a:gd name="connsiteY31" fmla="*/ 1030348 h 1175041"/>
              <a:gd name="connsiteX32" fmla="*/ 463970 w 888689"/>
              <a:gd name="connsiteY32" fmla="*/ 1034854 h 1175041"/>
              <a:gd name="connsiteX33" fmla="*/ 568724 w 888689"/>
              <a:gd name="connsiteY33" fmla="*/ 1027158 h 1175041"/>
              <a:gd name="connsiteX34" fmla="*/ 687554 w 888689"/>
              <a:gd name="connsiteY34" fmla="*/ 1002515 h 1175041"/>
              <a:gd name="connsiteX35" fmla="*/ 740150 w 888689"/>
              <a:gd name="connsiteY35" fmla="*/ 977114 h 1175041"/>
              <a:gd name="connsiteX36" fmla="*/ 760088 w 888689"/>
              <a:gd name="connsiteY36" fmla="*/ 957176 h 1175041"/>
              <a:gd name="connsiteX37" fmla="*/ 764993 w 888689"/>
              <a:gd name="connsiteY37" fmla="*/ 920291 h 1175041"/>
              <a:gd name="connsiteX38" fmla="*/ 763637 w 888689"/>
              <a:gd name="connsiteY38" fmla="*/ 915665 h 1175041"/>
              <a:gd name="connsiteX39" fmla="*/ 764036 w 888689"/>
              <a:gd name="connsiteY39" fmla="*/ 915027 h 1175041"/>
              <a:gd name="connsiteX40" fmla="*/ 787961 w 888689"/>
              <a:gd name="connsiteY40" fmla="*/ 929702 h 1175041"/>
              <a:gd name="connsiteX41" fmla="*/ 800402 w 888689"/>
              <a:gd name="connsiteY41" fmla="*/ 981979 h 1175041"/>
              <a:gd name="connsiteX42" fmla="*/ 769618 w 888689"/>
              <a:gd name="connsiteY42" fmla="*/ 1016272 h 1175041"/>
              <a:gd name="connsiteX43" fmla="*/ 701231 w 888689"/>
              <a:gd name="connsiteY43" fmla="*/ 1048651 h 1175041"/>
              <a:gd name="connsiteX44" fmla="*/ 605529 w 888689"/>
              <a:gd name="connsiteY44" fmla="*/ 1072058 h 1175041"/>
              <a:gd name="connsiteX45" fmla="*/ 531559 w 888689"/>
              <a:gd name="connsiteY45" fmla="*/ 1082306 h 1175041"/>
              <a:gd name="connsiteX46" fmla="*/ 407666 w 888689"/>
              <a:gd name="connsiteY46" fmla="*/ 1089564 h 1175041"/>
              <a:gd name="connsiteX47" fmla="*/ 313798 w 888689"/>
              <a:gd name="connsiteY47" fmla="*/ 1087929 h 1175041"/>
              <a:gd name="connsiteX48" fmla="*/ 235562 w 888689"/>
              <a:gd name="connsiteY48" fmla="*/ 1081668 h 1175041"/>
              <a:gd name="connsiteX49" fmla="*/ 95438 w 888689"/>
              <a:gd name="connsiteY49" fmla="*/ 1053357 h 1175041"/>
              <a:gd name="connsiteX50" fmla="*/ 33590 w 888689"/>
              <a:gd name="connsiteY50" fmla="*/ 1024487 h 1175041"/>
              <a:gd name="connsiteX51" fmla="*/ 8429 w 888689"/>
              <a:gd name="connsiteY51" fmla="*/ 999764 h 1175041"/>
              <a:gd name="connsiteX52" fmla="*/ 15088 w 888689"/>
              <a:gd name="connsiteY52" fmla="*/ 942502 h 1175041"/>
              <a:gd name="connsiteX53" fmla="*/ 68602 w 888689"/>
              <a:gd name="connsiteY53" fmla="*/ 914230 h 1175041"/>
              <a:gd name="connsiteX54" fmla="*/ 143050 w 888689"/>
              <a:gd name="connsiteY54" fmla="*/ 907770 h 1175041"/>
              <a:gd name="connsiteX55" fmla="*/ 290391 w 888689"/>
              <a:gd name="connsiteY55" fmla="*/ 843530 h 1175041"/>
              <a:gd name="connsiteX56" fmla="*/ 283852 w 888689"/>
              <a:gd name="connsiteY56" fmla="*/ 854735 h 1175041"/>
              <a:gd name="connsiteX57" fmla="*/ 289354 w 888689"/>
              <a:gd name="connsiteY57" fmla="*/ 868771 h 1175041"/>
              <a:gd name="connsiteX58" fmla="*/ 315513 w 888689"/>
              <a:gd name="connsiteY58" fmla="*/ 878860 h 1175041"/>
              <a:gd name="connsiteX59" fmla="*/ 390758 w 888689"/>
              <a:gd name="connsiteY59" fmla="*/ 882847 h 1175041"/>
              <a:gd name="connsiteX60" fmla="*/ 456554 w 888689"/>
              <a:gd name="connsiteY60" fmla="*/ 876428 h 1175041"/>
              <a:gd name="connsiteX61" fmla="*/ 537581 w 888689"/>
              <a:gd name="connsiteY61" fmla="*/ 855613 h 1175041"/>
              <a:gd name="connsiteX62" fmla="*/ 542047 w 888689"/>
              <a:gd name="connsiteY62" fmla="*/ 855613 h 1175041"/>
              <a:gd name="connsiteX63" fmla="*/ 611312 w 888689"/>
              <a:gd name="connsiteY63" fmla="*/ 901908 h 1175041"/>
              <a:gd name="connsiteX64" fmla="*/ 612109 w 888689"/>
              <a:gd name="connsiteY64" fmla="*/ 902905 h 1175041"/>
              <a:gd name="connsiteX65" fmla="*/ 600944 w 888689"/>
              <a:gd name="connsiteY65" fmla="*/ 909206 h 1175041"/>
              <a:gd name="connsiteX66" fmla="*/ 518441 w 888689"/>
              <a:gd name="connsiteY66" fmla="*/ 938634 h 1175041"/>
              <a:gd name="connsiteX67" fmla="*/ 433625 w 888689"/>
              <a:gd name="connsiteY67" fmla="*/ 951275 h 1175041"/>
              <a:gd name="connsiteX68" fmla="*/ 345898 w 888689"/>
              <a:gd name="connsiteY68" fmla="*/ 952312 h 1175041"/>
              <a:gd name="connsiteX69" fmla="*/ 271211 w 888689"/>
              <a:gd name="connsiteY69" fmla="*/ 941665 h 1175041"/>
              <a:gd name="connsiteX70" fmla="*/ 227866 w 888689"/>
              <a:gd name="connsiteY70" fmla="*/ 923601 h 1175041"/>
              <a:gd name="connsiteX71" fmla="*/ 211916 w 888689"/>
              <a:gd name="connsiteY71" fmla="*/ 903025 h 1175041"/>
              <a:gd name="connsiteX72" fmla="*/ 220649 w 888689"/>
              <a:gd name="connsiteY72" fmla="*/ 873716 h 1175041"/>
              <a:gd name="connsiteX73" fmla="*/ 270772 w 888689"/>
              <a:gd name="connsiteY73" fmla="*/ 845205 h 1175041"/>
              <a:gd name="connsiteX74" fmla="*/ 290391 w 888689"/>
              <a:gd name="connsiteY74" fmla="*/ 843530 h 1175041"/>
              <a:gd name="connsiteX75" fmla="*/ 250675 w 888689"/>
              <a:gd name="connsiteY75" fmla="*/ 720394 h 1175041"/>
              <a:gd name="connsiteX76" fmla="*/ 253306 w 888689"/>
              <a:gd name="connsiteY76" fmla="*/ 720394 h 1175041"/>
              <a:gd name="connsiteX77" fmla="*/ 257613 w 888689"/>
              <a:gd name="connsiteY77" fmla="*/ 720394 h 1175041"/>
              <a:gd name="connsiteX78" fmla="*/ 250954 w 888689"/>
              <a:gd name="connsiteY78" fmla="*/ 727252 h 1175041"/>
              <a:gd name="connsiteX79" fmla="*/ 254543 w 888689"/>
              <a:gd name="connsiteY79" fmla="*/ 754886 h 1175041"/>
              <a:gd name="connsiteX80" fmla="*/ 284888 w 888689"/>
              <a:gd name="connsiteY80" fmla="*/ 766849 h 1175041"/>
              <a:gd name="connsiteX81" fmla="*/ 350963 w 888689"/>
              <a:gd name="connsiteY81" fmla="*/ 774863 h 1175041"/>
              <a:gd name="connsiteX82" fmla="*/ 436536 w 888689"/>
              <a:gd name="connsiteY82" fmla="*/ 773269 h 1175041"/>
              <a:gd name="connsiteX83" fmla="*/ 560151 w 888689"/>
              <a:gd name="connsiteY83" fmla="*/ 750619 h 1175041"/>
              <a:gd name="connsiteX84" fmla="*/ 564657 w 888689"/>
              <a:gd name="connsiteY84" fmla="*/ 751018 h 1175041"/>
              <a:gd name="connsiteX85" fmla="*/ 629017 w 888689"/>
              <a:gd name="connsiteY85" fmla="*/ 791332 h 1175041"/>
              <a:gd name="connsiteX86" fmla="*/ 630532 w 888689"/>
              <a:gd name="connsiteY86" fmla="*/ 792449 h 1175041"/>
              <a:gd name="connsiteX87" fmla="*/ 574706 w 888689"/>
              <a:gd name="connsiteY87" fmla="*/ 811549 h 1175041"/>
              <a:gd name="connsiteX88" fmla="*/ 485304 w 888689"/>
              <a:gd name="connsiteY88" fmla="*/ 830051 h 1175041"/>
              <a:gd name="connsiteX89" fmla="*/ 352119 w 888689"/>
              <a:gd name="connsiteY89" fmla="*/ 836073 h 1175041"/>
              <a:gd name="connsiteX90" fmla="*/ 227427 w 888689"/>
              <a:gd name="connsiteY90" fmla="*/ 816773 h 1175041"/>
              <a:gd name="connsiteX91" fmla="*/ 185836 w 888689"/>
              <a:gd name="connsiteY91" fmla="*/ 798032 h 1175041"/>
              <a:gd name="connsiteX92" fmla="*/ 171043 w 888689"/>
              <a:gd name="connsiteY92" fmla="*/ 780765 h 1175041"/>
              <a:gd name="connsiteX93" fmla="*/ 175788 w 888689"/>
              <a:gd name="connsiteY93" fmla="*/ 759352 h 1175041"/>
              <a:gd name="connsiteX94" fmla="*/ 202824 w 888689"/>
              <a:gd name="connsiteY94" fmla="*/ 736344 h 1175041"/>
              <a:gd name="connsiteX95" fmla="*/ 250675 w 888689"/>
              <a:gd name="connsiteY95" fmla="*/ 720394 h 1175041"/>
              <a:gd name="connsiteX96" fmla="*/ 469434 w 888689"/>
              <a:gd name="connsiteY96" fmla="*/ 634317 h 1175041"/>
              <a:gd name="connsiteX97" fmla="*/ 469434 w 888689"/>
              <a:gd name="connsiteY97" fmla="*/ 634740 h 1175041"/>
              <a:gd name="connsiteX98" fmla="*/ 468955 w 888689"/>
              <a:gd name="connsiteY98" fmla="*/ 634541 h 1175041"/>
              <a:gd name="connsiteX99" fmla="*/ 469434 w 888689"/>
              <a:gd name="connsiteY99" fmla="*/ 634182 h 1175041"/>
              <a:gd name="connsiteX100" fmla="*/ 469553 w 888689"/>
              <a:gd name="connsiteY100" fmla="*/ 634262 h 1175041"/>
              <a:gd name="connsiteX101" fmla="*/ 469434 w 888689"/>
              <a:gd name="connsiteY101" fmla="*/ 634317 h 1175041"/>
              <a:gd name="connsiteX102" fmla="*/ 469687 w 888689"/>
              <a:gd name="connsiteY102" fmla="*/ 633993 h 1175041"/>
              <a:gd name="connsiteX103" fmla="*/ 469513 w 888689"/>
              <a:gd name="connsiteY103" fmla="*/ 634182 h 1175041"/>
              <a:gd name="connsiteX104" fmla="*/ 469354 w 888689"/>
              <a:gd name="connsiteY104" fmla="*/ 634023 h 1175041"/>
              <a:gd name="connsiteX105" fmla="*/ 311087 w 888689"/>
              <a:gd name="connsiteY105" fmla="*/ 590079 h 1175041"/>
              <a:gd name="connsiteX106" fmla="*/ 297289 w 888689"/>
              <a:gd name="connsiteY106" fmla="*/ 593788 h 1175041"/>
              <a:gd name="connsiteX107" fmla="*/ 230817 w 888689"/>
              <a:gd name="connsiteY107" fmla="*/ 617713 h 1175041"/>
              <a:gd name="connsiteX108" fmla="*/ 214029 w 888689"/>
              <a:gd name="connsiteY108" fmla="*/ 629357 h 1175041"/>
              <a:gd name="connsiteX109" fmla="*/ 217059 w 888689"/>
              <a:gd name="connsiteY109" fmla="*/ 643992 h 1175041"/>
              <a:gd name="connsiteX110" fmla="*/ 245491 w 888689"/>
              <a:gd name="connsiteY110" fmla="*/ 649853 h 1175041"/>
              <a:gd name="connsiteX111" fmla="*/ 418871 w 888689"/>
              <a:gd name="connsiteY111" fmla="*/ 653841 h 1175041"/>
              <a:gd name="connsiteX112" fmla="*/ 517085 w 888689"/>
              <a:gd name="connsiteY112" fmla="*/ 648777 h 1175041"/>
              <a:gd name="connsiteX113" fmla="*/ 610793 w 888689"/>
              <a:gd name="connsiteY113" fmla="*/ 639485 h 1175041"/>
              <a:gd name="connsiteX114" fmla="*/ 668214 w 888689"/>
              <a:gd name="connsiteY114" fmla="*/ 629955 h 1175041"/>
              <a:gd name="connsiteX115" fmla="*/ 669969 w 888689"/>
              <a:gd name="connsiteY115" fmla="*/ 629955 h 1175041"/>
              <a:gd name="connsiteX116" fmla="*/ 661994 w 888689"/>
              <a:gd name="connsiteY116" fmla="*/ 637332 h 1175041"/>
              <a:gd name="connsiteX117" fmla="*/ 600146 w 888689"/>
              <a:gd name="connsiteY117" fmla="*/ 685183 h 1175041"/>
              <a:gd name="connsiteX118" fmla="*/ 588782 w 888689"/>
              <a:gd name="connsiteY118" fmla="*/ 688294 h 1175041"/>
              <a:gd name="connsiteX119" fmla="*/ 492881 w 888689"/>
              <a:gd name="connsiteY119" fmla="*/ 703207 h 1175041"/>
              <a:gd name="connsiteX120" fmla="*/ 394188 w 888689"/>
              <a:gd name="connsiteY120" fmla="*/ 711741 h 1175041"/>
              <a:gd name="connsiteX121" fmla="*/ 284649 w 888689"/>
              <a:gd name="connsiteY121" fmla="*/ 713695 h 1175041"/>
              <a:gd name="connsiteX122" fmla="*/ 182607 w 888689"/>
              <a:gd name="connsiteY122" fmla="*/ 705520 h 1175041"/>
              <a:gd name="connsiteX123" fmla="*/ 114060 w 888689"/>
              <a:gd name="connsiteY123" fmla="*/ 687257 h 1175041"/>
              <a:gd name="connsiteX124" fmla="*/ 92089 w 888689"/>
              <a:gd name="connsiteY124" fmla="*/ 672702 h 1175041"/>
              <a:gd name="connsiteX125" fmla="*/ 89058 w 888689"/>
              <a:gd name="connsiteY125" fmla="*/ 637252 h 1175041"/>
              <a:gd name="connsiteX126" fmla="*/ 110432 w 888689"/>
              <a:gd name="connsiteY126" fmla="*/ 619667 h 1175041"/>
              <a:gd name="connsiteX127" fmla="*/ 162589 w 888689"/>
              <a:gd name="connsiteY127" fmla="*/ 602401 h 1175041"/>
              <a:gd name="connsiteX128" fmla="*/ 256297 w 888689"/>
              <a:gd name="connsiteY128" fmla="*/ 591076 h 1175041"/>
              <a:gd name="connsiteX129" fmla="*/ 311087 w 888689"/>
              <a:gd name="connsiteY129" fmla="*/ 590079 h 1175041"/>
              <a:gd name="connsiteX130" fmla="*/ 760218 w 888689"/>
              <a:gd name="connsiteY130" fmla="*/ 588025 h 1175041"/>
              <a:gd name="connsiteX131" fmla="*/ 790354 w 888689"/>
              <a:gd name="connsiteY131" fmla="*/ 592591 h 1175041"/>
              <a:gd name="connsiteX132" fmla="*/ 843428 w 888689"/>
              <a:gd name="connsiteY132" fmla="*/ 654598 h 1175041"/>
              <a:gd name="connsiteX133" fmla="*/ 798209 w 888689"/>
              <a:gd name="connsiteY133" fmla="*/ 784793 h 1175041"/>
              <a:gd name="connsiteX134" fmla="*/ 695090 w 888689"/>
              <a:gd name="connsiteY134" fmla="*/ 835395 h 1175041"/>
              <a:gd name="connsiteX135" fmla="*/ 663748 w 888689"/>
              <a:gd name="connsiteY135" fmla="*/ 841695 h 1175041"/>
              <a:gd name="connsiteX136" fmla="*/ 664745 w 888689"/>
              <a:gd name="connsiteY136" fmla="*/ 840021 h 1175041"/>
              <a:gd name="connsiteX137" fmla="*/ 742264 w 888689"/>
              <a:gd name="connsiteY137" fmla="*/ 767447 h 1175041"/>
              <a:gd name="connsiteX138" fmla="*/ 778152 w 888689"/>
              <a:gd name="connsiteY138" fmla="*/ 699658 h 1175041"/>
              <a:gd name="connsiteX139" fmla="*/ 777753 w 888689"/>
              <a:gd name="connsiteY139" fmla="*/ 658466 h 1175041"/>
              <a:gd name="connsiteX140" fmla="*/ 738715 w 888689"/>
              <a:gd name="connsiteY140" fmla="*/ 620703 h 1175041"/>
              <a:gd name="connsiteX141" fmla="*/ 686278 w 888689"/>
              <a:gd name="connsiteY141" fmla="*/ 615878 h 1175041"/>
              <a:gd name="connsiteX142" fmla="*/ 730141 w 888689"/>
              <a:gd name="connsiteY142" fmla="*/ 593149 h 1175041"/>
              <a:gd name="connsiteX143" fmla="*/ 760218 w 888689"/>
              <a:gd name="connsiteY143" fmla="*/ 588025 h 1175041"/>
              <a:gd name="connsiteX144" fmla="*/ 704621 w 888689"/>
              <a:gd name="connsiteY144" fmla="*/ 204241 h 1175041"/>
              <a:gd name="connsiteX145" fmla="*/ 700633 w 888689"/>
              <a:gd name="connsiteY145" fmla="*/ 207351 h 1175041"/>
              <a:gd name="connsiteX146" fmla="*/ 594883 w 888689"/>
              <a:gd name="connsiteY146" fmla="*/ 284630 h 1175041"/>
              <a:gd name="connsiteX147" fmla="*/ 541888 w 888689"/>
              <a:gd name="connsiteY147" fmla="*/ 338742 h 1175041"/>
              <a:gd name="connsiteX148" fmla="*/ 528330 w 888689"/>
              <a:gd name="connsiteY148" fmla="*/ 369766 h 1175041"/>
              <a:gd name="connsiteX149" fmla="*/ 534830 w 888689"/>
              <a:gd name="connsiteY149" fmla="*/ 407647 h 1175041"/>
              <a:gd name="connsiteX150" fmla="*/ 558755 w 888689"/>
              <a:gd name="connsiteY150" fmla="*/ 454701 h 1175041"/>
              <a:gd name="connsiteX151" fmla="*/ 578255 w 888689"/>
              <a:gd name="connsiteY151" fmla="*/ 502592 h 1175041"/>
              <a:gd name="connsiteX152" fmla="*/ 564298 w 888689"/>
              <a:gd name="connsiteY152" fmla="*/ 572814 h 1175041"/>
              <a:gd name="connsiteX153" fmla="*/ 504484 w 888689"/>
              <a:gd name="connsiteY153" fmla="*/ 622538 h 1175041"/>
              <a:gd name="connsiteX154" fmla="*/ 473341 w 888689"/>
              <a:gd name="connsiteY154" fmla="*/ 633664 h 1175041"/>
              <a:gd name="connsiteX155" fmla="*/ 469687 w 888689"/>
              <a:gd name="connsiteY155" fmla="*/ 633993 h 1175041"/>
              <a:gd name="connsiteX156" fmla="*/ 489132 w 888689"/>
              <a:gd name="connsiteY156" fmla="*/ 612809 h 1175041"/>
              <a:gd name="connsiteX157" fmla="*/ 510904 w 888689"/>
              <a:gd name="connsiteY157" fmla="*/ 567191 h 1175041"/>
              <a:gd name="connsiteX158" fmla="*/ 504245 w 888689"/>
              <a:gd name="connsiteY158" fmla="*/ 525162 h 1175041"/>
              <a:gd name="connsiteX159" fmla="*/ 476332 w 888689"/>
              <a:gd name="connsiteY159" fmla="*/ 480261 h 1175041"/>
              <a:gd name="connsiteX160" fmla="*/ 449416 w 888689"/>
              <a:gd name="connsiteY160" fmla="*/ 430616 h 1175041"/>
              <a:gd name="connsiteX161" fmla="*/ 448219 w 888689"/>
              <a:gd name="connsiteY161" fmla="*/ 359996 h 1175041"/>
              <a:gd name="connsiteX162" fmla="*/ 508033 w 888689"/>
              <a:gd name="connsiteY162" fmla="*/ 272588 h 1175041"/>
              <a:gd name="connsiteX163" fmla="*/ 607722 w 888689"/>
              <a:gd name="connsiteY163" fmla="*/ 223341 h 1175041"/>
              <a:gd name="connsiteX164" fmla="*/ 697882 w 888689"/>
              <a:gd name="connsiteY164" fmla="*/ 204719 h 1175041"/>
              <a:gd name="connsiteX165" fmla="*/ 704621 w 888689"/>
              <a:gd name="connsiteY165" fmla="*/ 204241 h 1175041"/>
              <a:gd name="connsiteX166" fmla="*/ 519239 w 888689"/>
              <a:gd name="connsiteY166" fmla="*/ 156 h 1175041"/>
              <a:gd name="connsiteX167" fmla="*/ 521153 w 888689"/>
              <a:gd name="connsiteY167" fmla="*/ 1233 h 1175041"/>
              <a:gd name="connsiteX168" fmla="*/ 550940 w 888689"/>
              <a:gd name="connsiteY168" fmla="*/ 80386 h 1175041"/>
              <a:gd name="connsiteX169" fmla="*/ 538977 w 888689"/>
              <a:gd name="connsiteY169" fmla="*/ 160138 h 1175041"/>
              <a:gd name="connsiteX170" fmla="*/ 491246 w 888689"/>
              <a:gd name="connsiteY170" fmla="*/ 235423 h 1175041"/>
              <a:gd name="connsiteX171" fmla="*/ 423098 w 888689"/>
              <a:gd name="connsiteY171" fmla="*/ 308875 h 1175041"/>
              <a:gd name="connsiteX172" fmla="*/ 370581 w 888689"/>
              <a:gd name="connsiteY172" fmla="*/ 371041 h 1175041"/>
              <a:gd name="connsiteX173" fmla="*/ 352597 w 888689"/>
              <a:gd name="connsiteY173" fmla="*/ 411236 h 1175041"/>
              <a:gd name="connsiteX174" fmla="*/ 357223 w 888689"/>
              <a:gd name="connsiteY174" fmla="*/ 454302 h 1175041"/>
              <a:gd name="connsiteX175" fmla="*/ 410178 w 888689"/>
              <a:gd name="connsiteY175" fmla="*/ 567470 h 1175041"/>
              <a:gd name="connsiteX176" fmla="*/ 433585 w 888689"/>
              <a:gd name="connsiteY176" fmla="*/ 607345 h 1175041"/>
              <a:gd name="connsiteX177" fmla="*/ 434702 w 888689"/>
              <a:gd name="connsiteY177" fmla="*/ 611014 h 1175041"/>
              <a:gd name="connsiteX178" fmla="*/ 382624 w 888689"/>
              <a:gd name="connsiteY178" fmla="*/ 569264 h 1175041"/>
              <a:gd name="connsiteX179" fmla="*/ 327236 w 888689"/>
              <a:gd name="connsiteY179" fmla="*/ 513757 h 1175041"/>
              <a:gd name="connsiteX180" fmla="*/ 272526 w 888689"/>
              <a:gd name="connsiteY180" fmla="*/ 426429 h 1175041"/>
              <a:gd name="connsiteX181" fmla="*/ 288796 w 888689"/>
              <a:gd name="connsiteY181" fmla="*/ 315415 h 1175041"/>
              <a:gd name="connsiteX182" fmla="*/ 343585 w 888689"/>
              <a:gd name="connsiteY182" fmla="*/ 257315 h 1175041"/>
              <a:gd name="connsiteX183" fmla="*/ 422540 w 888689"/>
              <a:gd name="connsiteY183" fmla="*/ 190922 h 1175041"/>
              <a:gd name="connsiteX184" fmla="*/ 495991 w 888689"/>
              <a:gd name="connsiteY184" fmla="*/ 117112 h 1175041"/>
              <a:gd name="connsiteX185" fmla="*/ 524502 w 888689"/>
              <a:gd name="connsiteY185" fmla="*/ 56700 h 1175041"/>
              <a:gd name="connsiteX186" fmla="*/ 519239 w 888689"/>
              <a:gd name="connsiteY186" fmla="*/ 156 h 11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888689" h="1175041">
                <a:moveTo>
                  <a:pt x="888688" y="1016472"/>
                </a:moveTo>
                <a:cubicBezTo>
                  <a:pt x="888747" y="1027071"/>
                  <a:pt x="886474" y="1037554"/>
                  <a:pt x="882028" y="1047176"/>
                </a:cubicBezTo>
                <a:cubicBezTo>
                  <a:pt x="873678" y="1064821"/>
                  <a:pt x="861105" y="1080133"/>
                  <a:pt x="845422" y="1091758"/>
                </a:cubicBezTo>
                <a:cubicBezTo>
                  <a:pt x="820101" y="1111695"/>
                  <a:pt x="791191" y="1125293"/>
                  <a:pt x="761005" y="1136179"/>
                </a:cubicBezTo>
                <a:cubicBezTo>
                  <a:pt x="725818" y="1148573"/>
                  <a:pt x="689563" y="1157688"/>
                  <a:pt x="652702" y="1163414"/>
                </a:cubicBezTo>
                <a:cubicBezTo>
                  <a:pt x="592717" y="1173000"/>
                  <a:pt x="531930" y="1176673"/>
                  <a:pt x="471227" y="1174380"/>
                </a:cubicBezTo>
                <a:cubicBezTo>
                  <a:pt x="423261" y="1172845"/>
                  <a:pt x="375470" y="1167821"/>
                  <a:pt x="328233" y="1159347"/>
                </a:cubicBezTo>
                <a:cubicBezTo>
                  <a:pt x="267174" y="1148704"/>
                  <a:pt x="207450" y="1131470"/>
                  <a:pt x="150108" y="1107947"/>
                </a:cubicBezTo>
                <a:lnTo>
                  <a:pt x="149430" y="1107668"/>
                </a:lnTo>
                <a:cubicBezTo>
                  <a:pt x="150347" y="1106671"/>
                  <a:pt x="151384" y="1107269"/>
                  <a:pt x="152301" y="1107389"/>
                </a:cubicBezTo>
                <a:cubicBezTo>
                  <a:pt x="153218" y="1107509"/>
                  <a:pt x="154494" y="1107907"/>
                  <a:pt x="155570" y="1108146"/>
                </a:cubicBezTo>
                <a:cubicBezTo>
                  <a:pt x="196084" y="1117557"/>
                  <a:pt x="236917" y="1124934"/>
                  <a:pt x="278149" y="1130557"/>
                </a:cubicBezTo>
                <a:cubicBezTo>
                  <a:pt x="313824" y="1135422"/>
                  <a:pt x="349713" y="1138811"/>
                  <a:pt x="385814" y="1140725"/>
                </a:cubicBezTo>
                <a:cubicBezTo>
                  <a:pt x="419840" y="1142532"/>
                  <a:pt x="453882" y="1142918"/>
                  <a:pt x="487935" y="1141881"/>
                </a:cubicBezTo>
                <a:cubicBezTo>
                  <a:pt x="513097" y="1141044"/>
                  <a:pt x="538259" y="1139648"/>
                  <a:pt x="563301" y="1137057"/>
                </a:cubicBezTo>
                <a:cubicBezTo>
                  <a:pt x="636393" y="1129360"/>
                  <a:pt x="708010" y="1115324"/>
                  <a:pt x="776317" y="1087092"/>
                </a:cubicBezTo>
                <a:cubicBezTo>
                  <a:pt x="810032" y="1073646"/>
                  <a:pt x="841634" y="1055407"/>
                  <a:pt x="870145" y="1032940"/>
                </a:cubicBezTo>
                <a:cubicBezTo>
                  <a:pt x="876621" y="1027792"/>
                  <a:pt x="882810" y="1022294"/>
                  <a:pt x="888688" y="1016472"/>
                </a:cubicBezTo>
                <a:close/>
                <a:moveTo>
                  <a:pt x="763159" y="914948"/>
                </a:moveTo>
                <a:lnTo>
                  <a:pt x="764036" y="914948"/>
                </a:lnTo>
                <a:lnTo>
                  <a:pt x="763518" y="915706"/>
                </a:lnTo>
                <a:close/>
                <a:moveTo>
                  <a:pt x="143050" y="907770"/>
                </a:moveTo>
                <a:cubicBezTo>
                  <a:pt x="148632" y="908169"/>
                  <a:pt x="154215" y="909006"/>
                  <a:pt x="159798" y="909365"/>
                </a:cubicBezTo>
                <a:cubicBezTo>
                  <a:pt x="163007" y="909664"/>
                  <a:pt x="166098" y="910733"/>
                  <a:pt x="168809" y="912475"/>
                </a:cubicBezTo>
                <a:cubicBezTo>
                  <a:pt x="180772" y="919374"/>
                  <a:pt x="192934" y="926153"/>
                  <a:pt x="204937" y="933291"/>
                </a:cubicBezTo>
                <a:cubicBezTo>
                  <a:pt x="198397" y="932653"/>
                  <a:pt x="191977" y="931855"/>
                  <a:pt x="185478" y="931696"/>
                </a:cubicBezTo>
                <a:cubicBezTo>
                  <a:pt x="163477" y="930615"/>
                  <a:pt x="141588" y="935436"/>
                  <a:pt x="122075" y="945652"/>
                </a:cubicBezTo>
                <a:cubicBezTo>
                  <a:pt x="116843" y="948328"/>
                  <a:pt x="112269" y="952128"/>
                  <a:pt x="108677" y="956777"/>
                </a:cubicBezTo>
                <a:cubicBezTo>
                  <a:pt x="103905" y="962460"/>
                  <a:pt x="103545" y="970638"/>
                  <a:pt x="107799" y="976715"/>
                </a:cubicBezTo>
                <a:cubicBezTo>
                  <a:pt x="112946" y="984419"/>
                  <a:pt x="120160" y="990512"/>
                  <a:pt x="128614" y="994300"/>
                </a:cubicBezTo>
                <a:cubicBezTo>
                  <a:pt x="146438" y="1003141"/>
                  <a:pt x="165320" y="1009669"/>
                  <a:pt x="184799" y="1013720"/>
                </a:cubicBezTo>
                <a:cubicBezTo>
                  <a:pt x="220860" y="1021847"/>
                  <a:pt x="257451" y="1027405"/>
                  <a:pt x="294299" y="1030348"/>
                </a:cubicBezTo>
                <a:cubicBezTo>
                  <a:pt x="350713" y="1035277"/>
                  <a:pt x="407374" y="1036784"/>
                  <a:pt x="463970" y="1034854"/>
                </a:cubicBezTo>
                <a:cubicBezTo>
                  <a:pt x="498981" y="1033778"/>
                  <a:pt x="533912" y="1031385"/>
                  <a:pt x="568724" y="1027158"/>
                </a:cubicBezTo>
                <a:cubicBezTo>
                  <a:pt x="608999" y="1022213"/>
                  <a:pt x="648914" y="1015435"/>
                  <a:pt x="687554" y="1002515"/>
                </a:cubicBezTo>
                <a:cubicBezTo>
                  <a:pt x="706267" y="996753"/>
                  <a:pt x="724000" y="988187"/>
                  <a:pt x="740150" y="977114"/>
                </a:cubicBezTo>
                <a:cubicBezTo>
                  <a:pt x="748030" y="971826"/>
                  <a:pt x="754800" y="965056"/>
                  <a:pt x="760088" y="957176"/>
                </a:cubicBezTo>
                <a:cubicBezTo>
                  <a:pt x="767162" y="946234"/>
                  <a:pt x="768964" y="932700"/>
                  <a:pt x="764993" y="920291"/>
                </a:cubicBezTo>
                <a:cubicBezTo>
                  <a:pt x="764554" y="918736"/>
                  <a:pt x="764075" y="917221"/>
                  <a:pt x="763637" y="915665"/>
                </a:cubicBezTo>
                <a:lnTo>
                  <a:pt x="764036" y="915027"/>
                </a:lnTo>
                <a:cubicBezTo>
                  <a:pt x="772497" y="919075"/>
                  <a:pt x="780516" y="923996"/>
                  <a:pt x="787961" y="929702"/>
                </a:cubicBezTo>
                <a:cubicBezTo>
                  <a:pt x="805427" y="943778"/>
                  <a:pt x="809534" y="960924"/>
                  <a:pt x="800402" y="981979"/>
                </a:cubicBezTo>
                <a:cubicBezTo>
                  <a:pt x="793942" y="996773"/>
                  <a:pt x="782498" y="1007260"/>
                  <a:pt x="769618" y="1016272"/>
                </a:cubicBezTo>
                <a:cubicBezTo>
                  <a:pt x="748528" y="1030352"/>
                  <a:pt x="725488" y="1041262"/>
                  <a:pt x="701231" y="1048651"/>
                </a:cubicBezTo>
                <a:cubicBezTo>
                  <a:pt x="669956" y="1058828"/>
                  <a:pt x="637968" y="1066651"/>
                  <a:pt x="605529" y="1072058"/>
                </a:cubicBezTo>
                <a:cubicBezTo>
                  <a:pt x="580966" y="1076365"/>
                  <a:pt x="556310" y="1079782"/>
                  <a:pt x="531559" y="1082306"/>
                </a:cubicBezTo>
                <a:cubicBezTo>
                  <a:pt x="490368" y="1086613"/>
                  <a:pt x="449056" y="1088886"/>
                  <a:pt x="407666" y="1089564"/>
                </a:cubicBezTo>
                <a:cubicBezTo>
                  <a:pt x="376363" y="1090082"/>
                  <a:pt x="345060" y="1089564"/>
                  <a:pt x="313798" y="1087929"/>
                </a:cubicBezTo>
                <a:cubicBezTo>
                  <a:pt x="287639" y="1086693"/>
                  <a:pt x="261561" y="1084699"/>
                  <a:pt x="235562" y="1081668"/>
                </a:cubicBezTo>
                <a:cubicBezTo>
                  <a:pt x="188069" y="1076125"/>
                  <a:pt x="141016" y="1068310"/>
                  <a:pt x="95438" y="1053357"/>
                </a:cubicBezTo>
                <a:cubicBezTo>
                  <a:pt x="73544" y="1046749"/>
                  <a:pt x="52714" y="1037028"/>
                  <a:pt x="33590" y="1024487"/>
                </a:cubicBezTo>
                <a:cubicBezTo>
                  <a:pt x="23619" y="1018031"/>
                  <a:pt x="15060" y="1009621"/>
                  <a:pt x="8429" y="999764"/>
                </a:cubicBezTo>
                <a:cubicBezTo>
                  <a:pt x="-4730" y="979267"/>
                  <a:pt x="-2457" y="959369"/>
                  <a:pt x="15088" y="942502"/>
                </a:cubicBezTo>
                <a:cubicBezTo>
                  <a:pt x="30201" y="927947"/>
                  <a:pt x="48743" y="919773"/>
                  <a:pt x="68602" y="914230"/>
                </a:cubicBezTo>
                <a:cubicBezTo>
                  <a:pt x="92871" y="907866"/>
                  <a:pt x="118047" y="905681"/>
                  <a:pt x="143050" y="907770"/>
                </a:cubicBezTo>
                <a:close/>
                <a:moveTo>
                  <a:pt x="290391" y="843530"/>
                </a:moveTo>
                <a:cubicBezTo>
                  <a:pt x="287405" y="846732"/>
                  <a:pt x="285171" y="850560"/>
                  <a:pt x="283852" y="854735"/>
                </a:cubicBezTo>
                <a:cubicBezTo>
                  <a:pt x="282457" y="860111"/>
                  <a:pt x="284678" y="865777"/>
                  <a:pt x="289354" y="868771"/>
                </a:cubicBezTo>
                <a:cubicBezTo>
                  <a:pt x="297151" y="874159"/>
                  <a:pt x="306117" y="877616"/>
                  <a:pt x="315513" y="878860"/>
                </a:cubicBezTo>
                <a:cubicBezTo>
                  <a:pt x="340358" y="883075"/>
                  <a:pt x="365607" y="884415"/>
                  <a:pt x="390758" y="882847"/>
                </a:cubicBezTo>
                <a:cubicBezTo>
                  <a:pt x="412798" y="882006"/>
                  <a:pt x="434765" y="879861"/>
                  <a:pt x="456554" y="876428"/>
                </a:cubicBezTo>
                <a:cubicBezTo>
                  <a:pt x="484283" y="872683"/>
                  <a:pt x="511478" y="865697"/>
                  <a:pt x="537581" y="855613"/>
                </a:cubicBezTo>
                <a:cubicBezTo>
                  <a:pt x="538929" y="854699"/>
                  <a:pt x="540699" y="854699"/>
                  <a:pt x="542047" y="855613"/>
                </a:cubicBezTo>
                <a:cubicBezTo>
                  <a:pt x="565095" y="871084"/>
                  <a:pt x="588184" y="886516"/>
                  <a:pt x="611312" y="901908"/>
                </a:cubicBezTo>
                <a:cubicBezTo>
                  <a:pt x="611511" y="901908"/>
                  <a:pt x="611631" y="902267"/>
                  <a:pt x="612109" y="902905"/>
                </a:cubicBezTo>
                <a:cubicBezTo>
                  <a:pt x="608360" y="905059"/>
                  <a:pt x="604692" y="907212"/>
                  <a:pt x="600944" y="909206"/>
                </a:cubicBezTo>
                <a:cubicBezTo>
                  <a:pt x="574857" y="922600"/>
                  <a:pt x="547115" y="932493"/>
                  <a:pt x="518441" y="938634"/>
                </a:cubicBezTo>
                <a:cubicBezTo>
                  <a:pt x="490524" y="944954"/>
                  <a:pt x="462172" y="949181"/>
                  <a:pt x="433625" y="951275"/>
                </a:cubicBezTo>
                <a:cubicBezTo>
                  <a:pt x="404440" y="953627"/>
                  <a:pt x="375130" y="953974"/>
                  <a:pt x="345898" y="952312"/>
                </a:cubicBezTo>
                <a:cubicBezTo>
                  <a:pt x="320716" y="951195"/>
                  <a:pt x="295702" y="947630"/>
                  <a:pt x="271211" y="941665"/>
                </a:cubicBezTo>
                <a:cubicBezTo>
                  <a:pt x="255786" y="938327"/>
                  <a:pt x="241098" y="932206"/>
                  <a:pt x="227866" y="923601"/>
                </a:cubicBezTo>
                <a:cubicBezTo>
                  <a:pt x="220110" y="919039"/>
                  <a:pt x="214401" y="911674"/>
                  <a:pt x="211916" y="903025"/>
                </a:cubicBezTo>
                <a:cubicBezTo>
                  <a:pt x="209284" y="891660"/>
                  <a:pt x="213909" y="882209"/>
                  <a:pt x="220649" y="873716"/>
                </a:cubicBezTo>
                <a:cubicBezTo>
                  <a:pt x="233528" y="857766"/>
                  <a:pt x="250954" y="849232"/>
                  <a:pt x="270772" y="845205"/>
                </a:cubicBezTo>
                <a:cubicBezTo>
                  <a:pt x="277232" y="843933"/>
                  <a:pt x="283810" y="843371"/>
                  <a:pt x="290391" y="843530"/>
                </a:cubicBezTo>
                <a:close/>
                <a:moveTo>
                  <a:pt x="250675" y="720394"/>
                </a:moveTo>
                <a:cubicBezTo>
                  <a:pt x="251551" y="720334"/>
                  <a:pt x="252430" y="720334"/>
                  <a:pt x="253306" y="720394"/>
                </a:cubicBezTo>
                <a:lnTo>
                  <a:pt x="257613" y="720394"/>
                </a:lnTo>
                <a:cubicBezTo>
                  <a:pt x="255181" y="722906"/>
                  <a:pt x="252908" y="724939"/>
                  <a:pt x="250954" y="727252"/>
                </a:cubicBezTo>
                <a:cubicBezTo>
                  <a:pt x="241942" y="737660"/>
                  <a:pt x="242979" y="747190"/>
                  <a:pt x="254543" y="754886"/>
                </a:cubicBezTo>
                <a:cubicBezTo>
                  <a:pt x="263841" y="760696"/>
                  <a:pt x="274127" y="764751"/>
                  <a:pt x="284888" y="766849"/>
                </a:cubicBezTo>
                <a:cubicBezTo>
                  <a:pt x="306621" y="771538"/>
                  <a:pt x="328739" y="774222"/>
                  <a:pt x="350963" y="774863"/>
                </a:cubicBezTo>
                <a:cubicBezTo>
                  <a:pt x="379491" y="776227"/>
                  <a:pt x="408077" y="775693"/>
                  <a:pt x="436536" y="773269"/>
                </a:cubicBezTo>
                <a:cubicBezTo>
                  <a:pt x="478466" y="770438"/>
                  <a:pt x="519940" y="762837"/>
                  <a:pt x="560151" y="750619"/>
                </a:cubicBezTo>
                <a:cubicBezTo>
                  <a:pt x="561623" y="749981"/>
                  <a:pt x="563317" y="750133"/>
                  <a:pt x="564657" y="751018"/>
                </a:cubicBezTo>
                <a:lnTo>
                  <a:pt x="629017" y="791332"/>
                </a:lnTo>
                <a:cubicBezTo>
                  <a:pt x="629615" y="791571"/>
                  <a:pt x="630094" y="791970"/>
                  <a:pt x="630532" y="792449"/>
                </a:cubicBezTo>
                <a:cubicBezTo>
                  <a:pt x="612281" y="799818"/>
                  <a:pt x="593647" y="806194"/>
                  <a:pt x="574706" y="811549"/>
                </a:cubicBezTo>
                <a:cubicBezTo>
                  <a:pt x="545385" y="819839"/>
                  <a:pt x="515506" y="826020"/>
                  <a:pt x="485304" y="830051"/>
                </a:cubicBezTo>
                <a:cubicBezTo>
                  <a:pt x="441185" y="836101"/>
                  <a:pt x="396605" y="838119"/>
                  <a:pt x="352119" y="836073"/>
                </a:cubicBezTo>
                <a:cubicBezTo>
                  <a:pt x="309930" y="833999"/>
                  <a:pt x="268061" y="829214"/>
                  <a:pt x="227427" y="816773"/>
                </a:cubicBezTo>
                <a:cubicBezTo>
                  <a:pt x="212676" y="812722"/>
                  <a:pt x="198645" y="806397"/>
                  <a:pt x="185836" y="798032"/>
                </a:cubicBezTo>
                <a:cubicBezTo>
                  <a:pt x="179110" y="794096"/>
                  <a:pt x="173900" y="788015"/>
                  <a:pt x="171043" y="780765"/>
                </a:cubicBezTo>
                <a:cubicBezTo>
                  <a:pt x="168450" y="772790"/>
                  <a:pt x="171362" y="765812"/>
                  <a:pt x="175788" y="759352"/>
                </a:cubicBezTo>
                <a:cubicBezTo>
                  <a:pt x="182921" y="749714"/>
                  <a:pt x="192170" y="741843"/>
                  <a:pt x="202824" y="736344"/>
                </a:cubicBezTo>
                <a:cubicBezTo>
                  <a:pt x="217538" y="727862"/>
                  <a:pt x="233813" y="722435"/>
                  <a:pt x="250675" y="720394"/>
                </a:cubicBezTo>
                <a:close/>
                <a:moveTo>
                  <a:pt x="469434" y="634317"/>
                </a:moveTo>
                <a:lnTo>
                  <a:pt x="469434" y="634740"/>
                </a:lnTo>
                <a:lnTo>
                  <a:pt x="468955" y="634541"/>
                </a:lnTo>
                <a:close/>
                <a:moveTo>
                  <a:pt x="469434" y="634182"/>
                </a:moveTo>
                <a:lnTo>
                  <a:pt x="469553" y="634262"/>
                </a:lnTo>
                <a:lnTo>
                  <a:pt x="469434" y="634317"/>
                </a:lnTo>
                <a:close/>
                <a:moveTo>
                  <a:pt x="469687" y="633993"/>
                </a:moveTo>
                <a:lnTo>
                  <a:pt x="469513" y="634182"/>
                </a:lnTo>
                <a:lnTo>
                  <a:pt x="469354" y="634023"/>
                </a:lnTo>
                <a:close/>
                <a:moveTo>
                  <a:pt x="311087" y="590079"/>
                </a:moveTo>
                <a:cubicBezTo>
                  <a:pt x="306501" y="591315"/>
                  <a:pt x="301875" y="592472"/>
                  <a:pt x="297289" y="593788"/>
                </a:cubicBezTo>
                <a:cubicBezTo>
                  <a:pt x="274414" y="599606"/>
                  <a:pt x="252153" y="607621"/>
                  <a:pt x="230817" y="617713"/>
                </a:cubicBezTo>
                <a:cubicBezTo>
                  <a:pt x="224523" y="620477"/>
                  <a:pt x="218822" y="624432"/>
                  <a:pt x="214029" y="629357"/>
                </a:cubicBezTo>
                <a:cubicBezTo>
                  <a:pt x="206532" y="637811"/>
                  <a:pt x="209483" y="641320"/>
                  <a:pt x="217059" y="643992"/>
                </a:cubicBezTo>
                <a:cubicBezTo>
                  <a:pt x="226258" y="647114"/>
                  <a:pt x="235808" y="649084"/>
                  <a:pt x="245491" y="649853"/>
                </a:cubicBezTo>
                <a:cubicBezTo>
                  <a:pt x="303151" y="656194"/>
                  <a:pt x="361131" y="655117"/>
                  <a:pt x="418871" y="653841"/>
                </a:cubicBezTo>
                <a:cubicBezTo>
                  <a:pt x="451649" y="653003"/>
                  <a:pt x="484387" y="651169"/>
                  <a:pt x="517085" y="648777"/>
                </a:cubicBezTo>
                <a:cubicBezTo>
                  <a:pt x="548428" y="646504"/>
                  <a:pt x="579650" y="643513"/>
                  <a:pt x="610793" y="639485"/>
                </a:cubicBezTo>
                <a:cubicBezTo>
                  <a:pt x="630053" y="636974"/>
                  <a:pt x="649234" y="634062"/>
                  <a:pt x="668214" y="629955"/>
                </a:cubicBezTo>
                <a:lnTo>
                  <a:pt x="669969" y="629955"/>
                </a:lnTo>
                <a:cubicBezTo>
                  <a:pt x="667584" y="632695"/>
                  <a:pt x="664909" y="635167"/>
                  <a:pt x="661994" y="637332"/>
                </a:cubicBezTo>
                <a:cubicBezTo>
                  <a:pt x="642056" y="654040"/>
                  <a:pt x="621041" y="669472"/>
                  <a:pt x="600146" y="685183"/>
                </a:cubicBezTo>
                <a:cubicBezTo>
                  <a:pt x="596645" y="687077"/>
                  <a:pt x="592757" y="688142"/>
                  <a:pt x="588782" y="688294"/>
                </a:cubicBezTo>
                <a:cubicBezTo>
                  <a:pt x="556881" y="694514"/>
                  <a:pt x="524981" y="699419"/>
                  <a:pt x="492881" y="703207"/>
                </a:cubicBezTo>
                <a:cubicBezTo>
                  <a:pt x="460102" y="707063"/>
                  <a:pt x="427205" y="709907"/>
                  <a:pt x="394188" y="711741"/>
                </a:cubicBezTo>
                <a:cubicBezTo>
                  <a:pt x="357715" y="713814"/>
                  <a:pt x="321202" y="714464"/>
                  <a:pt x="284649" y="713695"/>
                </a:cubicBezTo>
                <a:cubicBezTo>
                  <a:pt x="250491" y="713248"/>
                  <a:pt x="216401" y="710516"/>
                  <a:pt x="182607" y="705520"/>
                </a:cubicBezTo>
                <a:cubicBezTo>
                  <a:pt x="159120" y="701851"/>
                  <a:pt x="135872" y="697106"/>
                  <a:pt x="114060" y="687257"/>
                </a:cubicBezTo>
                <a:cubicBezTo>
                  <a:pt x="105859" y="683879"/>
                  <a:pt x="98396" y="678935"/>
                  <a:pt x="92089" y="672702"/>
                </a:cubicBezTo>
                <a:cubicBezTo>
                  <a:pt x="82299" y="663331"/>
                  <a:pt x="81001" y="648147"/>
                  <a:pt x="89058" y="637252"/>
                </a:cubicBezTo>
                <a:cubicBezTo>
                  <a:pt x="94593" y="629688"/>
                  <a:pt x="101944" y="623643"/>
                  <a:pt x="110432" y="619667"/>
                </a:cubicBezTo>
                <a:cubicBezTo>
                  <a:pt x="126917" y="611485"/>
                  <a:pt x="144477" y="605671"/>
                  <a:pt x="162589" y="602401"/>
                </a:cubicBezTo>
                <a:cubicBezTo>
                  <a:pt x="193496" y="596276"/>
                  <a:pt x="224821" y="592492"/>
                  <a:pt x="256297" y="591076"/>
                </a:cubicBezTo>
                <a:cubicBezTo>
                  <a:pt x="274527" y="589712"/>
                  <a:pt x="292820" y="589377"/>
                  <a:pt x="311087" y="590079"/>
                </a:cubicBezTo>
                <a:close/>
                <a:moveTo>
                  <a:pt x="760218" y="588025"/>
                </a:moveTo>
                <a:cubicBezTo>
                  <a:pt x="770276" y="587776"/>
                  <a:pt x="780345" y="589142"/>
                  <a:pt x="790354" y="592591"/>
                </a:cubicBezTo>
                <a:cubicBezTo>
                  <a:pt x="820101" y="602799"/>
                  <a:pt x="837726" y="624492"/>
                  <a:pt x="843428" y="654598"/>
                </a:cubicBezTo>
                <a:cubicBezTo>
                  <a:pt x="853118" y="706237"/>
                  <a:pt x="837766" y="750061"/>
                  <a:pt x="798209" y="784793"/>
                </a:cubicBezTo>
                <a:cubicBezTo>
                  <a:pt x="768462" y="810911"/>
                  <a:pt x="732853" y="825426"/>
                  <a:pt x="695090" y="835395"/>
                </a:cubicBezTo>
                <a:cubicBezTo>
                  <a:pt x="684783" y="838131"/>
                  <a:pt x="674315" y="840232"/>
                  <a:pt x="663748" y="841695"/>
                </a:cubicBezTo>
                <a:cubicBezTo>
                  <a:pt x="663230" y="840459"/>
                  <a:pt x="664267" y="840380"/>
                  <a:pt x="664745" y="840021"/>
                </a:cubicBezTo>
                <a:cubicBezTo>
                  <a:pt x="693751" y="819453"/>
                  <a:pt x="719829" y="795037"/>
                  <a:pt x="742264" y="767447"/>
                </a:cubicBezTo>
                <a:cubicBezTo>
                  <a:pt x="758493" y="747110"/>
                  <a:pt x="772051" y="725218"/>
                  <a:pt x="778152" y="699658"/>
                </a:cubicBezTo>
                <a:cubicBezTo>
                  <a:pt x="781422" y="685940"/>
                  <a:pt x="783057" y="672064"/>
                  <a:pt x="777753" y="658466"/>
                </a:cubicBezTo>
                <a:cubicBezTo>
                  <a:pt x="770535" y="639963"/>
                  <a:pt x="756619" y="628160"/>
                  <a:pt x="738715" y="620703"/>
                </a:cubicBezTo>
                <a:cubicBezTo>
                  <a:pt x="722082" y="614005"/>
                  <a:pt x="703851" y="612325"/>
                  <a:pt x="686278" y="615878"/>
                </a:cubicBezTo>
                <a:cubicBezTo>
                  <a:pt x="699413" y="605726"/>
                  <a:pt x="714275" y="598026"/>
                  <a:pt x="730141" y="593149"/>
                </a:cubicBezTo>
                <a:cubicBezTo>
                  <a:pt x="740110" y="590139"/>
                  <a:pt x="750159" y="588275"/>
                  <a:pt x="760218" y="588025"/>
                </a:cubicBezTo>
                <a:close/>
                <a:moveTo>
                  <a:pt x="704621" y="204241"/>
                </a:moveTo>
                <a:cubicBezTo>
                  <a:pt x="703572" y="205595"/>
                  <a:pt x="702200" y="206665"/>
                  <a:pt x="700633" y="207351"/>
                </a:cubicBezTo>
                <a:cubicBezTo>
                  <a:pt x="663780" y="230841"/>
                  <a:pt x="628458" y="256652"/>
                  <a:pt x="594883" y="284630"/>
                </a:cubicBezTo>
                <a:cubicBezTo>
                  <a:pt x="575060" y="300419"/>
                  <a:pt x="557260" y="318593"/>
                  <a:pt x="541888" y="338742"/>
                </a:cubicBezTo>
                <a:cubicBezTo>
                  <a:pt x="534610" y="347644"/>
                  <a:pt x="529917" y="358376"/>
                  <a:pt x="528330" y="369766"/>
                </a:cubicBezTo>
                <a:cubicBezTo>
                  <a:pt x="527473" y="382729"/>
                  <a:pt x="529698" y="395711"/>
                  <a:pt x="534830" y="407647"/>
                </a:cubicBezTo>
                <a:cubicBezTo>
                  <a:pt x="541290" y="424116"/>
                  <a:pt x="550501" y="439149"/>
                  <a:pt x="558755" y="454701"/>
                </a:cubicBezTo>
                <a:cubicBezTo>
                  <a:pt x="567520" y="469647"/>
                  <a:pt x="574087" y="485776"/>
                  <a:pt x="578255" y="502592"/>
                </a:cubicBezTo>
                <a:cubicBezTo>
                  <a:pt x="583207" y="526924"/>
                  <a:pt x="578179" y="552225"/>
                  <a:pt x="564298" y="572814"/>
                </a:cubicBezTo>
                <a:cubicBezTo>
                  <a:pt x="549783" y="595742"/>
                  <a:pt x="528888" y="611254"/>
                  <a:pt x="504484" y="622538"/>
                </a:cubicBezTo>
                <a:cubicBezTo>
                  <a:pt x="494495" y="627260"/>
                  <a:pt x="484064" y="630988"/>
                  <a:pt x="473341" y="633664"/>
                </a:cubicBezTo>
                <a:lnTo>
                  <a:pt x="469687" y="633993"/>
                </a:lnTo>
                <a:lnTo>
                  <a:pt x="489132" y="612809"/>
                </a:lnTo>
                <a:cubicBezTo>
                  <a:pt x="500066" y="599650"/>
                  <a:pt x="507551" y="583971"/>
                  <a:pt x="510904" y="567191"/>
                </a:cubicBezTo>
                <a:cubicBezTo>
                  <a:pt x="513086" y="552827"/>
                  <a:pt x="510757" y="538145"/>
                  <a:pt x="504245" y="525162"/>
                </a:cubicBezTo>
                <a:cubicBezTo>
                  <a:pt x="496788" y="509012"/>
                  <a:pt x="486181" y="494856"/>
                  <a:pt x="476332" y="480261"/>
                </a:cubicBezTo>
                <a:cubicBezTo>
                  <a:pt x="465218" y="464965"/>
                  <a:pt x="456171" y="448273"/>
                  <a:pt x="449416" y="430616"/>
                </a:cubicBezTo>
                <a:cubicBezTo>
                  <a:pt x="441441" y="407209"/>
                  <a:pt x="442198" y="383642"/>
                  <a:pt x="448219" y="359996"/>
                </a:cubicBezTo>
                <a:cubicBezTo>
                  <a:pt x="457471" y="323629"/>
                  <a:pt x="478645" y="295317"/>
                  <a:pt x="508033" y="272588"/>
                </a:cubicBezTo>
                <a:cubicBezTo>
                  <a:pt x="537422" y="249859"/>
                  <a:pt x="571834" y="234466"/>
                  <a:pt x="607722" y="223341"/>
                </a:cubicBezTo>
                <a:cubicBezTo>
                  <a:pt x="637131" y="214336"/>
                  <a:pt x="667313" y="208102"/>
                  <a:pt x="697882" y="204719"/>
                </a:cubicBezTo>
                <a:cubicBezTo>
                  <a:pt x="699955" y="204480"/>
                  <a:pt x="702069" y="204440"/>
                  <a:pt x="704621" y="204241"/>
                </a:cubicBezTo>
                <a:close/>
                <a:moveTo>
                  <a:pt x="519239" y="156"/>
                </a:moveTo>
                <a:cubicBezTo>
                  <a:pt x="520315" y="-362"/>
                  <a:pt x="520714" y="515"/>
                  <a:pt x="521153" y="1233"/>
                </a:cubicBezTo>
                <a:cubicBezTo>
                  <a:pt x="536860" y="25066"/>
                  <a:pt x="547036" y="52110"/>
                  <a:pt x="550940" y="80386"/>
                </a:cubicBezTo>
                <a:cubicBezTo>
                  <a:pt x="553974" y="107558"/>
                  <a:pt x="549851" y="135051"/>
                  <a:pt x="538977" y="160138"/>
                </a:cubicBezTo>
                <a:cubicBezTo>
                  <a:pt x="526931" y="187484"/>
                  <a:pt x="510840" y="212863"/>
                  <a:pt x="491246" y="235423"/>
                </a:cubicBezTo>
                <a:cubicBezTo>
                  <a:pt x="469872" y="261143"/>
                  <a:pt x="446146" y="284710"/>
                  <a:pt x="423098" y="308875"/>
                </a:cubicBezTo>
                <a:cubicBezTo>
                  <a:pt x="404316" y="328534"/>
                  <a:pt x="385575" y="348192"/>
                  <a:pt x="370581" y="371041"/>
                </a:cubicBezTo>
                <a:cubicBezTo>
                  <a:pt x="362139" y="383205"/>
                  <a:pt x="356040" y="396836"/>
                  <a:pt x="352597" y="411236"/>
                </a:cubicBezTo>
                <a:cubicBezTo>
                  <a:pt x="349641" y="425723"/>
                  <a:pt x="351257" y="440772"/>
                  <a:pt x="357223" y="454302"/>
                </a:cubicBezTo>
                <a:cubicBezTo>
                  <a:pt x="372540" y="493073"/>
                  <a:pt x="390224" y="530868"/>
                  <a:pt x="410178" y="567470"/>
                </a:cubicBezTo>
                <a:cubicBezTo>
                  <a:pt x="417675" y="580947"/>
                  <a:pt x="425530" y="594187"/>
                  <a:pt x="433585" y="607345"/>
                </a:cubicBezTo>
                <a:cubicBezTo>
                  <a:pt x="434183" y="608263"/>
                  <a:pt x="435300" y="609140"/>
                  <a:pt x="434702" y="611014"/>
                </a:cubicBezTo>
                <a:cubicBezTo>
                  <a:pt x="416518" y="597815"/>
                  <a:pt x="399252" y="583938"/>
                  <a:pt x="382624" y="569264"/>
                </a:cubicBezTo>
                <a:cubicBezTo>
                  <a:pt x="362898" y="552066"/>
                  <a:pt x="344391" y="533519"/>
                  <a:pt x="327236" y="513757"/>
                </a:cubicBezTo>
                <a:cubicBezTo>
                  <a:pt x="304586" y="487439"/>
                  <a:pt x="284689" y="459446"/>
                  <a:pt x="272526" y="426429"/>
                </a:cubicBezTo>
                <a:cubicBezTo>
                  <a:pt x="257772" y="386353"/>
                  <a:pt x="263794" y="349628"/>
                  <a:pt x="288796" y="315415"/>
                </a:cubicBezTo>
                <a:cubicBezTo>
                  <a:pt x="304967" y="294177"/>
                  <a:pt x="323332" y="274703"/>
                  <a:pt x="343585" y="257315"/>
                </a:cubicBezTo>
                <a:cubicBezTo>
                  <a:pt x="369265" y="234427"/>
                  <a:pt x="396381" y="213452"/>
                  <a:pt x="422540" y="190922"/>
                </a:cubicBezTo>
                <a:cubicBezTo>
                  <a:pt x="448698" y="168392"/>
                  <a:pt x="474976" y="145184"/>
                  <a:pt x="495991" y="117112"/>
                </a:cubicBezTo>
                <a:cubicBezTo>
                  <a:pt x="510035" y="99449"/>
                  <a:pt x="519797" y="78771"/>
                  <a:pt x="524502" y="56700"/>
                </a:cubicBezTo>
                <a:cubicBezTo>
                  <a:pt x="528043" y="37729"/>
                  <a:pt x="526221" y="18147"/>
                  <a:pt x="519239" y="156"/>
                </a:cubicBezTo>
                <a:close/>
              </a:path>
            </a:pathLst>
          </a:custGeom>
          <a:solidFill>
            <a:srgbClr val="797979"/>
          </a:solidFill>
          <a:ln w="9525" cap="flat">
            <a:noFill/>
            <a:prstDash val="solid"/>
            <a:miter/>
          </a:ln>
        </p:spPr>
        <p:txBody>
          <a:bodyPr wrap="square" rtlCol="0" anchor="ctr">
            <a:noAutofit/>
          </a:bodyPr>
          <a:lstStyle/>
          <a:p>
            <a:pPr defTabSz="914225">
              <a:defRPr/>
            </a:pPr>
            <a:endParaRPr lang="en-US">
              <a:solidFill>
                <a:srgbClr val="000000"/>
              </a:solidFill>
              <a:latin typeface="Segoe UI"/>
            </a:endParaRPr>
          </a:p>
        </p:txBody>
      </p:sp>
    </p:spTree>
    <p:extLst>
      <p:ext uri="{BB962C8B-B14F-4D97-AF65-F5344CB8AC3E}">
        <p14:creationId xmlns:p14="http://schemas.microsoft.com/office/powerpoint/2010/main" val="4013172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EDE449EB-625C-4B3E-A108-31B7A2030949}"/>
              </a:ext>
            </a:extLst>
          </p:cNvPr>
          <p:cNvSpPr/>
          <p:nvPr/>
        </p:nvSpPr>
        <p:spPr bwMode="auto">
          <a:xfrm>
            <a:off x="9122970" y="5229231"/>
            <a:ext cx="2959412" cy="146913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SQL - Grey Back">
            <a:extLst>
              <a:ext uri="{FF2B5EF4-FFF2-40B4-BE49-F238E27FC236}">
                <a16:creationId xmlns:a16="http://schemas.microsoft.com/office/drawing/2014/main" id="{3B426E5B-7F87-4A3F-9393-FD78F2A0011D}"/>
              </a:ext>
            </a:extLst>
          </p:cNvPr>
          <p:cNvSpPr/>
          <p:nvPr/>
        </p:nvSpPr>
        <p:spPr bwMode="auto">
          <a:xfrm>
            <a:off x="344757" y="4902944"/>
            <a:ext cx="4779278" cy="1532517"/>
          </a:xfrm>
          <a:prstGeom prst="rect">
            <a:avLst/>
          </a:prstGeom>
          <a:solidFill>
            <a:schemeClr val="bg2">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2" name="SQL - VM icon">
            <a:extLst>
              <a:ext uri="{FF2B5EF4-FFF2-40B4-BE49-F238E27FC236}">
                <a16:creationId xmlns:a16="http://schemas.microsoft.com/office/drawing/2014/main" id="{DC7B776C-99ED-4EE9-97AF-43EA9839931D}"/>
              </a:ext>
            </a:extLst>
          </p:cNvPr>
          <p:cNvPicPr>
            <a:picLocks noChangeAspect="1"/>
          </p:cNvPicPr>
          <p:nvPr/>
        </p:nvPicPr>
        <p:blipFill>
          <a:blip r:embed="rId3"/>
          <a:stretch>
            <a:fillRect/>
          </a:stretch>
        </p:blipFill>
        <p:spPr>
          <a:xfrm>
            <a:off x="614470" y="5834091"/>
            <a:ext cx="480010" cy="480010"/>
          </a:xfrm>
          <a:prstGeom prst="rect">
            <a:avLst/>
          </a:prstGeom>
        </p:spPr>
      </p:pic>
      <p:sp>
        <p:nvSpPr>
          <p:cNvPr id="96" name="Rectangle 95">
            <a:extLst>
              <a:ext uri="{FF2B5EF4-FFF2-40B4-BE49-F238E27FC236}">
                <a16:creationId xmlns:a16="http://schemas.microsoft.com/office/drawing/2014/main" id="{ACE31B2E-4945-4DF9-A79A-96064B88F293}"/>
              </a:ext>
            </a:extLst>
          </p:cNvPr>
          <p:cNvSpPr/>
          <p:nvPr/>
        </p:nvSpPr>
        <p:spPr bwMode="auto">
          <a:xfrm>
            <a:off x="1314769" y="5134530"/>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 tier</a:t>
            </a:r>
          </a:p>
          <a:p>
            <a:pPr marL="339192" algn="ctr" defTabSz="913927" fontAlgn="base">
              <a:lnSpc>
                <a:spcPct val="90000"/>
              </a:lnSpc>
              <a:spcBef>
                <a:spcPct val="0"/>
              </a:spcBef>
              <a:spcAft>
                <a:spcPct val="0"/>
              </a:spcAft>
              <a:defRPr/>
            </a:pPr>
            <a:r>
              <a:rPr lang="en-US" sz="1765">
                <a:solidFill>
                  <a:srgbClr val="505050"/>
                </a:solidFill>
                <a:latin typeface="Segoe UI Light"/>
                <a:cs typeface="Segoe UI" pitchFamily="34" charset="0"/>
              </a:rPr>
              <a:t>(SQL VM)</a:t>
            </a:r>
          </a:p>
        </p:txBody>
      </p:sp>
      <p:sp>
        <p:nvSpPr>
          <p:cNvPr id="107" name="On-prem - DB Server icon">
            <a:extLst>
              <a:ext uri="{FF2B5EF4-FFF2-40B4-BE49-F238E27FC236}">
                <a16:creationId xmlns:a16="http://schemas.microsoft.com/office/drawing/2014/main" id="{EB641180-4A29-438E-8FE4-F2D05B89C6DF}"/>
              </a:ext>
            </a:extLst>
          </p:cNvPr>
          <p:cNvSpPr>
            <a:spLocks noChangeAspect="1" noEditPoints="1"/>
          </p:cNvSpPr>
          <p:nvPr/>
        </p:nvSpPr>
        <p:spPr bwMode="auto">
          <a:xfrm>
            <a:off x="465856" y="5690223"/>
            <a:ext cx="756499" cy="60543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gradFill>
              <a:latin typeface="Segoe UI Semilight"/>
            </a:endParaRPr>
          </a:p>
        </p:txBody>
      </p:sp>
      <p:sp>
        <p:nvSpPr>
          <p:cNvPr id="100" name="Server white out">
            <a:extLst>
              <a:ext uri="{FF2B5EF4-FFF2-40B4-BE49-F238E27FC236}">
                <a16:creationId xmlns:a16="http://schemas.microsoft.com/office/drawing/2014/main" id="{13E7CF94-8E41-43A7-87FB-FA99DBFE64B9}"/>
              </a:ext>
            </a:extLst>
          </p:cNvPr>
          <p:cNvSpPr/>
          <p:nvPr/>
        </p:nvSpPr>
        <p:spPr bwMode="auto">
          <a:xfrm>
            <a:off x="240923" y="1132818"/>
            <a:ext cx="5340125" cy="54150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4" name="SQL Azure">
            <a:extLst>
              <a:ext uri="{FF2B5EF4-FFF2-40B4-BE49-F238E27FC236}">
                <a16:creationId xmlns:a16="http://schemas.microsoft.com/office/drawing/2014/main" id="{E9760218-EC49-472E-9866-7B33182F3F84}"/>
              </a:ext>
            </a:extLst>
          </p:cNvPr>
          <p:cNvGrpSpPr/>
          <p:nvPr/>
        </p:nvGrpSpPr>
        <p:grpSpPr>
          <a:xfrm>
            <a:off x="1314759" y="5136477"/>
            <a:ext cx="3642618" cy="1278157"/>
            <a:chOff x="2504837" y="5524011"/>
            <a:chExt cx="3716188" cy="1303972"/>
          </a:xfrm>
        </p:grpSpPr>
        <p:sp>
          <p:nvSpPr>
            <p:cNvPr id="70" name="Rectangle 69">
              <a:extLst>
                <a:ext uri="{FF2B5EF4-FFF2-40B4-BE49-F238E27FC236}">
                  <a16:creationId xmlns:a16="http://schemas.microsoft.com/office/drawing/2014/main" id="{00B5997A-E18A-4D60-BA6C-292EB7EC95BD}"/>
                </a:ext>
              </a:extLst>
            </p:cNvPr>
            <p:cNvSpPr/>
            <p:nvPr/>
          </p:nvSpPr>
          <p:spPr bwMode="auto">
            <a:xfrm>
              <a:off x="2743469" y="5761183"/>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QL Azure)</a:t>
              </a:r>
            </a:p>
          </p:txBody>
        </p:sp>
        <p:sp>
          <p:nvSpPr>
            <p:cNvPr id="71" name="Rectangle 70">
              <a:extLst>
                <a:ext uri="{FF2B5EF4-FFF2-40B4-BE49-F238E27FC236}">
                  <a16:creationId xmlns:a16="http://schemas.microsoft.com/office/drawing/2014/main" id="{215594ED-295E-490E-B378-906C0A7068F4}"/>
                </a:ext>
              </a:extLst>
            </p:cNvPr>
            <p:cNvSpPr/>
            <p:nvPr/>
          </p:nvSpPr>
          <p:spPr bwMode="auto">
            <a:xfrm>
              <a:off x="2622600" y="5649326"/>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QL Azure)</a:t>
              </a:r>
            </a:p>
          </p:txBody>
        </p:sp>
        <p:sp>
          <p:nvSpPr>
            <p:cNvPr id="72" name="Rectangle 71">
              <a:extLst>
                <a:ext uri="{FF2B5EF4-FFF2-40B4-BE49-F238E27FC236}">
                  <a16:creationId xmlns:a16="http://schemas.microsoft.com/office/drawing/2014/main" id="{8B36A4ED-954B-493D-9C3B-82954F96E9DB}"/>
                </a:ext>
              </a:extLst>
            </p:cNvPr>
            <p:cNvSpPr/>
            <p:nvPr/>
          </p:nvSpPr>
          <p:spPr bwMode="auto">
            <a:xfrm>
              <a:off x="2504837" y="5524011"/>
              <a:ext cx="347755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Database</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SQL DB)</a:t>
              </a:r>
            </a:p>
          </p:txBody>
        </p:sp>
        <p:pic>
          <p:nvPicPr>
            <p:cNvPr id="73" name="Picture 2" descr="Image result for sql cloud azure">
              <a:extLst>
                <a:ext uri="{FF2B5EF4-FFF2-40B4-BE49-F238E27FC236}">
                  <a16:creationId xmlns:a16="http://schemas.microsoft.com/office/drawing/2014/main" id="{B568D690-2D9E-4DD2-832D-82D553D4E7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6548" y="5652425"/>
              <a:ext cx="835405" cy="835405"/>
            </a:xfrm>
            <a:prstGeom prst="rect">
              <a:avLst/>
            </a:prstGeom>
            <a:noFill/>
            <a:extLst>
              <a:ext uri="{909E8E84-426E-40DD-AFC4-6F175D3DCCD1}">
                <a14:hiddenFill xmlns:a14="http://schemas.microsoft.com/office/drawing/2010/main">
                  <a:solidFill>
                    <a:srgbClr val="FFFFFF"/>
                  </a:solidFill>
                </a14:hiddenFill>
              </a:ext>
            </a:extLst>
          </p:spPr>
        </p:pic>
      </p:grpSp>
      <p:sp>
        <p:nvSpPr>
          <p:cNvPr id="103" name="On-prem - web">
            <a:extLst>
              <a:ext uri="{FF2B5EF4-FFF2-40B4-BE49-F238E27FC236}">
                <a16:creationId xmlns:a16="http://schemas.microsoft.com/office/drawing/2014/main" id="{D4FE071A-097F-4B20-852F-70F86132CE1E}"/>
              </a:ext>
            </a:extLst>
          </p:cNvPr>
          <p:cNvSpPr/>
          <p:nvPr/>
        </p:nvSpPr>
        <p:spPr bwMode="auto">
          <a:xfrm>
            <a:off x="344757" y="1295126"/>
            <a:ext cx="4779278" cy="3172079"/>
          </a:xfrm>
          <a:prstGeom prst="rect">
            <a:avLst/>
          </a:prstGeom>
          <a:solidFill>
            <a:schemeClr val="bg2">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5" name="On-prem - VM icon">
            <a:extLst>
              <a:ext uri="{FF2B5EF4-FFF2-40B4-BE49-F238E27FC236}">
                <a16:creationId xmlns:a16="http://schemas.microsoft.com/office/drawing/2014/main" id="{4D7BD077-76F4-491B-A224-68AF6E9F0184}"/>
              </a:ext>
            </a:extLst>
          </p:cNvPr>
          <p:cNvPicPr>
            <a:picLocks noChangeAspect="1"/>
          </p:cNvPicPr>
          <p:nvPr/>
        </p:nvPicPr>
        <p:blipFill>
          <a:blip r:embed="rId3"/>
          <a:stretch>
            <a:fillRect/>
          </a:stretch>
        </p:blipFill>
        <p:spPr>
          <a:xfrm>
            <a:off x="626391" y="3894983"/>
            <a:ext cx="480010" cy="480010"/>
          </a:xfrm>
          <a:prstGeom prst="rect">
            <a:avLst/>
          </a:prstGeom>
        </p:spPr>
      </p:pic>
      <p:sp>
        <p:nvSpPr>
          <p:cNvPr id="106" name="On-prem - Web Server icon">
            <a:extLst>
              <a:ext uri="{FF2B5EF4-FFF2-40B4-BE49-F238E27FC236}">
                <a16:creationId xmlns:a16="http://schemas.microsoft.com/office/drawing/2014/main" id="{DB3A380A-E12B-46FD-B6E7-DCED7D3C0081}"/>
              </a:ext>
            </a:extLst>
          </p:cNvPr>
          <p:cNvSpPr>
            <a:spLocks noChangeAspect="1" noEditPoints="1"/>
          </p:cNvSpPr>
          <p:nvPr/>
        </p:nvSpPr>
        <p:spPr bwMode="auto">
          <a:xfrm>
            <a:off x="484555" y="3727200"/>
            <a:ext cx="756499" cy="60543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gradFill>
              <a:latin typeface="Segoe UI Semilight"/>
            </a:endParaRPr>
          </a:p>
        </p:txBody>
      </p:sp>
      <p:grpSp>
        <p:nvGrpSpPr>
          <p:cNvPr id="63" name="SF - Grey - Services">
            <a:extLst>
              <a:ext uri="{FF2B5EF4-FFF2-40B4-BE49-F238E27FC236}">
                <a16:creationId xmlns:a16="http://schemas.microsoft.com/office/drawing/2014/main" id="{B935E7C5-1784-49FD-8849-EFB89884B5D8}"/>
              </a:ext>
            </a:extLst>
          </p:cNvPr>
          <p:cNvGrpSpPr/>
          <p:nvPr/>
        </p:nvGrpSpPr>
        <p:grpSpPr>
          <a:xfrm>
            <a:off x="344757" y="2942164"/>
            <a:ext cx="4779278" cy="1532517"/>
            <a:chOff x="350837" y="3000593"/>
            <a:chExt cx="4875803" cy="1563469"/>
          </a:xfrm>
          <a:solidFill>
            <a:schemeClr val="accent1">
              <a:lumMod val="20000"/>
              <a:lumOff val="80000"/>
            </a:schemeClr>
          </a:solidFill>
        </p:grpSpPr>
        <p:sp>
          <p:nvSpPr>
            <p:cNvPr id="3" name="Rectangle 2">
              <a:extLst>
                <a:ext uri="{FF2B5EF4-FFF2-40B4-BE49-F238E27FC236}">
                  <a16:creationId xmlns:a16="http://schemas.microsoft.com/office/drawing/2014/main" id="{205129B4-BB7B-4F2A-8A8E-AAC5D5907A36}"/>
                </a:ext>
              </a:extLst>
            </p:cNvPr>
            <p:cNvSpPr/>
            <p:nvPr/>
          </p:nvSpPr>
          <p:spPr bwMode="auto">
            <a:xfrm>
              <a:off x="350837" y="3000593"/>
              <a:ext cx="4875803" cy="1563469"/>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 name="Picture 4" descr="Image result for service fabric azure">
              <a:extLst>
                <a:ext uri="{FF2B5EF4-FFF2-40B4-BE49-F238E27FC236}">
                  <a16:creationId xmlns:a16="http://schemas.microsoft.com/office/drawing/2014/main" id="{2CD3EAAE-70F4-4A09-99DD-61B664158B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6831" y="3951034"/>
              <a:ext cx="872362" cy="457990"/>
            </a:xfrm>
            <a:prstGeom prst="rect">
              <a:avLst/>
            </a:prstGeom>
            <a:grpFill/>
            <a:extLst/>
          </p:spPr>
        </p:pic>
      </p:grpSp>
      <p:cxnSp>
        <p:nvCxnSpPr>
          <p:cNvPr id="9" name="Conn - Services to DB">
            <a:extLst>
              <a:ext uri="{FF2B5EF4-FFF2-40B4-BE49-F238E27FC236}">
                <a16:creationId xmlns:a16="http://schemas.microsoft.com/office/drawing/2014/main" id="{4DA31F93-BE92-4A31-AC1D-099958EA6FF7}"/>
              </a:ext>
            </a:extLst>
          </p:cNvPr>
          <p:cNvCxnSpPr>
            <a:cxnSpLocks/>
            <a:stCxn id="5" idx="2"/>
            <a:endCxn id="72" idx="0"/>
          </p:cNvCxnSpPr>
          <p:nvPr/>
        </p:nvCxnSpPr>
        <p:spPr>
          <a:xfrm flipH="1">
            <a:off x="3019114" y="4141137"/>
            <a:ext cx="2693" cy="99533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SF - Services - Box 3">
            <a:extLst>
              <a:ext uri="{FF2B5EF4-FFF2-40B4-BE49-F238E27FC236}">
                <a16:creationId xmlns:a16="http://schemas.microsoft.com/office/drawing/2014/main" id="{13B29248-85AA-4B7E-8457-36A3B6961238}"/>
              </a:ext>
            </a:extLst>
          </p:cNvPr>
          <p:cNvSpPr/>
          <p:nvPr/>
        </p:nvSpPr>
        <p:spPr bwMode="auto">
          <a:xfrm>
            <a:off x="1465493" y="3277033"/>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21" name="SF - Services - Box 2">
            <a:extLst>
              <a:ext uri="{FF2B5EF4-FFF2-40B4-BE49-F238E27FC236}">
                <a16:creationId xmlns:a16="http://schemas.microsoft.com/office/drawing/2014/main" id="{74347BDA-DF94-46D3-8192-530E9009D891}"/>
              </a:ext>
            </a:extLst>
          </p:cNvPr>
          <p:cNvSpPr/>
          <p:nvPr/>
        </p:nvSpPr>
        <p:spPr bwMode="auto">
          <a:xfrm>
            <a:off x="1389461" y="3174525"/>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5" name="SF - Service Tier">
            <a:extLst>
              <a:ext uri="{FF2B5EF4-FFF2-40B4-BE49-F238E27FC236}">
                <a16:creationId xmlns:a16="http://schemas.microsoft.com/office/drawing/2014/main" id="{C09FFB11-6212-4016-81A1-A54C102F81A3}"/>
              </a:ext>
            </a:extLst>
          </p:cNvPr>
          <p:cNvSpPr/>
          <p:nvPr/>
        </p:nvSpPr>
        <p:spPr bwMode="auto">
          <a:xfrm>
            <a:off x="1317451" y="3095457"/>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ervice tier</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WCF)</a:t>
            </a:r>
          </a:p>
        </p:txBody>
      </p:sp>
      <p:grpSp>
        <p:nvGrpSpPr>
          <p:cNvPr id="62" name="SF - Grey - Web">
            <a:extLst>
              <a:ext uri="{FF2B5EF4-FFF2-40B4-BE49-F238E27FC236}">
                <a16:creationId xmlns:a16="http://schemas.microsoft.com/office/drawing/2014/main" id="{CBDD1A5C-5316-4133-8572-81A3D79447F6}"/>
              </a:ext>
            </a:extLst>
          </p:cNvPr>
          <p:cNvGrpSpPr/>
          <p:nvPr/>
        </p:nvGrpSpPr>
        <p:grpSpPr>
          <a:xfrm>
            <a:off x="344757" y="1295126"/>
            <a:ext cx="4779278" cy="1532517"/>
            <a:chOff x="350837" y="1320290"/>
            <a:chExt cx="4875803" cy="1563469"/>
          </a:xfrm>
          <a:solidFill>
            <a:schemeClr val="accent1">
              <a:lumMod val="20000"/>
              <a:lumOff val="80000"/>
            </a:schemeClr>
          </a:solidFill>
        </p:grpSpPr>
        <p:sp>
          <p:nvSpPr>
            <p:cNvPr id="38" name="Rectangle 37">
              <a:extLst>
                <a:ext uri="{FF2B5EF4-FFF2-40B4-BE49-F238E27FC236}">
                  <a16:creationId xmlns:a16="http://schemas.microsoft.com/office/drawing/2014/main" id="{A89CCC8B-8206-40F4-B6EE-B842496983DB}"/>
                </a:ext>
              </a:extLst>
            </p:cNvPr>
            <p:cNvSpPr/>
            <p:nvPr/>
          </p:nvSpPr>
          <p:spPr bwMode="auto">
            <a:xfrm>
              <a:off x="350837" y="1320290"/>
              <a:ext cx="4875803" cy="1563469"/>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9" name="Picture 4" descr="Image result for service fabric azure">
              <a:extLst>
                <a:ext uri="{FF2B5EF4-FFF2-40B4-BE49-F238E27FC236}">
                  <a16:creationId xmlns:a16="http://schemas.microsoft.com/office/drawing/2014/main" id="{5EF661C7-E0A7-4317-A2C4-EC2968F359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6831" y="2306606"/>
              <a:ext cx="872362" cy="457990"/>
            </a:xfrm>
            <a:prstGeom prst="rect">
              <a:avLst/>
            </a:prstGeom>
            <a:grpFill/>
            <a:extLst/>
          </p:spPr>
        </p:pic>
      </p:grpSp>
      <p:cxnSp>
        <p:nvCxnSpPr>
          <p:cNvPr id="45" name="Conn - Web to Services">
            <a:extLst>
              <a:ext uri="{FF2B5EF4-FFF2-40B4-BE49-F238E27FC236}">
                <a16:creationId xmlns:a16="http://schemas.microsoft.com/office/drawing/2014/main" id="{F1B6882F-7FA4-4379-AB3D-20DD2C536317}"/>
              </a:ext>
            </a:extLst>
          </p:cNvPr>
          <p:cNvCxnSpPr>
            <a:cxnSpLocks/>
            <a:stCxn id="4" idx="2"/>
            <a:endCxn id="5" idx="0"/>
          </p:cNvCxnSpPr>
          <p:nvPr/>
        </p:nvCxnSpPr>
        <p:spPr>
          <a:xfrm>
            <a:off x="3019125" y="2489167"/>
            <a:ext cx="2681" cy="60628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9" name="SF - Services - Container">
            <a:extLst>
              <a:ext uri="{FF2B5EF4-FFF2-40B4-BE49-F238E27FC236}">
                <a16:creationId xmlns:a16="http://schemas.microsoft.com/office/drawing/2014/main" id="{720B8C73-E396-47DD-AC3B-BD787D87696C}"/>
              </a:ext>
            </a:extLst>
          </p:cNvPr>
          <p:cNvPicPr>
            <a:picLocks noChangeAspect="1"/>
          </p:cNvPicPr>
          <p:nvPr/>
        </p:nvPicPr>
        <p:blipFill>
          <a:blip r:embed="rId6"/>
          <a:stretch>
            <a:fillRect/>
          </a:stretch>
        </p:blipFill>
        <p:spPr>
          <a:xfrm>
            <a:off x="1465494" y="3445088"/>
            <a:ext cx="432061" cy="432061"/>
          </a:xfrm>
          <a:prstGeom prst="rect">
            <a:avLst/>
          </a:prstGeom>
        </p:spPr>
      </p:pic>
      <p:sp>
        <p:nvSpPr>
          <p:cNvPr id="18" name="SF - Web - Box 3">
            <a:extLst>
              <a:ext uri="{FF2B5EF4-FFF2-40B4-BE49-F238E27FC236}">
                <a16:creationId xmlns:a16="http://schemas.microsoft.com/office/drawing/2014/main" id="{C9F22C49-DFCE-423C-98F3-9286404732A4}"/>
              </a:ext>
            </a:extLst>
          </p:cNvPr>
          <p:cNvSpPr/>
          <p:nvPr/>
        </p:nvSpPr>
        <p:spPr bwMode="auto">
          <a:xfrm>
            <a:off x="1465493" y="1635080"/>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17" name="SF - Web - Box 2">
            <a:extLst>
              <a:ext uri="{FF2B5EF4-FFF2-40B4-BE49-F238E27FC236}">
                <a16:creationId xmlns:a16="http://schemas.microsoft.com/office/drawing/2014/main" id="{3D53DB77-B600-461C-B9AF-B0E08A80C49C}"/>
              </a:ext>
            </a:extLst>
          </p:cNvPr>
          <p:cNvSpPr/>
          <p:nvPr/>
        </p:nvSpPr>
        <p:spPr bwMode="auto">
          <a:xfrm>
            <a:off x="1389461" y="1532574"/>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2353">
              <a:solidFill>
                <a:srgbClr val="505050"/>
              </a:solidFill>
              <a:latin typeface="Segoe UI Semilight"/>
              <a:ea typeface="Segoe UI" pitchFamily="34" charset="0"/>
              <a:cs typeface="Segoe UI" pitchFamily="34" charset="0"/>
            </a:endParaRPr>
          </a:p>
        </p:txBody>
      </p:sp>
      <p:sp>
        <p:nvSpPr>
          <p:cNvPr id="4" name="SF - Web">
            <a:extLst>
              <a:ext uri="{FF2B5EF4-FFF2-40B4-BE49-F238E27FC236}">
                <a16:creationId xmlns:a16="http://schemas.microsoft.com/office/drawing/2014/main" id="{CB2A68C2-6A79-4134-8A46-1C179007482A}"/>
              </a:ext>
            </a:extLst>
          </p:cNvPr>
          <p:cNvSpPr/>
          <p:nvPr/>
        </p:nvSpPr>
        <p:spPr bwMode="auto">
          <a:xfrm>
            <a:off x="1314769" y="1443487"/>
            <a:ext cx="3408711"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Web front-end</a:t>
            </a:r>
          </a:p>
          <a:p>
            <a:pPr marL="339192" algn="ctr" defTabSz="913927" fontAlgn="base">
              <a:lnSpc>
                <a:spcPct val="90000"/>
              </a:lnSpc>
              <a:spcBef>
                <a:spcPct val="0"/>
              </a:spcBef>
              <a:spcAft>
                <a:spcPct val="0"/>
              </a:spcAft>
              <a:defRPr/>
            </a:pPr>
            <a:r>
              <a:rPr lang="en-US" sz="1765">
                <a:solidFill>
                  <a:srgbClr val="505050"/>
                </a:solidFill>
                <a:latin typeface="Segoe UI Light"/>
                <a:ea typeface="Segoe UI" pitchFamily="34" charset="0"/>
                <a:cs typeface="Segoe UI" pitchFamily="34" charset="0"/>
              </a:rPr>
              <a:t>(Web Forms)</a:t>
            </a:r>
          </a:p>
        </p:txBody>
      </p:sp>
      <p:pic>
        <p:nvPicPr>
          <p:cNvPr id="43" name="SF - Web - Container">
            <a:extLst>
              <a:ext uri="{FF2B5EF4-FFF2-40B4-BE49-F238E27FC236}">
                <a16:creationId xmlns:a16="http://schemas.microsoft.com/office/drawing/2014/main" id="{886A7370-91D7-499F-97DF-0E56E05EB5F8}"/>
              </a:ext>
            </a:extLst>
          </p:cNvPr>
          <p:cNvPicPr>
            <a:picLocks noChangeAspect="1"/>
          </p:cNvPicPr>
          <p:nvPr/>
        </p:nvPicPr>
        <p:blipFill>
          <a:blip r:embed="rId6"/>
          <a:stretch>
            <a:fillRect/>
          </a:stretch>
        </p:blipFill>
        <p:spPr>
          <a:xfrm>
            <a:off x="1438368" y="1725859"/>
            <a:ext cx="432061" cy="432061"/>
          </a:xfrm>
          <a:prstGeom prst="rect">
            <a:avLst/>
          </a:prstGeom>
        </p:spPr>
      </p:pic>
      <p:cxnSp>
        <p:nvCxnSpPr>
          <p:cNvPr id="42" name="Conn - Twitter to Listener">
            <a:extLst>
              <a:ext uri="{FF2B5EF4-FFF2-40B4-BE49-F238E27FC236}">
                <a16:creationId xmlns:a16="http://schemas.microsoft.com/office/drawing/2014/main" id="{29095BBC-669B-43B3-9D2F-63F8B33D01E8}"/>
              </a:ext>
            </a:extLst>
          </p:cNvPr>
          <p:cNvCxnSpPr>
            <a:cxnSpLocks/>
            <a:stCxn id="41" idx="2"/>
            <a:endCxn id="75" idx="0"/>
          </p:cNvCxnSpPr>
          <p:nvPr/>
        </p:nvCxnSpPr>
        <p:spPr>
          <a:xfrm>
            <a:off x="7320600" y="1150859"/>
            <a:ext cx="425" cy="864832"/>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witter">
            <a:extLst>
              <a:ext uri="{FF2B5EF4-FFF2-40B4-BE49-F238E27FC236}">
                <a16:creationId xmlns:a16="http://schemas.microsoft.com/office/drawing/2014/main" id="{755F5BB6-EEB2-4BAE-B0B0-D87424553041}"/>
              </a:ext>
            </a:extLst>
          </p:cNvPr>
          <p:cNvSpPr/>
          <p:nvPr/>
        </p:nvSpPr>
        <p:spPr bwMode="auto">
          <a:xfrm>
            <a:off x="5964310" y="105178"/>
            <a:ext cx="2712580"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Twitter</a:t>
            </a:r>
          </a:p>
        </p:txBody>
      </p:sp>
      <p:cxnSp>
        <p:nvCxnSpPr>
          <p:cNvPr id="33" name="Straight Arrow Connector 32">
            <a:extLst>
              <a:ext uri="{FF2B5EF4-FFF2-40B4-BE49-F238E27FC236}">
                <a16:creationId xmlns:a16="http://schemas.microsoft.com/office/drawing/2014/main" id="{1E87B76A-AF40-4B80-8A2E-1CC8BE50A8DA}"/>
              </a:ext>
            </a:extLst>
          </p:cNvPr>
          <p:cNvCxnSpPr>
            <a:cxnSpLocks/>
            <a:stCxn id="23" idx="1"/>
            <a:endCxn id="22" idx="3"/>
          </p:cNvCxnSpPr>
          <p:nvPr/>
        </p:nvCxnSpPr>
        <p:spPr>
          <a:xfrm flipH="1">
            <a:off x="8690287" y="4449046"/>
            <a:ext cx="720276" cy="0"/>
          </a:xfrm>
          <a:prstGeom prst="straightConnector1">
            <a:avLst/>
          </a:prstGeom>
          <a:ln w="571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Azure Functions">
            <a:extLst>
              <a:ext uri="{FF2B5EF4-FFF2-40B4-BE49-F238E27FC236}">
                <a16:creationId xmlns:a16="http://schemas.microsoft.com/office/drawing/2014/main" id="{3F12B9B0-95D8-4B1B-8539-52F83334E148}"/>
              </a:ext>
            </a:extLst>
          </p:cNvPr>
          <p:cNvGrpSpPr/>
          <p:nvPr/>
        </p:nvGrpSpPr>
        <p:grpSpPr>
          <a:xfrm>
            <a:off x="9410562" y="3926205"/>
            <a:ext cx="2467138" cy="1045681"/>
            <a:chOff x="8982211" y="3156982"/>
            <a:chExt cx="2516966" cy="1066800"/>
          </a:xfrm>
        </p:grpSpPr>
        <p:sp>
          <p:nvSpPr>
            <p:cNvPr id="23" name="Rectangle 22">
              <a:extLst>
                <a:ext uri="{FF2B5EF4-FFF2-40B4-BE49-F238E27FC236}">
                  <a16:creationId xmlns:a16="http://schemas.microsoft.com/office/drawing/2014/main" id="{66200E0A-76E1-4909-A8C2-63A5B005020E}"/>
                </a:ext>
              </a:extLst>
            </p:cNvPr>
            <p:cNvSpPr/>
            <p:nvPr/>
          </p:nvSpPr>
          <p:spPr bwMode="auto">
            <a:xfrm>
              <a:off x="8982211" y="3156982"/>
              <a:ext cx="251696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505677"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Sentiment </a:t>
              </a:r>
              <a:br>
                <a:rPr lang="en-US" sz="2353">
                  <a:solidFill>
                    <a:srgbClr val="505050"/>
                  </a:solidFill>
                  <a:latin typeface="Segoe UI Semilight"/>
                  <a:ea typeface="Segoe UI" pitchFamily="34" charset="0"/>
                  <a:cs typeface="Segoe UI" pitchFamily="34" charset="0"/>
                </a:rPr>
              </a:br>
              <a:r>
                <a:rPr lang="en-US" sz="2353">
                  <a:solidFill>
                    <a:srgbClr val="505050"/>
                  </a:solidFill>
                  <a:latin typeface="Segoe UI Semilight"/>
                  <a:ea typeface="Segoe UI" pitchFamily="34" charset="0"/>
                  <a:cs typeface="Segoe UI" pitchFamily="34" charset="0"/>
                </a:rPr>
                <a:t>Analysis</a:t>
              </a:r>
            </a:p>
          </p:txBody>
        </p:sp>
        <p:pic>
          <p:nvPicPr>
            <p:cNvPr id="27" name="Picture 8" descr="Image result for azure functions logo transparent">
              <a:extLst>
                <a:ext uri="{FF2B5EF4-FFF2-40B4-BE49-F238E27FC236}">
                  <a16:creationId xmlns:a16="http://schemas.microsoft.com/office/drawing/2014/main" id="{DFB0AC60-F36C-41BA-A134-A7036CF44E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57780" y="3425051"/>
              <a:ext cx="536194" cy="53619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82" name="Conn - Listener to web">
            <a:extLst>
              <a:ext uri="{FF2B5EF4-FFF2-40B4-BE49-F238E27FC236}">
                <a16:creationId xmlns:a16="http://schemas.microsoft.com/office/drawing/2014/main" id="{F4B9236D-2E9B-452E-8502-3FB1BD38CC7F}"/>
              </a:ext>
            </a:extLst>
          </p:cNvPr>
          <p:cNvCxnSpPr>
            <a:cxnSpLocks/>
            <a:stCxn id="22" idx="1"/>
            <a:endCxn id="4" idx="3"/>
          </p:cNvCxnSpPr>
          <p:nvPr/>
        </p:nvCxnSpPr>
        <p:spPr>
          <a:xfrm rot="10800000">
            <a:off x="4723480" y="1966328"/>
            <a:ext cx="1254226" cy="2482718"/>
          </a:xfrm>
          <a:prstGeom prst="bentConnector3">
            <a:avLst>
              <a:gd name="adj1" fmla="val 50000"/>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4" name="Social listener">
            <a:extLst>
              <a:ext uri="{FF2B5EF4-FFF2-40B4-BE49-F238E27FC236}">
                <a16:creationId xmlns:a16="http://schemas.microsoft.com/office/drawing/2014/main" id="{5B31DD75-55F7-4619-A704-6340CA1440EA}"/>
              </a:ext>
            </a:extLst>
          </p:cNvPr>
          <p:cNvGrpSpPr/>
          <p:nvPr/>
        </p:nvGrpSpPr>
        <p:grpSpPr>
          <a:xfrm>
            <a:off x="5977707" y="3926205"/>
            <a:ext cx="2712580" cy="1045681"/>
            <a:chOff x="5660671" y="3156982"/>
            <a:chExt cx="2767366" cy="1066800"/>
          </a:xfrm>
        </p:grpSpPr>
        <p:sp>
          <p:nvSpPr>
            <p:cNvPr id="22" name="Rectangle 21">
              <a:extLst>
                <a:ext uri="{FF2B5EF4-FFF2-40B4-BE49-F238E27FC236}">
                  <a16:creationId xmlns:a16="http://schemas.microsoft.com/office/drawing/2014/main" id="{628AA6F1-FFD3-49A1-972C-AA639DAFEE13}"/>
                </a:ext>
              </a:extLst>
            </p:cNvPr>
            <p:cNvSpPr/>
            <p:nvPr/>
          </p:nvSpPr>
          <p:spPr bwMode="auto">
            <a:xfrm>
              <a:off x="5660671" y="3156982"/>
              <a:ext cx="2767366"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Listener</a:t>
              </a:r>
              <a:br>
                <a:rPr lang="en-US" sz="2353">
                  <a:solidFill>
                    <a:srgbClr val="505050"/>
                  </a:solidFill>
                  <a:latin typeface="Segoe UI Semilight"/>
                  <a:ea typeface="Segoe UI" pitchFamily="34" charset="0"/>
                  <a:cs typeface="Segoe UI" pitchFamily="34" charset="0"/>
                </a:rPr>
              </a:br>
              <a:r>
                <a:rPr lang="en-US" sz="1765">
                  <a:solidFill>
                    <a:srgbClr val="505050"/>
                  </a:solidFill>
                  <a:latin typeface="Segoe UI Semilight"/>
                  <a:ea typeface="Segoe UI" pitchFamily="34" charset="0"/>
                  <a:cs typeface="Segoe UI" pitchFamily="34" charset="0"/>
                </a:rPr>
                <a:t>(Stateless service)</a:t>
              </a:r>
            </a:p>
          </p:txBody>
        </p:sp>
        <p:pic>
          <p:nvPicPr>
            <p:cNvPr id="28" name="Picture 4" descr="Image result for service fabric azure">
              <a:extLst>
                <a:ext uri="{FF2B5EF4-FFF2-40B4-BE49-F238E27FC236}">
                  <a16:creationId xmlns:a16="http://schemas.microsoft.com/office/drawing/2014/main" id="{4C9E7F07-8ABE-4244-B786-57B73EBA0B8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5965"/>
            <a:stretch/>
          </p:blipFill>
          <p:spPr bwMode="auto">
            <a:xfrm>
              <a:off x="5735931" y="3391833"/>
              <a:ext cx="840473" cy="525074"/>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Checklist">
            <a:extLst>
              <a:ext uri="{FF2B5EF4-FFF2-40B4-BE49-F238E27FC236}">
                <a16:creationId xmlns:a16="http://schemas.microsoft.com/office/drawing/2014/main" id="{C63880A0-5B0A-46CC-873B-E8FF72C6CC9F}"/>
              </a:ext>
            </a:extLst>
          </p:cNvPr>
          <p:cNvSpPr txBox="1"/>
          <p:nvPr/>
        </p:nvSpPr>
        <p:spPr>
          <a:xfrm>
            <a:off x="9066795" y="4876813"/>
            <a:ext cx="3062689" cy="1819368"/>
          </a:xfrm>
          <a:prstGeom prst="rect">
            <a:avLst/>
          </a:prstGeom>
          <a:noFill/>
        </p:spPr>
        <p:txBody>
          <a:bodyPr wrap="square" lIns="179259" tIns="143407" rIns="179259" bIns="143407" rtlCol="0">
            <a:spAutoFit/>
          </a:bodyPr>
          <a:lstStyle/>
          <a:p>
            <a:pPr marL="448107" defTabSz="914192">
              <a:lnSpc>
                <a:spcPct val="90000"/>
              </a:lnSpc>
              <a:spcAft>
                <a:spcPts val="588"/>
              </a:spcAft>
              <a:defRPr/>
            </a:pPr>
            <a:endParaRPr lang="en-US" sz="2353">
              <a:gradFill>
                <a:gsLst>
                  <a:gs pos="2917">
                    <a:srgbClr val="505050"/>
                  </a:gs>
                  <a:gs pos="30000">
                    <a:srgbClr val="505050"/>
                  </a:gs>
                </a:gsLst>
                <a:lin ang="5400000" scaled="0"/>
              </a:gradFill>
              <a:latin typeface="Segoe UI Semilight"/>
            </a:endParaRP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Lift and Shift</a:t>
            </a: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Cloud Optimized</a:t>
            </a:r>
          </a:p>
          <a:p>
            <a:pPr marL="448107" defTabSz="914192">
              <a:lnSpc>
                <a:spcPct val="90000"/>
              </a:lnSpc>
              <a:spcAft>
                <a:spcPts val="588"/>
              </a:spcAft>
              <a:defRPr/>
            </a:pPr>
            <a:r>
              <a:rPr lang="en-US" sz="2353">
                <a:gradFill>
                  <a:gsLst>
                    <a:gs pos="2917">
                      <a:srgbClr val="505050"/>
                    </a:gs>
                    <a:gs pos="30000">
                      <a:srgbClr val="505050"/>
                    </a:gs>
                  </a:gsLst>
                  <a:lin ang="5400000" scaled="0"/>
                </a:gradFill>
                <a:latin typeface="Segoe UI Semilight"/>
              </a:rPr>
              <a:t>App Modernized</a:t>
            </a:r>
          </a:p>
        </p:txBody>
      </p:sp>
      <p:pic>
        <p:nvPicPr>
          <p:cNvPr id="78" name="Check 3">
            <a:extLst>
              <a:ext uri="{FF2B5EF4-FFF2-40B4-BE49-F238E27FC236}">
                <a16:creationId xmlns:a16="http://schemas.microsoft.com/office/drawing/2014/main" id="{32CD867C-2639-4576-8806-19EBF08AE29B}"/>
              </a:ext>
            </a:extLst>
          </p:cNvPr>
          <p:cNvPicPr>
            <a:picLocks noChangeAspect="1"/>
          </p:cNvPicPr>
          <p:nvPr/>
        </p:nvPicPr>
        <p:blipFill>
          <a:blip r:embed="rId8"/>
          <a:stretch>
            <a:fillRect/>
          </a:stretch>
        </p:blipFill>
        <p:spPr>
          <a:xfrm>
            <a:off x="9321963" y="6225779"/>
            <a:ext cx="262937" cy="322695"/>
          </a:xfrm>
          <a:prstGeom prst="rect">
            <a:avLst/>
          </a:prstGeom>
        </p:spPr>
      </p:pic>
      <p:pic>
        <p:nvPicPr>
          <p:cNvPr id="77" name="Check 2">
            <a:extLst>
              <a:ext uri="{FF2B5EF4-FFF2-40B4-BE49-F238E27FC236}">
                <a16:creationId xmlns:a16="http://schemas.microsoft.com/office/drawing/2014/main" id="{A7412F8D-A13B-46D4-86F2-BCC9B113A8A0}"/>
              </a:ext>
            </a:extLst>
          </p:cNvPr>
          <p:cNvPicPr>
            <a:picLocks noChangeAspect="1"/>
          </p:cNvPicPr>
          <p:nvPr/>
        </p:nvPicPr>
        <p:blipFill>
          <a:blip r:embed="rId8"/>
          <a:stretch>
            <a:fillRect/>
          </a:stretch>
        </p:blipFill>
        <p:spPr>
          <a:xfrm>
            <a:off x="9321964" y="5814289"/>
            <a:ext cx="262937" cy="322695"/>
          </a:xfrm>
          <a:prstGeom prst="rect">
            <a:avLst/>
          </a:prstGeom>
        </p:spPr>
      </p:pic>
      <p:pic>
        <p:nvPicPr>
          <p:cNvPr id="76" name="Check 1">
            <a:extLst>
              <a:ext uri="{FF2B5EF4-FFF2-40B4-BE49-F238E27FC236}">
                <a16:creationId xmlns:a16="http://schemas.microsoft.com/office/drawing/2014/main" id="{275F1E3F-73A2-42AE-AC78-859A4F203102}"/>
              </a:ext>
            </a:extLst>
          </p:cNvPr>
          <p:cNvPicPr>
            <a:picLocks noChangeAspect="1"/>
          </p:cNvPicPr>
          <p:nvPr/>
        </p:nvPicPr>
        <p:blipFill>
          <a:blip r:embed="rId8"/>
          <a:stretch>
            <a:fillRect/>
          </a:stretch>
        </p:blipFill>
        <p:spPr>
          <a:xfrm>
            <a:off x="9321964" y="5439451"/>
            <a:ext cx="262937" cy="322695"/>
          </a:xfrm>
          <a:prstGeom prst="rect">
            <a:avLst/>
          </a:prstGeom>
        </p:spPr>
      </p:pic>
      <p:pic>
        <p:nvPicPr>
          <p:cNvPr id="1026" name="Picture 2" descr="Image result for twitter icon official 2017">
            <a:extLst>
              <a:ext uri="{FF2B5EF4-FFF2-40B4-BE49-F238E27FC236}">
                <a16:creationId xmlns:a16="http://schemas.microsoft.com/office/drawing/2014/main" id="{436AAFAE-9B64-405C-AAD2-3B73F1F9E7B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76241" y="425027"/>
            <a:ext cx="487098" cy="3960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close up of a sign&#10;&#10;Description generated with very high confidence">
            <a:extLst>
              <a:ext uri="{FF2B5EF4-FFF2-40B4-BE49-F238E27FC236}">
                <a16:creationId xmlns:a16="http://schemas.microsoft.com/office/drawing/2014/main" id="{4383DFFC-3D88-469F-A7DA-5DC8B946C1F5}"/>
              </a:ext>
            </a:extLst>
          </p:cNvPr>
          <p:cNvPicPr>
            <a:picLocks noChangeAspect="1"/>
          </p:cNvPicPr>
          <p:nvPr/>
        </p:nvPicPr>
        <p:blipFill>
          <a:blip r:embed="rId10"/>
          <a:stretch>
            <a:fillRect/>
          </a:stretch>
        </p:blipFill>
        <p:spPr>
          <a:xfrm>
            <a:off x="20685" y="-203602"/>
            <a:ext cx="1667579" cy="1667579"/>
          </a:xfrm>
          <a:prstGeom prst="rect">
            <a:avLst/>
          </a:prstGeom>
        </p:spPr>
      </p:pic>
      <p:grpSp>
        <p:nvGrpSpPr>
          <p:cNvPr id="67" name="Cosmos DB">
            <a:extLst>
              <a:ext uri="{FF2B5EF4-FFF2-40B4-BE49-F238E27FC236}">
                <a16:creationId xmlns:a16="http://schemas.microsoft.com/office/drawing/2014/main" id="{5DD4450E-2D4A-44FC-AE69-6F556496D848}"/>
              </a:ext>
            </a:extLst>
          </p:cNvPr>
          <p:cNvGrpSpPr/>
          <p:nvPr/>
        </p:nvGrpSpPr>
        <p:grpSpPr>
          <a:xfrm>
            <a:off x="9200099" y="2063501"/>
            <a:ext cx="2789956" cy="1045681"/>
            <a:chOff x="5576263" y="5135544"/>
            <a:chExt cx="2846303" cy="1066800"/>
          </a:xfrm>
        </p:grpSpPr>
        <p:sp>
          <p:nvSpPr>
            <p:cNvPr id="68" name="Rectangle 67">
              <a:extLst>
                <a:ext uri="{FF2B5EF4-FFF2-40B4-BE49-F238E27FC236}">
                  <a16:creationId xmlns:a16="http://schemas.microsoft.com/office/drawing/2014/main" id="{E70369AA-2C85-45EC-A9B1-983D28A30F64}"/>
                </a:ext>
              </a:extLst>
            </p:cNvPr>
            <p:cNvSpPr/>
            <p:nvPr/>
          </p:nvSpPr>
          <p:spPr bwMode="auto">
            <a:xfrm>
              <a:off x="5655199" y="5135544"/>
              <a:ext cx="2767367" cy="1066800"/>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r>
                <a:rPr lang="en-US" sz="2353">
                  <a:solidFill>
                    <a:srgbClr val="505050"/>
                  </a:solidFill>
                  <a:latin typeface="Segoe UI Semilight"/>
                  <a:ea typeface="Segoe UI" pitchFamily="34" charset="0"/>
                  <a:cs typeface="Segoe UI" pitchFamily="34" charset="0"/>
                </a:rPr>
                <a:t>Tweets DB</a:t>
              </a:r>
            </a:p>
            <a:p>
              <a:pPr marL="339192" algn="ctr" defTabSz="913927" fontAlgn="base">
                <a:lnSpc>
                  <a:spcPct val="90000"/>
                </a:lnSpc>
                <a:spcBef>
                  <a:spcPct val="0"/>
                </a:spcBef>
                <a:spcAft>
                  <a:spcPct val="0"/>
                </a:spcAft>
                <a:defRPr/>
              </a:pPr>
              <a:r>
                <a:rPr lang="en-US" sz="1765">
                  <a:solidFill>
                    <a:srgbClr val="505050"/>
                  </a:solidFill>
                  <a:latin typeface="Segoe UI Semilight"/>
                  <a:ea typeface="Segoe UI" pitchFamily="34" charset="0"/>
                  <a:cs typeface="Segoe UI" pitchFamily="34" charset="0"/>
                </a:rPr>
                <a:t>(Cosmos DB)</a:t>
              </a:r>
            </a:p>
          </p:txBody>
        </p:sp>
        <p:pic>
          <p:nvPicPr>
            <p:cNvPr id="69" name="Picture 10" descr="Image result for cosmos db logo transparent">
              <a:extLst>
                <a:ext uri="{FF2B5EF4-FFF2-40B4-BE49-F238E27FC236}">
                  <a16:creationId xmlns:a16="http://schemas.microsoft.com/office/drawing/2014/main" id="{56D20370-F226-4881-8E66-B91329AEDE8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76263" y="5361350"/>
              <a:ext cx="1030309" cy="540912"/>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witter">
            <a:extLst>
              <a:ext uri="{FF2B5EF4-FFF2-40B4-BE49-F238E27FC236}">
                <a16:creationId xmlns:a16="http://schemas.microsoft.com/office/drawing/2014/main" id="{C45D1470-F77B-46CC-97A5-527E97257162}"/>
              </a:ext>
            </a:extLst>
          </p:cNvPr>
          <p:cNvSpPr/>
          <p:nvPr/>
        </p:nvSpPr>
        <p:spPr bwMode="auto">
          <a:xfrm>
            <a:off x="5964736" y="2015691"/>
            <a:ext cx="2712580" cy="1045681"/>
          </a:xfrm>
          <a:prstGeom prst="rect">
            <a:avLst/>
          </a:prstGeom>
          <a:solidFill>
            <a:schemeClr val="accent4"/>
          </a:solidFill>
          <a:ln w="19050">
            <a:solidFill>
              <a:srgbClr val="73737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339192" algn="ctr" defTabSz="913927" fontAlgn="base">
              <a:lnSpc>
                <a:spcPct val="90000"/>
              </a:lnSpc>
              <a:spcBef>
                <a:spcPct val="0"/>
              </a:spcBef>
              <a:spcAft>
                <a:spcPct val="0"/>
              </a:spcAft>
              <a:defRPr/>
            </a:pPr>
            <a:endParaRPr lang="en-US" sz="1961">
              <a:solidFill>
                <a:srgbClr val="505050"/>
              </a:solidFill>
              <a:latin typeface="Segoe UI Semilight"/>
              <a:ea typeface="Segoe UI" pitchFamily="34" charset="0"/>
              <a:cs typeface="Segoe UI" pitchFamily="34" charset="0"/>
            </a:endParaRPr>
          </a:p>
        </p:txBody>
      </p:sp>
      <p:pic>
        <p:nvPicPr>
          <p:cNvPr id="79" name="Picture 2" descr="Image result for Logic Apps Logo">
            <a:extLst>
              <a:ext uri="{FF2B5EF4-FFF2-40B4-BE49-F238E27FC236}">
                <a16:creationId xmlns:a16="http://schemas.microsoft.com/office/drawing/2014/main" id="{42C5CC25-DFFC-4130-915D-B31F8F1005A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98432" y="2298402"/>
            <a:ext cx="1129923" cy="593209"/>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031282C2-7D20-46CA-968D-76EF44878CEC}"/>
              </a:ext>
            </a:extLst>
          </p:cNvPr>
          <p:cNvSpPr/>
          <p:nvPr/>
        </p:nvSpPr>
        <p:spPr>
          <a:xfrm>
            <a:off x="6786241" y="2215524"/>
            <a:ext cx="1945810" cy="633625"/>
          </a:xfrm>
          <a:prstGeom prst="rect">
            <a:avLst/>
          </a:prstGeom>
        </p:spPr>
        <p:txBody>
          <a:bodyPr wrap="square">
            <a:spAutoFit/>
          </a:bodyPr>
          <a:lstStyle/>
          <a:p>
            <a:pPr defTabSz="914367">
              <a:defRPr/>
            </a:pPr>
            <a:r>
              <a:rPr lang="en-US" sz="1765">
                <a:solidFill>
                  <a:srgbClr val="505050"/>
                </a:solidFill>
                <a:latin typeface="Segoe UI Semilight"/>
                <a:ea typeface="Segoe UI" pitchFamily="34" charset="0"/>
                <a:cs typeface="Segoe UI" pitchFamily="34" charset="0"/>
              </a:rPr>
              <a:t>Twitter to Cosmos</a:t>
            </a:r>
          </a:p>
          <a:p>
            <a:pPr defTabSz="914367">
              <a:defRPr/>
            </a:pPr>
            <a:r>
              <a:rPr lang="en-US" sz="1765">
                <a:solidFill>
                  <a:srgbClr val="505050"/>
                </a:solidFill>
                <a:latin typeface="Segoe UI Semilight"/>
                <a:ea typeface="Segoe UI" pitchFamily="34" charset="0"/>
                <a:cs typeface="Segoe UI" pitchFamily="34" charset="0"/>
              </a:rPr>
              <a:t>(</a:t>
            </a:r>
            <a:r>
              <a:rPr lang="en-US" sz="1765" err="1">
                <a:solidFill>
                  <a:srgbClr val="505050"/>
                </a:solidFill>
                <a:latin typeface="Segoe UI Semilight"/>
                <a:ea typeface="Segoe UI" pitchFamily="34" charset="0"/>
                <a:cs typeface="Segoe UI" pitchFamily="34" charset="0"/>
              </a:rPr>
              <a:t>LogicApps</a:t>
            </a:r>
            <a:r>
              <a:rPr lang="en-US" sz="1765">
                <a:solidFill>
                  <a:srgbClr val="505050"/>
                </a:solidFill>
                <a:latin typeface="Segoe UI Semilight"/>
                <a:ea typeface="Segoe UI" pitchFamily="34" charset="0"/>
                <a:cs typeface="Segoe UI" pitchFamily="34" charset="0"/>
              </a:rPr>
              <a:t>)</a:t>
            </a:r>
          </a:p>
        </p:txBody>
      </p:sp>
      <p:cxnSp>
        <p:nvCxnSpPr>
          <p:cNvPr id="81" name="Conn - Twitter to Listener">
            <a:extLst>
              <a:ext uri="{FF2B5EF4-FFF2-40B4-BE49-F238E27FC236}">
                <a16:creationId xmlns:a16="http://schemas.microsoft.com/office/drawing/2014/main" id="{16E588C8-03F0-4DD2-ABC2-77A0B65AECC6}"/>
              </a:ext>
            </a:extLst>
          </p:cNvPr>
          <p:cNvCxnSpPr>
            <a:cxnSpLocks/>
            <a:stCxn id="75" idx="3"/>
            <a:endCxn id="69" idx="1"/>
          </p:cNvCxnSpPr>
          <p:nvPr/>
        </p:nvCxnSpPr>
        <p:spPr>
          <a:xfrm>
            <a:off x="8677316" y="2538532"/>
            <a:ext cx="522784" cy="1140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Conn - Twitter to Listener">
            <a:extLst>
              <a:ext uri="{FF2B5EF4-FFF2-40B4-BE49-F238E27FC236}">
                <a16:creationId xmlns:a16="http://schemas.microsoft.com/office/drawing/2014/main" id="{87CD9892-FD21-4C67-99B5-72CAA0446CE6}"/>
              </a:ext>
            </a:extLst>
          </p:cNvPr>
          <p:cNvCxnSpPr>
            <a:cxnSpLocks/>
            <a:stCxn id="68" idx="2"/>
            <a:endCxn id="23" idx="0"/>
          </p:cNvCxnSpPr>
          <p:nvPr/>
        </p:nvCxnSpPr>
        <p:spPr>
          <a:xfrm>
            <a:off x="10633765" y="3109182"/>
            <a:ext cx="10367" cy="817024"/>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3A9B8A3-3B2D-4D23-A4E0-68C7F9032D5B}"/>
              </a:ext>
            </a:extLst>
          </p:cNvPr>
          <p:cNvSpPr/>
          <p:nvPr/>
        </p:nvSpPr>
        <p:spPr bwMode="auto">
          <a:xfrm>
            <a:off x="-306372" y="-101559"/>
            <a:ext cx="12568157" cy="70611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A9FF226F-9B1C-477F-A95C-600040450B78}"/>
              </a:ext>
            </a:extLst>
          </p:cNvPr>
          <p:cNvSpPr/>
          <p:nvPr/>
        </p:nvSpPr>
        <p:spPr bwMode="auto">
          <a:xfrm>
            <a:off x="1668710" y="2703156"/>
            <a:ext cx="7378532"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a:gradFill>
                  <a:gsLst>
                    <a:gs pos="0">
                      <a:srgbClr val="FFFFFF"/>
                    </a:gs>
                    <a:gs pos="100000">
                      <a:srgbClr val="FFFFFF"/>
                    </a:gs>
                  </a:gsLst>
                  <a:lin ang="5400000" scaled="0"/>
                </a:gradFill>
                <a:latin typeface="Segoe UI Semilight"/>
                <a:ea typeface="Segoe UI" pitchFamily="34" charset="0"/>
                <a:cs typeface="Segoe UI" pitchFamily="34" charset="0"/>
              </a:rPr>
              <a:t>Demo</a:t>
            </a:r>
          </a:p>
        </p:txBody>
      </p:sp>
    </p:spTree>
    <p:extLst>
      <p:ext uri="{BB962C8B-B14F-4D97-AF65-F5344CB8AC3E}">
        <p14:creationId xmlns:p14="http://schemas.microsoft.com/office/powerpoint/2010/main" val="19408146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
                                        <p:tgtEl>
                                          <p:spTgt spid="106"/>
                                        </p:tgtEl>
                                      </p:cBhvr>
                                    </p:animEffect>
                                    <p:set>
                                      <p:cBhvr>
                                        <p:cTn id="7" dur="1" fill="hold">
                                          <p:stCondLst>
                                            <p:cond delay="9"/>
                                          </p:stCondLst>
                                        </p:cTn>
                                        <p:tgtEl>
                                          <p:spTgt spid="10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10"/>
                                        <p:tgtEl>
                                          <p:spTgt spid="105"/>
                                        </p:tgtEl>
                                      </p:cBhvr>
                                    </p:animEffect>
                                  </p:childTnLst>
                                </p:cTn>
                              </p:par>
                              <p:par>
                                <p:cTn id="11" presetID="10" presetClass="exit" presetSubtype="0" fill="hold" grpId="0" nodeType="withEffect">
                                  <p:stCondLst>
                                    <p:cond delay="0"/>
                                  </p:stCondLst>
                                  <p:childTnLst>
                                    <p:animEffect transition="out" filter="fade">
                                      <p:cBhvr>
                                        <p:cTn id="12" dur="10"/>
                                        <p:tgtEl>
                                          <p:spTgt spid="107"/>
                                        </p:tgtEl>
                                      </p:cBhvr>
                                    </p:animEffect>
                                    <p:set>
                                      <p:cBhvr>
                                        <p:cTn id="13" dur="1" fill="hold">
                                          <p:stCondLst>
                                            <p:cond delay="9"/>
                                          </p:stCondLst>
                                        </p:cTn>
                                        <p:tgtEl>
                                          <p:spTgt spid="107"/>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92"/>
                                        </p:tgtEl>
                                        <p:attrNameLst>
                                          <p:attrName>style.visibility</p:attrName>
                                        </p:attrNameLst>
                                      </p:cBhvr>
                                      <p:to>
                                        <p:strVal val="visible"/>
                                      </p:to>
                                    </p:set>
                                    <p:animEffect transition="in" filter="fade">
                                      <p:cBhvr>
                                        <p:cTn id="16" dur="10"/>
                                        <p:tgtEl>
                                          <p:spTgt spid="92"/>
                                        </p:tgtEl>
                                      </p:cBhvr>
                                    </p:animEffect>
                                  </p:childTnLst>
                                </p:cTn>
                              </p:par>
                              <p:par>
                                <p:cTn id="17" presetID="10" presetClass="entr" presetSubtype="0" fill="hold" nodeType="withEffect">
                                  <p:stCondLst>
                                    <p:cond delay="0"/>
                                  </p:stCondLst>
                                  <p:childTnLst>
                                    <p:set>
                                      <p:cBhvr>
                                        <p:cTn id="18" dur="1" fill="hold">
                                          <p:stCondLst>
                                            <p:cond delay="0"/>
                                          </p:stCondLst>
                                        </p:cTn>
                                        <p:tgtEl>
                                          <p:spTgt spid="50">
                                            <p:txEl>
                                              <p:pRg st="1" end="1"/>
                                            </p:txEl>
                                          </p:spTgt>
                                        </p:tgtEl>
                                        <p:attrNameLst>
                                          <p:attrName>style.visibility</p:attrName>
                                        </p:attrNameLst>
                                      </p:cBhvr>
                                      <p:to>
                                        <p:strVal val="visible"/>
                                      </p:to>
                                    </p:set>
                                    <p:animEffect transition="in" filter="fade">
                                      <p:cBhvr>
                                        <p:cTn id="19" dur="10"/>
                                        <p:tgtEl>
                                          <p:spTgt spid="50">
                                            <p:txEl>
                                              <p:pRg st="1" end="1"/>
                                            </p:txEl>
                                          </p:spTgt>
                                        </p:tgtEl>
                                      </p:cBhvr>
                                    </p:animEffect>
                                  </p:childTnLst>
                                </p:cTn>
                              </p:par>
                              <p:par>
                                <p:cTn id="20" presetID="1" presetClass="emph" presetSubtype="2" fill="hold" nodeType="withEffect">
                                  <p:stCondLst>
                                    <p:cond delay="0"/>
                                  </p:stCondLst>
                                  <p:childTnLst>
                                    <p:animClr clrSpc="rgb" dir="cw">
                                      <p:cBhvr>
                                        <p:cTn id="21" dur="10" fill="hold"/>
                                        <p:tgtEl>
                                          <p:spTgt spid="91"/>
                                        </p:tgtEl>
                                        <p:attrNameLst>
                                          <p:attrName>fillcolor</p:attrName>
                                        </p:attrNameLst>
                                      </p:cBhvr>
                                      <p:to>
                                        <a:srgbClr val="C4E4FF"/>
                                      </p:to>
                                    </p:animClr>
                                    <p:set>
                                      <p:cBhvr>
                                        <p:cTn id="22" dur="10" fill="hold"/>
                                        <p:tgtEl>
                                          <p:spTgt spid="91"/>
                                        </p:tgtEl>
                                        <p:attrNameLst>
                                          <p:attrName>fill.type</p:attrName>
                                        </p:attrNameLst>
                                      </p:cBhvr>
                                      <p:to>
                                        <p:strVal val="solid"/>
                                      </p:to>
                                    </p:set>
                                    <p:set>
                                      <p:cBhvr>
                                        <p:cTn id="23" dur="10" fill="hold"/>
                                        <p:tgtEl>
                                          <p:spTgt spid="91"/>
                                        </p:tgtEl>
                                        <p:attrNameLst>
                                          <p:attrName>fill.on</p:attrName>
                                        </p:attrNameLst>
                                      </p:cBhvr>
                                      <p:to>
                                        <p:strVal val="true"/>
                                      </p:to>
                                    </p:set>
                                  </p:childTnLst>
                                </p:cTn>
                              </p:par>
                              <p:par>
                                <p:cTn id="24" presetID="1" presetClass="emph" presetSubtype="2" fill="hold" nodeType="withEffect">
                                  <p:stCondLst>
                                    <p:cond delay="0"/>
                                  </p:stCondLst>
                                  <p:childTnLst>
                                    <p:animClr clrSpc="rgb" dir="cw">
                                      <p:cBhvr>
                                        <p:cTn id="25" dur="10" fill="hold"/>
                                        <p:tgtEl>
                                          <p:spTgt spid="103"/>
                                        </p:tgtEl>
                                        <p:attrNameLst>
                                          <p:attrName>fillcolor</p:attrName>
                                        </p:attrNameLst>
                                      </p:cBhvr>
                                      <p:to>
                                        <a:srgbClr val="C4E4FF"/>
                                      </p:to>
                                    </p:animClr>
                                    <p:set>
                                      <p:cBhvr>
                                        <p:cTn id="26" dur="10" fill="hold"/>
                                        <p:tgtEl>
                                          <p:spTgt spid="103"/>
                                        </p:tgtEl>
                                        <p:attrNameLst>
                                          <p:attrName>fill.type</p:attrName>
                                        </p:attrNameLst>
                                      </p:cBhvr>
                                      <p:to>
                                        <p:strVal val="solid"/>
                                      </p:to>
                                    </p:set>
                                    <p:set>
                                      <p:cBhvr>
                                        <p:cTn id="27" dur="10" fill="hold"/>
                                        <p:tgtEl>
                                          <p:spTgt spid="103"/>
                                        </p:tgtEl>
                                        <p:attrNameLst>
                                          <p:attrName>fill.on</p:attrName>
                                        </p:attrNameLst>
                                      </p:cBhvr>
                                      <p:to>
                                        <p:strVal val="true"/>
                                      </p:to>
                                    </p:set>
                                  </p:childTnLst>
                                </p:cTn>
                              </p:par>
                              <p:par>
                                <p:cTn id="28" presetID="10" presetClass="entr" presetSubtype="0" fill="hold" nodeType="withEffect">
                                  <p:stCondLst>
                                    <p:cond delay="0"/>
                                  </p:stCondLst>
                                  <p:childTnLst>
                                    <p:set>
                                      <p:cBhvr>
                                        <p:cTn id="29" dur="1" fill="hold">
                                          <p:stCondLst>
                                            <p:cond delay="0"/>
                                          </p:stCondLst>
                                        </p:cTn>
                                        <p:tgtEl>
                                          <p:spTgt spid="76"/>
                                        </p:tgtEl>
                                        <p:attrNameLst>
                                          <p:attrName>style.visibility</p:attrName>
                                        </p:attrNameLst>
                                      </p:cBhvr>
                                      <p:to>
                                        <p:strVal val="visible"/>
                                      </p:to>
                                    </p:set>
                                    <p:animEffect transition="in" filter="fade">
                                      <p:cBhvr>
                                        <p:cTn id="30" dur="10"/>
                                        <p:tgtEl>
                                          <p:spTgt spid="76"/>
                                        </p:tgtEl>
                                      </p:cBhvr>
                                    </p:animEffect>
                                  </p:childTnLst>
                                </p:cTn>
                              </p:par>
                              <p:par>
                                <p:cTn id="31" presetID="10" presetClass="exit" presetSubtype="0" fill="hold" grpId="0" nodeType="withEffect">
                                  <p:stCondLst>
                                    <p:cond delay="0"/>
                                  </p:stCondLst>
                                  <p:childTnLst>
                                    <p:animEffect transition="out" filter="fade">
                                      <p:cBhvr>
                                        <p:cTn id="32" dur="10"/>
                                        <p:tgtEl>
                                          <p:spTgt spid="103"/>
                                        </p:tgtEl>
                                      </p:cBhvr>
                                    </p:animEffect>
                                    <p:set>
                                      <p:cBhvr>
                                        <p:cTn id="33" dur="1" fill="hold">
                                          <p:stCondLst>
                                            <p:cond delay="9"/>
                                          </p:stCondLst>
                                        </p:cTn>
                                        <p:tgtEl>
                                          <p:spTgt spid="103"/>
                                        </p:tgtEl>
                                        <p:attrNameLst>
                                          <p:attrName>style.visibility</p:attrName>
                                        </p:attrNameLst>
                                      </p:cBhvr>
                                      <p:to>
                                        <p:strVal val="hidden"/>
                                      </p:to>
                                    </p:set>
                                  </p:childTnLst>
                                </p:cTn>
                              </p:par>
                              <p:par>
                                <p:cTn id="34" presetID="10" presetClass="entr" presetSubtype="0"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10"/>
                                        <p:tgtEl>
                                          <p:spTgt spid="11"/>
                                        </p:tgtEl>
                                      </p:cBhvr>
                                    </p:animEffect>
                                  </p:childTnLst>
                                </p:cTn>
                              </p:par>
                              <p:par>
                                <p:cTn id="37" presetID="10" presetClass="entr" presetSubtype="0" fill="hold" nodeType="with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10"/>
                                        <p:tgtEl>
                                          <p:spTgt spid="62"/>
                                        </p:tgtEl>
                                      </p:cBhvr>
                                    </p:animEffect>
                                  </p:childTnLst>
                                </p:cTn>
                              </p:par>
                              <p:par>
                                <p:cTn id="40" presetID="10" presetClass="entr" presetSubtype="0" fill="hold"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10"/>
                                        <p:tgtEl>
                                          <p:spTgt spid="63"/>
                                        </p:tgtEl>
                                      </p:cBhvr>
                                    </p:animEffect>
                                  </p:childTnLst>
                                </p:cTn>
                              </p:par>
                              <p:par>
                                <p:cTn id="43" presetID="10" presetClass="entr" presetSubtype="0" fill="hold" nodeType="with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10"/>
                                        <p:tgtEl>
                                          <p:spTgt spid="43"/>
                                        </p:tgtEl>
                                      </p:cBhvr>
                                    </p:animEffect>
                                  </p:childTnLst>
                                </p:cTn>
                              </p:par>
                              <p:par>
                                <p:cTn id="46" presetID="22" presetClass="entr" presetSubtype="1" fill="hold" grpId="0"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wipe(up)">
                                      <p:cBhvr>
                                        <p:cTn id="48" dur="10"/>
                                        <p:tgtEl>
                                          <p:spTgt spid="17"/>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up)">
                                      <p:cBhvr>
                                        <p:cTn id="51" dur="10"/>
                                        <p:tgtEl>
                                          <p:spTgt spid="18"/>
                                        </p:tgtEl>
                                      </p:cBhvr>
                                    </p:animEffect>
                                  </p:childTnLst>
                                </p:cTn>
                              </p:par>
                              <p:par>
                                <p:cTn id="52" presetID="10" presetClass="entr" presetSubtype="0" fill="hold" nodeType="with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10"/>
                                        <p:tgtEl>
                                          <p:spTgt spid="19"/>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21"/>
                                        </p:tgtEl>
                                        <p:attrNameLst>
                                          <p:attrName>style.visibility</p:attrName>
                                        </p:attrNameLst>
                                      </p:cBhvr>
                                      <p:to>
                                        <p:strVal val="visible"/>
                                      </p:to>
                                    </p:set>
                                    <p:animEffect transition="in" filter="wipe(up)">
                                      <p:cBhvr>
                                        <p:cTn id="57" dur="10"/>
                                        <p:tgtEl>
                                          <p:spTgt spid="21"/>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wipe(up)">
                                      <p:cBhvr>
                                        <p:cTn id="60" dur="10"/>
                                        <p:tgtEl>
                                          <p:spTgt spid="20"/>
                                        </p:tgtEl>
                                      </p:cBhvr>
                                    </p:animEffect>
                                  </p:childTnLst>
                                </p:cTn>
                              </p:par>
                              <p:par>
                                <p:cTn id="61" presetID="10" presetClass="exit" presetSubtype="0" fill="hold" grpId="0" nodeType="withEffect">
                                  <p:stCondLst>
                                    <p:cond delay="0"/>
                                  </p:stCondLst>
                                  <p:childTnLst>
                                    <p:animEffect transition="out" filter="fade">
                                      <p:cBhvr>
                                        <p:cTn id="62" dur="10"/>
                                        <p:tgtEl>
                                          <p:spTgt spid="91"/>
                                        </p:tgtEl>
                                      </p:cBhvr>
                                    </p:animEffect>
                                    <p:set>
                                      <p:cBhvr>
                                        <p:cTn id="63" dur="1" fill="hold">
                                          <p:stCondLst>
                                            <p:cond delay="9"/>
                                          </p:stCondLst>
                                        </p:cTn>
                                        <p:tgtEl>
                                          <p:spTgt spid="91"/>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10"/>
                                        <p:tgtEl>
                                          <p:spTgt spid="92"/>
                                        </p:tgtEl>
                                      </p:cBhvr>
                                    </p:animEffect>
                                    <p:set>
                                      <p:cBhvr>
                                        <p:cTn id="66" dur="1" fill="hold">
                                          <p:stCondLst>
                                            <p:cond delay="9"/>
                                          </p:stCondLst>
                                        </p:cTn>
                                        <p:tgtEl>
                                          <p:spTgt spid="92"/>
                                        </p:tgtEl>
                                        <p:attrNameLst>
                                          <p:attrName>style.visibility</p:attrName>
                                        </p:attrNameLst>
                                      </p:cBhvr>
                                      <p:to>
                                        <p:strVal val="hidden"/>
                                      </p:to>
                                    </p:set>
                                  </p:childTnLst>
                                </p:cTn>
                              </p:par>
                              <p:par>
                                <p:cTn id="67" presetID="10" presetClass="entr" presetSubtype="0" fill="hold" nodeType="withEffect">
                                  <p:stCondLst>
                                    <p:cond delay="0"/>
                                  </p:stCondLst>
                                  <p:childTnLst>
                                    <p:set>
                                      <p:cBhvr>
                                        <p:cTn id="68" dur="1" fill="hold">
                                          <p:stCondLst>
                                            <p:cond delay="0"/>
                                          </p:stCondLst>
                                        </p:cTn>
                                        <p:tgtEl>
                                          <p:spTgt spid="74"/>
                                        </p:tgtEl>
                                        <p:attrNameLst>
                                          <p:attrName>style.visibility</p:attrName>
                                        </p:attrNameLst>
                                      </p:cBhvr>
                                      <p:to>
                                        <p:strVal val="visible"/>
                                      </p:to>
                                    </p:set>
                                    <p:animEffect transition="in" filter="fade">
                                      <p:cBhvr>
                                        <p:cTn id="69" dur="10"/>
                                        <p:tgtEl>
                                          <p:spTgt spid="74"/>
                                        </p:tgtEl>
                                      </p:cBhvr>
                                    </p:animEffect>
                                  </p:childTnLst>
                                </p:cTn>
                              </p:par>
                              <p:par>
                                <p:cTn id="70" presetID="10" presetClass="entr" presetSubtype="0" fill="hold" nodeType="withEffect">
                                  <p:stCondLst>
                                    <p:cond delay="0"/>
                                  </p:stCondLst>
                                  <p:childTnLst>
                                    <p:set>
                                      <p:cBhvr>
                                        <p:cTn id="71" dur="1" fill="hold">
                                          <p:stCondLst>
                                            <p:cond delay="0"/>
                                          </p:stCondLst>
                                        </p:cTn>
                                        <p:tgtEl>
                                          <p:spTgt spid="50">
                                            <p:txEl>
                                              <p:pRg st="2" end="2"/>
                                            </p:txEl>
                                          </p:spTgt>
                                        </p:tgtEl>
                                        <p:attrNameLst>
                                          <p:attrName>style.visibility</p:attrName>
                                        </p:attrNameLst>
                                      </p:cBhvr>
                                      <p:to>
                                        <p:strVal val="visible"/>
                                      </p:to>
                                    </p:set>
                                    <p:animEffect transition="in" filter="fade">
                                      <p:cBhvr>
                                        <p:cTn id="72" dur="10"/>
                                        <p:tgtEl>
                                          <p:spTgt spid="50">
                                            <p:txEl>
                                              <p:pRg st="2" end="2"/>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77"/>
                                        </p:tgtEl>
                                        <p:attrNameLst>
                                          <p:attrName>style.visibility</p:attrName>
                                        </p:attrNameLst>
                                      </p:cBhvr>
                                      <p:to>
                                        <p:strVal val="visible"/>
                                      </p:to>
                                    </p:set>
                                    <p:animEffect transition="in" filter="fade">
                                      <p:cBhvr>
                                        <p:cTn id="75" dur="10"/>
                                        <p:tgtEl>
                                          <p:spTgt spid="77"/>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1"/>
                                        </p:tgtEl>
                                        <p:attrNameLst>
                                          <p:attrName>style.visibility</p:attrName>
                                        </p:attrNameLst>
                                      </p:cBhvr>
                                      <p:to>
                                        <p:strVal val="visible"/>
                                      </p:to>
                                    </p:set>
                                    <p:animEffect transition="in" filter="fade">
                                      <p:cBhvr>
                                        <p:cTn id="80" dur="500"/>
                                        <p:tgtEl>
                                          <p:spTgt spid="41"/>
                                        </p:tgtEl>
                                      </p:cBhvr>
                                    </p:animEffect>
                                  </p:childTnLst>
                                </p:cTn>
                              </p:par>
                              <p:par>
                                <p:cTn id="81" presetID="10" presetClass="entr" presetSubtype="0" fill="hold" nodeType="withEffect">
                                  <p:stCondLst>
                                    <p:cond delay="0"/>
                                  </p:stCondLst>
                                  <p:childTnLst>
                                    <p:set>
                                      <p:cBhvr>
                                        <p:cTn id="82" dur="1" fill="hold">
                                          <p:stCondLst>
                                            <p:cond delay="0"/>
                                          </p:stCondLst>
                                        </p:cTn>
                                        <p:tgtEl>
                                          <p:spTgt spid="1026"/>
                                        </p:tgtEl>
                                        <p:attrNameLst>
                                          <p:attrName>style.visibility</p:attrName>
                                        </p:attrNameLst>
                                      </p:cBhvr>
                                      <p:to>
                                        <p:strVal val="visible"/>
                                      </p:to>
                                    </p:set>
                                    <p:animEffect transition="in" filter="fade">
                                      <p:cBhvr>
                                        <p:cTn id="83" dur="500"/>
                                        <p:tgtEl>
                                          <p:spTgt spid="1026"/>
                                        </p:tgtEl>
                                      </p:cBhvr>
                                    </p:animEffect>
                                  </p:childTnLst>
                                </p:cTn>
                              </p:par>
                            </p:childTnLst>
                          </p:cTn>
                        </p:par>
                        <p:par>
                          <p:cTn id="84" fill="hold">
                            <p:stCondLst>
                              <p:cond delay="500"/>
                            </p:stCondLst>
                            <p:childTnLst>
                              <p:par>
                                <p:cTn id="85" presetID="22" presetClass="entr" presetSubtype="1" fill="hold" nodeType="after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wipe(up)">
                                      <p:cBhvr>
                                        <p:cTn id="87" dur="500"/>
                                        <p:tgtEl>
                                          <p:spTgt spid="42"/>
                                        </p:tgtEl>
                                      </p:cBhvr>
                                    </p:animEffect>
                                  </p:childTnLst>
                                </p:cTn>
                              </p:par>
                            </p:childTnLst>
                          </p:cTn>
                        </p:par>
                        <p:par>
                          <p:cTn id="88" fill="hold">
                            <p:stCondLst>
                              <p:cond delay="1000"/>
                            </p:stCondLst>
                            <p:childTnLst>
                              <p:par>
                                <p:cTn id="89" presetID="10" presetClass="entr" presetSubtype="0" fill="hold" grpId="0" nodeType="afterEffect">
                                  <p:stCondLst>
                                    <p:cond delay="0"/>
                                  </p:stCondLst>
                                  <p:childTnLst>
                                    <p:set>
                                      <p:cBhvr>
                                        <p:cTn id="90" dur="1" fill="hold">
                                          <p:stCondLst>
                                            <p:cond delay="0"/>
                                          </p:stCondLst>
                                        </p:cTn>
                                        <p:tgtEl>
                                          <p:spTgt spid="75"/>
                                        </p:tgtEl>
                                        <p:attrNameLst>
                                          <p:attrName>style.visibility</p:attrName>
                                        </p:attrNameLst>
                                      </p:cBhvr>
                                      <p:to>
                                        <p:strVal val="visible"/>
                                      </p:to>
                                    </p:set>
                                    <p:animEffect transition="in" filter="fade">
                                      <p:cBhvr>
                                        <p:cTn id="91" dur="500"/>
                                        <p:tgtEl>
                                          <p:spTgt spid="75"/>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fade">
                                      <p:cBhvr>
                                        <p:cTn id="94" dur="500"/>
                                        <p:tgtEl>
                                          <p:spTgt spid="31"/>
                                        </p:tgtEl>
                                      </p:cBhvr>
                                    </p:animEffect>
                                  </p:childTnLst>
                                </p:cTn>
                              </p:par>
                              <p:par>
                                <p:cTn id="95" presetID="10" presetClass="entr" presetSubtype="0" fill="hold" nodeType="withEffect">
                                  <p:stCondLst>
                                    <p:cond delay="0"/>
                                  </p:stCondLst>
                                  <p:childTnLst>
                                    <p:set>
                                      <p:cBhvr>
                                        <p:cTn id="96" dur="1" fill="hold">
                                          <p:stCondLst>
                                            <p:cond delay="0"/>
                                          </p:stCondLst>
                                        </p:cTn>
                                        <p:tgtEl>
                                          <p:spTgt spid="79"/>
                                        </p:tgtEl>
                                        <p:attrNameLst>
                                          <p:attrName>style.visibility</p:attrName>
                                        </p:attrNameLst>
                                      </p:cBhvr>
                                      <p:to>
                                        <p:strVal val="visible"/>
                                      </p:to>
                                    </p:set>
                                    <p:animEffect transition="in" filter="fade">
                                      <p:cBhvr>
                                        <p:cTn id="97" dur="500"/>
                                        <p:tgtEl>
                                          <p:spTgt spid="79"/>
                                        </p:tgtEl>
                                      </p:cBhvr>
                                    </p:animEffect>
                                  </p:childTnLst>
                                </p:cTn>
                              </p:par>
                            </p:childTnLst>
                          </p:cTn>
                        </p:par>
                        <p:par>
                          <p:cTn id="98" fill="hold">
                            <p:stCondLst>
                              <p:cond delay="1500"/>
                            </p:stCondLst>
                            <p:childTnLst>
                              <p:par>
                                <p:cTn id="99" presetID="22" presetClass="entr" presetSubtype="8" fill="hold" nodeType="afterEffect">
                                  <p:stCondLst>
                                    <p:cond delay="0"/>
                                  </p:stCondLst>
                                  <p:childTnLst>
                                    <p:set>
                                      <p:cBhvr>
                                        <p:cTn id="100" dur="1" fill="hold">
                                          <p:stCondLst>
                                            <p:cond delay="0"/>
                                          </p:stCondLst>
                                        </p:cTn>
                                        <p:tgtEl>
                                          <p:spTgt spid="81"/>
                                        </p:tgtEl>
                                        <p:attrNameLst>
                                          <p:attrName>style.visibility</p:attrName>
                                        </p:attrNameLst>
                                      </p:cBhvr>
                                      <p:to>
                                        <p:strVal val="visible"/>
                                      </p:to>
                                    </p:set>
                                    <p:animEffect transition="in" filter="wipe(left)">
                                      <p:cBhvr>
                                        <p:cTn id="101" dur="500"/>
                                        <p:tgtEl>
                                          <p:spTgt spid="81"/>
                                        </p:tgtEl>
                                      </p:cBhvr>
                                    </p:animEffect>
                                  </p:childTnLst>
                                </p:cTn>
                              </p:par>
                            </p:childTnLst>
                          </p:cTn>
                        </p:par>
                        <p:par>
                          <p:cTn id="102" fill="hold">
                            <p:stCondLst>
                              <p:cond delay="2000"/>
                            </p:stCondLst>
                            <p:childTnLst>
                              <p:par>
                                <p:cTn id="103" presetID="10" presetClass="entr" presetSubtype="0" fill="hold" nodeType="afterEffect">
                                  <p:stCondLst>
                                    <p:cond delay="0"/>
                                  </p:stCondLst>
                                  <p:childTnLst>
                                    <p:set>
                                      <p:cBhvr>
                                        <p:cTn id="104" dur="1" fill="hold">
                                          <p:stCondLst>
                                            <p:cond delay="0"/>
                                          </p:stCondLst>
                                        </p:cTn>
                                        <p:tgtEl>
                                          <p:spTgt spid="67"/>
                                        </p:tgtEl>
                                        <p:attrNameLst>
                                          <p:attrName>style.visibility</p:attrName>
                                        </p:attrNameLst>
                                      </p:cBhvr>
                                      <p:to>
                                        <p:strVal val="visible"/>
                                      </p:to>
                                    </p:set>
                                    <p:animEffect transition="in" filter="fade">
                                      <p:cBhvr>
                                        <p:cTn id="105" dur="500"/>
                                        <p:tgtEl>
                                          <p:spTgt spid="67"/>
                                        </p:tgtEl>
                                      </p:cBhvr>
                                    </p:animEffect>
                                  </p:childTnLst>
                                </p:cTn>
                              </p:par>
                            </p:childTnLst>
                          </p:cTn>
                        </p:par>
                        <p:par>
                          <p:cTn id="106" fill="hold">
                            <p:stCondLst>
                              <p:cond delay="2500"/>
                            </p:stCondLst>
                            <p:childTnLst>
                              <p:par>
                                <p:cTn id="107" presetID="22" presetClass="entr" presetSubtype="1" fill="hold" nodeType="afterEffect">
                                  <p:stCondLst>
                                    <p:cond delay="0"/>
                                  </p:stCondLst>
                                  <p:childTnLst>
                                    <p:set>
                                      <p:cBhvr>
                                        <p:cTn id="108" dur="1" fill="hold">
                                          <p:stCondLst>
                                            <p:cond delay="0"/>
                                          </p:stCondLst>
                                        </p:cTn>
                                        <p:tgtEl>
                                          <p:spTgt spid="83"/>
                                        </p:tgtEl>
                                        <p:attrNameLst>
                                          <p:attrName>style.visibility</p:attrName>
                                        </p:attrNameLst>
                                      </p:cBhvr>
                                      <p:to>
                                        <p:strVal val="visible"/>
                                      </p:to>
                                    </p:set>
                                    <p:animEffect transition="in" filter="wipe(up)">
                                      <p:cBhvr>
                                        <p:cTn id="109" dur="500"/>
                                        <p:tgtEl>
                                          <p:spTgt spid="83"/>
                                        </p:tgtEl>
                                      </p:cBhvr>
                                    </p:animEffect>
                                  </p:childTnLst>
                                </p:cTn>
                              </p:par>
                              <p:par>
                                <p:cTn id="110" presetID="10" presetClass="entr" presetSubtype="0" fill="hold" nodeType="withEffect">
                                  <p:stCondLst>
                                    <p:cond delay="0"/>
                                  </p:stCondLst>
                                  <p:childTnLst>
                                    <p:set>
                                      <p:cBhvr>
                                        <p:cTn id="111" dur="1" fill="hold">
                                          <p:stCondLst>
                                            <p:cond delay="0"/>
                                          </p:stCondLst>
                                        </p:cTn>
                                        <p:tgtEl>
                                          <p:spTgt spid="66"/>
                                        </p:tgtEl>
                                        <p:attrNameLst>
                                          <p:attrName>style.visibility</p:attrName>
                                        </p:attrNameLst>
                                      </p:cBhvr>
                                      <p:to>
                                        <p:strVal val="visible"/>
                                      </p:to>
                                    </p:set>
                                    <p:animEffect transition="in" filter="fade">
                                      <p:cBhvr>
                                        <p:cTn id="112" dur="500"/>
                                        <p:tgtEl>
                                          <p:spTgt spid="66"/>
                                        </p:tgtEl>
                                      </p:cBhvr>
                                    </p:animEffect>
                                  </p:childTnLst>
                                </p:cTn>
                              </p:par>
                            </p:childTnLst>
                          </p:cTn>
                        </p:par>
                        <p:par>
                          <p:cTn id="113" fill="hold">
                            <p:stCondLst>
                              <p:cond delay="3000"/>
                            </p:stCondLst>
                            <p:childTnLst>
                              <p:par>
                                <p:cTn id="114" presetID="22" presetClass="entr" presetSubtype="2" fill="hold" nodeType="afterEffect">
                                  <p:stCondLst>
                                    <p:cond delay="0"/>
                                  </p:stCondLst>
                                  <p:childTnLst>
                                    <p:set>
                                      <p:cBhvr>
                                        <p:cTn id="115" dur="1" fill="hold">
                                          <p:stCondLst>
                                            <p:cond delay="0"/>
                                          </p:stCondLst>
                                        </p:cTn>
                                        <p:tgtEl>
                                          <p:spTgt spid="33"/>
                                        </p:tgtEl>
                                        <p:attrNameLst>
                                          <p:attrName>style.visibility</p:attrName>
                                        </p:attrNameLst>
                                      </p:cBhvr>
                                      <p:to>
                                        <p:strVal val="visible"/>
                                      </p:to>
                                    </p:set>
                                    <p:animEffect transition="in" filter="wipe(right)">
                                      <p:cBhvr>
                                        <p:cTn id="116" dur="500"/>
                                        <p:tgtEl>
                                          <p:spTgt spid="33"/>
                                        </p:tgtEl>
                                      </p:cBhvr>
                                    </p:animEffect>
                                  </p:childTnLst>
                                </p:cTn>
                              </p:par>
                            </p:childTnLst>
                          </p:cTn>
                        </p:par>
                        <p:par>
                          <p:cTn id="117" fill="hold">
                            <p:stCondLst>
                              <p:cond delay="3500"/>
                            </p:stCondLst>
                            <p:childTnLst>
                              <p:par>
                                <p:cTn id="118" presetID="10" presetClass="entr" presetSubtype="0" fill="hold" nodeType="afterEffect">
                                  <p:stCondLst>
                                    <p:cond delay="0"/>
                                  </p:stCondLst>
                                  <p:childTnLst>
                                    <p:set>
                                      <p:cBhvr>
                                        <p:cTn id="119" dur="1" fill="hold">
                                          <p:stCondLst>
                                            <p:cond delay="0"/>
                                          </p:stCondLst>
                                        </p:cTn>
                                        <p:tgtEl>
                                          <p:spTgt spid="64"/>
                                        </p:tgtEl>
                                        <p:attrNameLst>
                                          <p:attrName>style.visibility</p:attrName>
                                        </p:attrNameLst>
                                      </p:cBhvr>
                                      <p:to>
                                        <p:strVal val="visible"/>
                                      </p:to>
                                    </p:set>
                                    <p:animEffect transition="in" filter="fade">
                                      <p:cBhvr>
                                        <p:cTn id="120" dur="500"/>
                                        <p:tgtEl>
                                          <p:spTgt spid="64"/>
                                        </p:tgtEl>
                                      </p:cBhvr>
                                    </p:animEffect>
                                  </p:childTnLst>
                                </p:cTn>
                              </p:par>
                            </p:childTnLst>
                          </p:cTn>
                        </p:par>
                        <p:par>
                          <p:cTn id="121" fill="hold">
                            <p:stCondLst>
                              <p:cond delay="4000"/>
                            </p:stCondLst>
                            <p:childTnLst>
                              <p:par>
                                <p:cTn id="122" presetID="22" presetClass="entr" presetSubtype="2" fill="hold" nodeType="afterEffect">
                                  <p:stCondLst>
                                    <p:cond delay="0"/>
                                  </p:stCondLst>
                                  <p:childTnLst>
                                    <p:set>
                                      <p:cBhvr>
                                        <p:cTn id="123" dur="1" fill="hold">
                                          <p:stCondLst>
                                            <p:cond delay="0"/>
                                          </p:stCondLst>
                                        </p:cTn>
                                        <p:tgtEl>
                                          <p:spTgt spid="82"/>
                                        </p:tgtEl>
                                        <p:attrNameLst>
                                          <p:attrName>style.visibility</p:attrName>
                                        </p:attrNameLst>
                                      </p:cBhvr>
                                      <p:to>
                                        <p:strVal val="visible"/>
                                      </p:to>
                                    </p:set>
                                    <p:animEffect transition="in" filter="wipe(right)">
                                      <p:cBhvr>
                                        <p:cTn id="124" dur="500"/>
                                        <p:tgtEl>
                                          <p:spTgt spid="82"/>
                                        </p:tgtEl>
                                      </p:cBhvr>
                                    </p:animEffect>
                                  </p:childTnLst>
                                </p:cTn>
                              </p:par>
                              <p:par>
                                <p:cTn id="125" presetID="10" presetClass="entr" presetSubtype="0" fill="hold" nodeType="withEffect">
                                  <p:stCondLst>
                                    <p:cond delay="0"/>
                                  </p:stCondLst>
                                  <p:childTnLst>
                                    <p:set>
                                      <p:cBhvr>
                                        <p:cTn id="126" dur="1" fill="hold">
                                          <p:stCondLst>
                                            <p:cond delay="0"/>
                                          </p:stCondLst>
                                        </p:cTn>
                                        <p:tgtEl>
                                          <p:spTgt spid="50">
                                            <p:txEl>
                                              <p:pRg st="3" end="3"/>
                                            </p:txEl>
                                          </p:spTgt>
                                        </p:tgtEl>
                                        <p:attrNameLst>
                                          <p:attrName>style.visibility</p:attrName>
                                        </p:attrNameLst>
                                      </p:cBhvr>
                                      <p:to>
                                        <p:strVal val="visible"/>
                                      </p:to>
                                    </p:set>
                                    <p:animEffect transition="in" filter="fade">
                                      <p:cBhvr>
                                        <p:cTn id="127" dur="500"/>
                                        <p:tgtEl>
                                          <p:spTgt spid="50">
                                            <p:txEl>
                                              <p:pRg st="3" end="3"/>
                                            </p:txEl>
                                          </p:spTgt>
                                        </p:tgtEl>
                                      </p:cBhvr>
                                    </p:animEffect>
                                  </p:childTnLst>
                                </p:cTn>
                              </p:par>
                            </p:childTnLst>
                          </p:cTn>
                        </p:par>
                        <p:par>
                          <p:cTn id="128" fill="hold">
                            <p:stCondLst>
                              <p:cond delay="4500"/>
                            </p:stCondLst>
                            <p:childTnLst>
                              <p:par>
                                <p:cTn id="129" presetID="10" presetClass="entr" presetSubtype="0" fill="hold" nodeType="afterEffect">
                                  <p:stCondLst>
                                    <p:cond delay="0"/>
                                  </p:stCondLst>
                                  <p:childTnLst>
                                    <p:set>
                                      <p:cBhvr>
                                        <p:cTn id="130" dur="1" fill="hold">
                                          <p:stCondLst>
                                            <p:cond delay="0"/>
                                          </p:stCondLst>
                                        </p:cTn>
                                        <p:tgtEl>
                                          <p:spTgt spid="78"/>
                                        </p:tgtEl>
                                        <p:attrNameLst>
                                          <p:attrName>style.visibility</p:attrName>
                                        </p:attrNameLst>
                                      </p:cBhvr>
                                      <p:to>
                                        <p:strVal val="visible"/>
                                      </p:to>
                                    </p:set>
                                    <p:animEffect transition="in" filter="fade">
                                      <p:cBhvr>
                                        <p:cTn id="131" dur="500"/>
                                        <p:tgtEl>
                                          <p:spTgt spid="78"/>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2"/>
                                        </p:tgtEl>
                                        <p:attrNameLst>
                                          <p:attrName>style.visibility</p:attrName>
                                        </p:attrNameLst>
                                      </p:cBhvr>
                                      <p:to>
                                        <p:strVal val="visible"/>
                                      </p:to>
                                    </p:set>
                                    <p:animEffect transition="in" filter="fade">
                                      <p:cBhvr>
                                        <p:cTn id="136" dur="500"/>
                                        <p:tgtEl>
                                          <p:spTgt spid="2"/>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6"/>
                                        </p:tgtEl>
                                        <p:attrNameLst>
                                          <p:attrName>style.visibility</p:attrName>
                                        </p:attrNameLst>
                                      </p:cBhvr>
                                      <p:to>
                                        <p:strVal val="visible"/>
                                      </p:to>
                                    </p:set>
                                    <p:animEffect transition="in" filter="fade">
                                      <p:cBhvr>
                                        <p:cTn id="139" dur="500"/>
                                        <p:tgtEl>
                                          <p:spTgt spid="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xit" presetSubtype="0" fill="hold" grpId="1" nodeType="clickEffect">
                                  <p:stCondLst>
                                    <p:cond delay="0"/>
                                  </p:stCondLst>
                                  <p:childTnLst>
                                    <p:animEffect transition="out" filter="fade">
                                      <p:cBhvr>
                                        <p:cTn id="143" dur="500"/>
                                        <p:tgtEl>
                                          <p:spTgt spid="2"/>
                                        </p:tgtEl>
                                      </p:cBhvr>
                                    </p:animEffect>
                                    <p:set>
                                      <p:cBhvr>
                                        <p:cTn id="144" dur="1" fill="hold">
                                          <p:stCondLst>
                                            <p:cond delay="499"/>
                                          </p:stCondLst>
                                        </p:cTn>
                                        <p:tgtEl>
                                          <p:spTgt spid="2"/>
                                        </p:tgtEl>
                                        <p:attrNameLst>
                                          <p:attrName>style.visibility</p:attrName>
                                        </p:attrNameLst>
                                      </p:cBhvr>
                                      <p:to>
                                        <p:strVal val="hidden"/>
                                      </p:to>
                                    </p:set>
                                  </p:childTnLst>
                                </p:cTn>
                              </p:par>
                              <p:par>
                                <p:cTn id="145" presetID="10" presetClass="exit" presetSubtype="0" fill="hold" grpId="1" nodeType="withEffect">
                                  <p:stCondLst>
                                    <p:cond delay="0"/>
                                  </p:stCondLst>
                                  <p:childTnLst>
                                    <p:animEffect transition="out" filter="fade">
                                      <p:cBhvr>
                                        <p:cTn id="146" dur="500"/>
                                        <p:tgtEl>
                                          <p:spTgt spid="6"/>
                                        </p:tgtEl>
                                      </p:cBhvr>
                                    </p:animEffect>
                                    <p:set>
                                      <p:cBhvr>
                                        <p:cTn id="147" dur="1" fill="hold">
                                          <p:stCondLst>
                                            <p:cond delay="499"/>
                                          </p:stCondLst>
                                        </p:cTn>
                                        <p:tgtEl>
                                          <p:spTgt spid="6"/>
                                        </p:tgtEl>
                                        <p:attrNameLst>
                                          <p:attrName>style.visibility</p:attrName>
                                        </p:attrNameLst>
                                      </p:cBhvr>
                                      <p:to>
                                        <p:strVal val="hidden"/>
                                      </p:to>
                                    </p:set>
                                  </p:childTnLst>
                                </p:cTn>
                              </p:par>
                            </p:childTnLst>
                          </p:cTn>
                        </p:par>
                        <p:par>
                          <p:cTn id="148" fill="hold">
                            <p:stCondLst>
                              <p:cond delay="500"/>
                            </p:stCondLst>
                            <p:childTnLst>
                              <p:par>
                                <p:cTn id="149" presetID="10" presetClass="entr" presetSubtype="0" fill="hold" grpId="0" nodeType="afterEffect">
                                  <p:stCondLst>
                                    <p:cond delay="0"/>
                                  </p:stCondLst>
                                  <p:childTnLst>
                                    <p:set>
                                      <p:cBhvr>
                                        <p:cTn id="150" dur="1" fill="hold">
                                          <p:stCondLst>
                                            <p:cond delay="0"/>
                                          </p:stCondLst>
                                        </p:cTn>
                                        <p:tgtEl>
                                          <p:spTgt spid="57"/>
                                        </p:tgtEl>
                                        <p:attrNameLst>
                                          <p:attrName>style.visibility</p:attrName>
                                        </p:attrNameLst>
                                      </p:cBhvr>
                                      <p:to>
                                        <p:strVal val="visible"/>
                                      </p:to>
                                    </p:set>
                                    <p:animEffect transition="in" filter="fade">
                                      <p:cBhvr>
                                        <p:cTn id="15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91" grpId="0" animBg="1"/>
      <p:bldP spid="107" grpId="0" animBg="1"/>
      <p:bldP spid="103" grpId="0" animBg="1"/>
      <p:bldP spid="106" grpId="0" animBg="1"/>
      <p:bldP spid="20" grpId="0" animBg="1"/>
      <p:bldP spid="21" grpId="0" animBg="1"/>
      <p:bldP spid="18" grpId="0" animBg="1"/>
      <p:bldP spid="17" grpId="0" animBg="1"/>
      <p:bldP spid="41" grpId="0" animBg="1"/>
      <p:bldP spid="75" grpId="0" animBg="1"/>
      <p:bldP spid="31" grpId="0"/>
      <p:bldP spid="2" grpId="0" animBg="1"/>
      <p:bldP spid="2" grpId="1" animBg="1"/>
      <p:bldP spid="6" grpId="0"/>
      <p:bldP spid="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E6679-4B3C-458D-A0A5-98C5586A772D}"/>
              </a:ext>
            </a:extLst>
          </p:cNvPr>
          <p:cNvSpPr txBox="1">
            <a:spLocks/>
          </p:cNvSpPr>
          <p:nvPr/>
        </p:nvSpPr>
        <p:spPr>
          <a:xfrm>
            <a:off x="2186800" y="1337342"/>
            <a:ext cx="7818402" cy="764140"/>
          </a:xfrm>
          <a:prstGeom prst="rect">
            <a:avLst/>
          </a:prstGeom>
        </p:spPr>
        <p:txBody>
          <a:bodyPr vert="horz" wrap="square" lIns="179285" tIns="143428" rIns="179285" bIns="143428" rtlCol="0" anchor="ctr" anchorCtr="0">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Bef>
                <a:spcPts val="1176"/>
              </a:spcBef>
              <a:spcAft>
                <a:spcPct val="0"/>
              </a:spcAft>
              <a:defRPr/>
            </a:pPr>
            <a:r>
              <a:rPr lang="en-US" sz="5294" spc="-100">
                <a:gradFill>
                  <a:gsLst>
                    <a:gs pos="1250">
                      <a:srgbClr val="505050"/>
                    </a:gs>
                    <a:gs pos="100000">
                      <a:srgbClr val="505050"/>
                    </a:gs>
                  </a:gsLst>
                  <a:lin ang="5400000" scaled="0"/>
                </a:gradFill>
                <a:latin typeface="Segoe UI Light"/>
              </a:rPr>
              <a:t>Great Partner Solutions</a:t>
            </a:r>
            <a:endParaRPr lang="en-US" sz="6470" spc="-100">
              <a:gradFill>
                <a:gsLst>
                  <a:gs pos="1250">
                    <a:srgbClr val="505050"/>
                  </a:gs>
                  <a:gs pos="100000">
                    <a:srgbClr val="505050"/>
                  </a:gs>
                </a:gsLst>
                <a:lin ang="5400000" scaled="0"/>
              </a:gradFill>
              <a:latin typeface="Segoe UI Light"/>
            </a:endParaRPr>
          </a:p>
        </p:txBody>
      </p:sp>
      <p:pic>
        <p:nvPicPr>
          <p:cNvPr id="4" name="Picture 3">
            <a:extLst>
              <a:ext uri="{FF2B5EF4-FFF2-40B4-BE49-F238E27FC236}">
                <a16:creationId xmlns:a16="http://schemas.microsoft.com/office/drawing/2014/main" id="{5BBFAD1C-A31E-48C2-9478-84496B4AC3CB}"/>
              </a:ext>
            </a:extLst>
          </p:cNvPr>
          <p:cNvPicPr>
            <a:picLocks noChangeAspect="1"/>
          </p:cNvPicPr>
          <p:nvPr/>
        </p:nvPicPr>
        <p:blipFill rotWithShape="1">
          <a:blip r:embed="rId3"/>
          <a:srcRect l="20311"/>
          <a:stretch/>
        </p:blipFill>
        <p:spPr>
          <a:xfrm>
            <a:off x="2701650" y="2664861"/>
            <a:ext cx="9256139" cy="2108777"/>
          </a:xfrm>
          <a:prstGeom prst="rect">
            <a:avLst/>
          </a:prstGeom>
        </p:spPr>
      </p:pic>
      <p:pic>
        <p:nvPicPr>
          <p:cNvPr id="5" name="Picture 4">
            <a:extLst>
              <a:ext uri="{FF2B5EF4-FFF2-40B4-BE49-F238E27FC236}">
                <a16:creationId xmlns:a16="http://schemas.microsoft.com/office/drawing/2014/main" id="{7CC1750C-84D7-4AC8-8463-2689D182764A}"/>
              </a:ext>
            </a:extLst>
          </p:cNvPr>
          <p:cNvPicPr>
            <a:picLocks noChangeAspect="1"/>
          </p:cNvPicPr>
          <p:nvPr/>
        </p:nvPicPr>
        <p:blipFill rotWithShape="1">
          <a:blip r:embed="rId3"/>
          <a:srcRect r="78673"/>
          <a:stretch/>
        </p:blipFill>
        <p:spPr>
          <a:xfrm>
            <a:off x="-92086" y="2312199"/>
            <a:ext cx="3406725" cy="2900038"/>
          </a:xfrm>
          <a:prstGeom prst="rect">
            <a:avLst/>
          </a:prstGeom>
        </p:spPr>
      </p:pic>
      <p:sp>
        <p:nvSpPr>
          <p:cNvPr id="6" name="Title 1">
            <a:extLst>
              <a:ext uri="{FF2B5EF4-FFF2-40B4-BE49-F238E27FC236}">
                <a16:creationId xmlns:a16="http://schemas.microsoft.com/office/drawing/2014/main" id="{6C160AAA-A22C-48FB-A9CD-664C223265A7}"/>
              </a:ext>
            </a:extLst>
          </p:cNvPr>
          <p:cNvSpPr txBox="1">
            <a:spLocks/>
          </p:cNvSpPr>
          <p:nvPr/>
        </p:nvSpPr>
        <p:spPr>
          <a:xfrm>
            <a:off x="-118387" y="4523126"/>
            <a:ext cx="2939680" cy="763112"/>
          </a:xfrm>
          <a:prstGeom prst="rect">
            <a:avLst/>
          </a:prstGeom>
        </p:spPr>
        <p:txBody>
          <a:bodyPr lIns="146284" tIns="9143" rIns="146284" bIns="9143"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algn="ctr" defTabSz="914192">
              <a:defRPr/>
            </a:pPr>
            <a:r>
              <a:rPr lang="en-US" sz="2941">
                <a:solidFill>
                  <a:srgbClr val="505050">
                    <a:lumMod val="50000"/>
                  </a:srgbClr>
                </a:solidFill>
                <a:latin typeface="Segoe UI Light"/>
                <a:cs typeface="Segoe UI Semilight" panose="020B0402040204020203" pitchFamily="34" charset="0"/>
              </a:rPr>
              <a:t>DC/OS</a:t>
            </a:r>
          </a:p>
        </p:txBody>
      </p:sp>
      <p:sp>
        <p:nvSpPr>
          <p:cNvPr id="7" name="Title 1">
            <a:extLst>
              <a:ext uri="{FF2B5EF4-FFF2-40B4-BE49-F238E27FC236}">
                <a16:creationId xmlns:a16="http://schemas.microsoft.com/office/drawing/2014/main" id="{5E963215-AFA7-4B44-8165-7F8C7BB9BFB7}"/>
              </a:ext>
            </a:extLst>
          </p:cNvPr>
          <p:cNvSpPr txBox="1">
            <a:spLocks/>
          </p:cNvSpPr>
          <p:nvPr/>
        </p:nvSpPr>
        <p:spPr>
          <a:xfrm>
            <a:off x="2847594" y="4549368"/>
            <a:ext cx="2913381" cy="763112"/>
          </a:xfrm>
          <a:prstGeom prst="rect">
            <a:avLst/>
          </a:prstGeom>
        </p:spPr>
        <p:txBody>
          <a:bodyPr lIns="146284" tIns="9143" rIns="146284" bIns="9143"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algn="ctr" defTabSz="914192">
              <a:defRPr/>
            </a:pPr>
            <a:r>
              <a:rPr lang="en-US" sz="2941">
                <a:solidFill>
                  <a:srgbClr val="505050">
                    <a:lumMod val="50000"/>
                  </a:srgbClr>
                </a:solidFill>
                <a:latin typeface="Segoe UI Light"/>
                <a:cs typeface="Segoe UI Semilight" panose="020B0402040204020203" pitchFamily="34" charset="0"/>
              </a:rPr>
              <a:t>Pivotal</a:t>
            </a:r>
          </a:p>
        </p:txBody>
      </p:sp>
      <p:sp>
        <p:nvSpPr>
          <p:cNvPr id="8" name="Title 1">
            <a:extLst>
              <a:ext uri="{FF2B5EF4-FFF2-40B4-BE49-F238E27FC236}">
                <a16:creationId xmlns:a16="http://schemas.microsoft.com/office/drawing/2014/main" id="{3138B135-9393-4563-B726-544B659C413C}"/>
              </a:ext>
            </a:extLst>
          </p:cNvPr>
          <p:cNvSpPr txBox="1">
            <a:spLocks/>
          </p:cNvSpPr>
          <p:nvPr/>
        </p:nvSpPr>
        <p:spPr>
          <a:xfrm>
            <a:off x="5760975" y="4541444"/>
            <a:ext cx="2913381" cy="763112"/>
          </a:xfrm>
          <a:prstGeom prst="rect">
            <a:avLst/>
          </a:prstGeom>
        </p:spPr>
        <p:txBody>
          <a:bodyPr lIns="146284" tIns="9143" rIns="146284" bIns="9143"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algn="ctr" defTabSz="914192">
              <a:defRPr/>
            </a:pPr>
            <a:r>
              <a:rPr lang="en-US" sz="2941" err="1">
                <a:solidFill>
                  <a:srgbClr val="505050">
                    <a:lumMod val="50000"/>
                  </a:srgbClr>
                </a:solidFill>
                <a:latin typeface="Segoe UI Light"/>
                <a:cs typeface="Segoe UI Semilight" panose="020B0402040204020203" pitchFamily="34" charset="0"/>
              </a:rPr>
              <a:t>OpenShift</a:t>
            </a:r>
            <a:endParaRPr lang="en-US" sz="2941">
              <a:solidFill>
                <a:srgbClr val="505050">
                  <a:lumMod val="50000"/>
                </a:srgbClr>
              </a:solidFill>
              <a:latin typeface="Segoe UI Light"/>
              <a:cs typeface="Segoe UI Semilight" panose="020B0402040204020203" pitchFamily="34" charset="0"/>
            </a:endParaRPr>
          </a:p>
        </p:txBody>
      </p:sp>
      <p:sp>
        <p:nvSpPr>
          <p:cNvPr id="9" name="Title 1">
            <a:extLst>
              <a:ext uri="{FF2B5EF4-FFF2-40B4-BE49-F238E27FC236}">
                <a16:creationId xmlns:a16="http://schemas.microsoft.com/office/drawing/2014/main" id="{F52A29F2-FA62-42E0-AF97-A363ACF3681F}"/>
              </a:ext>
            </a:extLst>
          </p:cNvPr>
          <p:cNvSpPr txBox="1">
            <a:spLocks/>
          </p:cNvSpPr>
          <p:nvPr/>
        </p:nvSpPr>
        <p:spPr>
          <a:xfrm>
            <a:off x="8674356" y="4523126"/>
            <a:ext cx="2939682" cy="763112"/>
          </a:xfrm>
          <a:prstGeom prst="rect">
            <a:avLst/>
          </a:prstGeom>
        </p:spPr>
        <p:txBody>
          <a:bodyPr lIns="146284" tIns="9143" rIns="146284" bIns="9143"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algn="ctr" defTabSz="914192">
              <a:defRPr/>
            </a:pPr>
            <a:r>
              <a:rPr lang="en-US" sz="2941">
                <a:solidFill>
                  <a:srgbClr val="505050">
                    <a:lumMod val="50000"/>
                  </a:srgbClr>
                </a:solidFill>
                <a:latin typeface="Segoe UI Light"/>
                <a:cs typeface="Segoe UI Semilight" panose="020B0402040204020203" pitchFamily="34" charset="0"/>
              </a:rPr>
              <a:t>Docker Enterprise</a:t>
            </a:r>
          </a:p>
        </p:txBody>
      </p:sp>
    </p:spTree>
    <p:extLst>
      <p:ext uri="{BB962C8B-B14F-4D97-AF65-F5344CB8AC3E}">
        <p14:creationId xmlns:p14="http://schemas.microsoft.com/office/powerpoint/2010/main" val="111564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600"/>
                                        <p:tgtEl>
                                          <p:spTgt spid="6"/>
                                        </p:tgtEl>
                                      </p:cBhvr>
                                    </p:animEffect>
                                  </p:childTnLst>
                                </p:cTn>
                              </p:par>
                              <p:par>
                                <p:cTn id="18" presetID="35" presetClass="path" presetSubtype="0" decel="100000" fill="hold" grpId="1" nodeType="withEffect">
                                  <p:stCondLst>
                                    <p:cond delay="50"/>
                                  </p:stCondLst>
                                  <p:childTnLst>
                                    <p:animMotion origin="layout" path="M -0.05553 0.00023 L 9.19071E-7 0.00023 " pathEditMode="relative" rAng="0" ptsTypes="AA">
                                      <p:cBhvr>
                                        <p:cTn id="19" dur="800" fill="hold"/>
                                        <p:tgtEl>
                                          <p:spTgt spid="6"/>
                                        </p:tgtEl>
                                        <p:attrNameLst>
                                          <p:attrName>ppt_x</p:attrName>
                                          <p:attrName>ppt_y</p:attrName>
                                        </p:attrNameLst>
                                      </p:cBhvr>
                                      <p:rCtr x="2770" y="0"/>
                                    </p:animMotion>
                                  </p:childTnLst>
                                </p:cTn>
                              </p:par>
                              <p:par>
                                <p:cTn id="20" presetID="10" presetClass="entr" presetSubtype="0" fill="hold" grpId="0" nodeType="withEffect">
                                  <p:stCondLst>
                                    <p:cond delay="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600"/>
                                        <p:tgtEl>
                                          <p:spTgt spid="7"/>
                                        </p:tgtEl>
                                      </p:cBhvr>
                                    </p:animEffect>
                                  </p:childTnLst>
                                </p:cTn>
                              </p:par>
                              <p:par>
                                <p:cTn id="23" presetID="35" presetClass="path" presetSubtype="0" decel="100000" fill="hold" grpId="1" nodeType="withEffect">
                                  <p:stCondLst>
                                    <p:cond delay="50"/>
                                  </p:stCondLst>
                                  <p:childTnLst>
                                    <p:animMotion origin="layout" path="M -0.05553 0.00023 L 3.66607E-6 0.00023 " pathEditMode="relative" rAng="0" ptsTypes="AA">
                                      <p:cBhvr>
                                        <p:cTn id="24" dur="800" fill="hold"/>
                                        <p:tgtEl>
                                          <p:spTgt spid="7"/>
                                        </p:tgtEl>
                                        <p:attrNameLst>
                                          <p:attrName>ppt_x</p:attrName>
                                          <p:attrName>ppt_y</p:attrName>
                                        </p:attrNameLst>
                                      </p:cBhvr>
                                      <p:rCtr x="2770" y="0"/>
                                    </p:animMotion>
                                  </p:childTnLst>
                                </p:cTn>
                              </p:par>
                              <p:par>
                                <p:cTn id="25" presetID="10" presetClass="entr" presetSubtype="0" fill="hold" grpId="0" nodeType="withEffect">
                                  <p:stCondLst>
                                    <p:cond delay="25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600"/>
                                        <p:tgtEl>
                                          <p:spTgt spid="8"/>
                                        </p:tgtEl>
                                      </p:cBhvr>
                                    </p:animEffect>
                                  </p:childTnLst>
                                </p:cTn>
                              </p:par>
                              <p:par>
                                <p:cTn id="28" presetID="35" presetClass="path" presetSubtype="0" decel="100000" fill="hold" grpId="1" nodeType="withEffect">
                                  <p:stCondLst>
                                    <p:cond delay="50"/>
                                  </p:stCondLst>
                                  <p:childTnLst>
                                    <p:animMotion origin="layout" path="M -0.05552 0.00023 L -4.72045E-6 0.00023 " pathEditMode="relative" rAng="0" ptsTypes="AA">
                                      <p:cBhvr>
                                        <p:cTn id="29" dur="800" fill="hold"/>
                                        <p:tgtEl>
                                          <p:spTgt spid="8"/>
                                        </p:tgtEl>
                                        <p:attrNameLst>
                                          <p:attrName>ppt_x</p:attrName>
                                          <p:attrName>ppt_y</p:attrName>
                                        </p:attrNameLst>
                                      </p:cBhvr>
                                      <p:rCtr x="2770" y="0"/>
                                    </p:animMotion>
                                  </p:childTnLst>
                                </p:cTn>
                              </p:par>
                              <p:par>
                                <p:cTn id="30" presetID="10" presetClass="entr" presetSubtype="0" fill="hold" grpId="0" nodeType="withEffect">
                                  <p:stCondLst>
                                    <p:cond delay="25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600"/>
                                        <p:tgtEl>
                                          <p:spTgt spid="9"/>
                                        </p:tgtEl>
                                      </p:cBhvr>
                                    </p:animEffect>
                                  </p:childTnLst>
                                </p:cTn>
                              </p:par>
                              <p:par>
                                <p:cTn id="33" presetID="35" presetClass="path" presetSubtype="0" decel="100000" fill="hold" grpId="1" nodeType="withEffect">
                                  <p:stCondLst>
                                    <p:cond delay="50"/>
                                  </p:stCondLst>
                                  <p:childTnLst>
                                    <p:animMotion origin="layout" path="M -0.05552 0.00023 L -4.29666E-6 0.00023 " pathEditMode="relative" rAng="0" ptsTypes="AA">
                                      <p:cBhvr>
                                        <p:cTn id="34" dur="800" fill="hold"/>
                                        <p:tgtEl>
                                          <p:spTgt spid="9"/>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6" grpId="1"/>
      <p:bldP spid="7" grpId="0"/>
      <p:bldP spid="7" grpId="1"/>
      <p:bldP spid="8" grpId="0"/>
      <p:bldP spid="8" grpId="1"/>
      <p:bldP spid="9" grpId="0"/>
      <p:bldP spid="9"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are microservices?</a:t>
            </a:r>
          </a:p>
        </p:txBody>
      </p:sp>
    </p:spTree>
    <p:extLst>
      <p:ext uri="{BB962C8B-B14F-4D97-AF65-F5344CB8AC3E}">
        <p14:creationId xmlns:p14="http://schemas.microsoft.com/office/powerpoint/2010/main" val="184885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11">
            <a:extLst>
              <a:ext uri="{FF2B5EF4-FFF2-40B4-BE49-F238E27FC236}">
                <a16:creationId xmlns:a16="http://schemas.microsoft.com/office/drawing/2014/main" id="{BEEE9E05-EB48-4294-91EE-800E47028F31}"/>
              </a:ext>
            </a:extLst>
          </p:cNvPr>
          <p:cNvSpPr>
            <a:spLocks/>
          </p:cNvSpPr>
          <p:nvPr/>
        </p:nvSpPr>
        <p:spPr bwMode="auto">
          <a:xfrm>
            <a:off x="1" y="4533544"/>
            <a:ext cx="12220175" cy="2323970"/>
          </a:xfrm>
          <a:custGeom>
            <a:avLst/>
            <a:gdLst>
              <a:gd name="T0" fmla="*/ 2573 w 2687"/>
              <a:gd name="T1" fmla="*/ 227 h 511"/>
              <a:gd name="T2" fmla="*/ 2424 w 2687"/>
              <a:gd name="T3" fmla="*/ 287 h 511"/>
              <a:gd name="T4" fmla="*/ 2315 w 2687"/>
              <a:gd name="T5" fmla="*/ 148 h 511"/>
              <a:gd name="T6" fmla="*/ 2282 w 2687"/>
              <a:gd name="T7" fmla="*/ 104 h 511"/>
              <a:gd name="T8" fmla="*/ 2186 w 2687"/>
              <a:gd name="T9" fmla="*/ 148 h 511"/>
              <a:gd name="T10" fmla="*/ 2153 w 2687"/>
              <a:gd name="T11" fmla="*/ 185 h 511"/>
              <a:gd name="T12" fmla="*/ 2077 w 2687"/>
              <a:gd name="T13" fmla="*/ 63 h 511"/>
              <a:gd name="T14" fmla="*/ 1938 w 2687"/>
              <a:gd name="T15" fmla="*/ 0 h 511"/>
              <a:gd name="T16" fmla="*/ 1715 w 2687"/>
              <a:gd name="T17" fmla="*/ 148 h 511"/>
              <a:gd name="T18" fmla="*/ 1685 w 2687"/>
              <a:gd name="T19" fmla="*/ 104 h 511"/>
              <a:gd name="T20" fmla="*/ 1589 w 2687"/>
              <a:gd name="T21" fmla="*/ 148 h 511"/>
              <a:gd name="T22" fmla="*/ 1557 w 2687"/>
              <a:gd name="T23" fmla="*/ 287 h 511"/>
              <a:gd name="T24" fmla="*/ 1447 w 2687"/>
              <a:gd name="T25" fmla="*/ 227 h 511"/>
              <a:gd name="T26" fmla="*/ 1298 w 2687"/>
              <a:gd name="T27" fmla="*/ 185 h 511"/>
              <a:gd name="T28" fmla="*/ 1126 w 2687"/>
              <a:gd name="T29" fmla="*/ 53 h 511"/>
              <a:gd name="T30" fmla="*/ 1008 w 2687"/>
              <a:gd name="T31" fmla="*/ 268 h 511"/>
              <a:gd name="T32" fmla="*/ 903 w 2687"/>
              <a:gd name="T33" fmla="*/ 227 h 511"/>
              <a:gd name="T34" fmla="*/ 763 w 2687"/>
              <a:gd name="T35" fmla="*/ 227 h 511"/>
              <a:gd name="T36" fmla="*/ 743 w 2687"/>
              <a:gd name="T37" fmla="*/ 287 h 511"/>
              <a:gd name="T38" fmla="*/ 633 w 2687"/>
              <a:gd name="T39" fmla="*/ 246 h 511"/>
              <a:gd name="T40" fmla="*/ 601 w 2687"/>
              <a:gd name="T41" fmla="*/ 202 h 511"/>
              <a:gd name="T42" fmla="*/ 505 w 2687"/>
              <a:gd name="T43" fmla="*/ 246 h 511"/>
              <a:gd name="T44" fmla="*/ 473 w 2687"/>
              <a:gd name="T45" fmla="*/ 365 h 511"/>
              <a:gd name="T46" fmla="*/ 327 w 2687"/>
              <a:gd name="T47" fmla="*/ 268 h 511"/>
              <a:gd name="T48" fmla="*/ 187 w 2687"/>
              <a:gd name="T49" fmla="*/ 348 h 511"/>
              <a:gd name="T50" fmla="*/ 0 w 2687"/>
              <a:gd name="T51" fmla="*/ 511 h 511"/>
              <a:gd name="T52" fmla="*/ 188 w 2687"/>
              <a:gd name="T53" fmla="*/ 511 h 511"/>
              <a:gd name="T54" fmla="*/ 327 w 2687"/>
              <a:gd name="T55" fmla="*/ 511 h 511"/>
              <a:gd name="T56" fmla="*/ 496 w 2687"/>
              <a:gd name="T57" fmla="*/ 511 h 511"/>
              <a:gd name="T58" fmla="*/ 633 w 2687"/>
              <a:gd name="T59" fmla="*/ 511 h 511"/>
              <a:gd name="T60" fmla="*/ 694 w 2687"/>
              <a:gd name="T61" fmla="*/ 511 h 511"/>
              <a:gd name="T62" fmla="*/ 761 w 2687"/>
              <a:gd name="T63" fmla="*/ 511 h 511"/>
              <a:gd name="T64" fmla="*/ 775 w 2687"/>
              <a:gd name="T65" fmla="*/ 511 h 511"/>
              <a:gd name="T66" fmla="*/ 894 w 2687"/>
              <a:gd name="T67" fmla="*/ 511 h 511"/>
              <a:gd name="T68" fmla="*/ 1008 w 2687"/>
              <a:gd name="T69" fmla="*/ 511 h 511"/>
              <a:gd name="T70" fmla="*/ 1052 w 2687"/>
              <a:gd name="T71" fmla="*/ 511 h 511"/>
              <a:gd name="T72" fmla="*/ 1298 w 2687"/>
              <a:gd name="T73" fmla="*/ 511 h 511"/>
              <a:gd name="T74" fmla="*/ 1447 w 2687"/>
              <a:gd name="T75" fmla="*/ 511 h 511"/>
              <a:gd name="T76" fmla="*/ 1578 w 2687"/>
              <a:gd name="T77" fmla="*/ 511 h 511"/>
              <a:gd name="T78" fmla="*/ 1717 w 2687"/>
              <a:gd name="T79" fmla="*/ 511 h 511"/>
              <a:gd name="T80" fmla="*/ 1938 w 2687"/>
              <a:gd name="T81" fmla="*/ 511 h 511"/>
              <a:gd name="T82" fmla="*/ 2077 w 2687"/>
              <a:gd name="T83" fmla="*/ 511 h 511"/>
              <a:gd name="T84" fmla="*/ 2177 w 2687"/>
              <a:gd name="T85" fmla="*/ 511 h 511"/>
              <a:gd name="T86" fmla="*/ 2315 w 2687"/>
              <a:gd name="T87" fmla="*/ 511 h 511"/>
              <a:gd name="T88" fmla="*/ 2424 w 2687"/>
              <a:gd name="T89" fmla="*/ 511 h 511"/>
              <a:gd name="T90" fmla="*/ 2573 w 2687"/>
              <a:gd name="T91" fmla="*/ 511 h 511"/>
              <a:gd name="T92" fmla="*/ 2687 w 2687"/>
              <a:gd name="T93" fmla="*/ 41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7" h="511">
                <a:moveTo>
                  <a:pt x="2573" y="416"/>
                </a:moveTo>
                <a:lnTo>
                  <a:pt x="2573" y="227"/>
                </a:lnTo>
                <a:lnTo>
                  <a:pt x="2424" y="227"/>
                </a:lnTo>
                <a:lnTo>
                  <a:pt x="2424" y="287"/>
                </a:lnTo>
                <a:lnTo>
                  <a:pt x="2315" y="287"/>
                </a:lnTo>
                <a:lnTo>
                  <a:pt x="2315" y="148"/>
                </a:lnTo>
                <a:lnTo>
                  <a:pt x="2282" y="148"/>
                </a:lnTo>
                <a:lnTo>
                  <a:pt x="2282" y="104"/>
                </a:lnTo>
                <a:lnTo>
                  <a:pt x="2186" y="104"/>
                </a:lnTo>
                <a:lnTo>
                  <a:pt x="2186" y="148"/>
                </a:lnTo>
                <a:lnTo>
                  <a:pt x="2153" y="148"/>
                </a:lnTo>
                <a:lnTo>
                  <a:pt x="2153" y="185"/>
                </a:lnTo>
                <a:lnTo>
                  <a:pt x="2077" y="185"/>
                </a:lnTo>
                <a:lnTo>
                  <a:pt x="2077" y="63"/>
                </a:lnTo>
                <a:lnTo>
                  <a:pt x="1938" y="176"/>
                </a:lnTo>
                <a:lnTo>
                  <a:pt x="1938" y="0"/>
                </a:lnTo>
                <a:lnTo>
                  <a:pt x="1715" y="0"/>
                </a:lnTo>
                <a:lnTo>
                  <a:pt x="1715" y="148"/>
                </a:lnTo>
                <a:lnTo>
                  <a:pt x="1685" y="148"/>
                </a:lnTo>
                <a:lnTo>
                  <a:pt x="1685" y="104"/>
                </a:lnTo>
                <a:lnTo>
                  <a:pt x="1589" y="104"/>
                </a:lnTo>
                <a:lnTo>
                  <a:pt x="1589" y="148"/>
                </a:lnTo>
                <a:lnTo>
                  <a:pt x="1557" y="148"/>
                </a:lnTo>
                <a:lnTo>
                  <a:pt x="1557" y="287"/>
                </a:lnTo>
                <a:lnTo>
                  <a:pt x="1447" y="287"/>
                </a:lnTo>
                <a:lnTo>
                  <a:pt x="1447" y="227"/>
                </a:lnTo>
                <a:lnTo>
                  <a:pt x="1298" y="227"/>
                </a:lnTo>
                <a:lnTo>
                  <a:pt x="1298" y="185"/>
                </a:lnTo>
                <a:lnTo>
                  <a:pt x="1126" y="185"/>
                </a:lnTo>
                <a:lnTo>
                  <a:pt x="1126" y="53"/>
                </a:lnTo>
                <a:lnTo>
                  <a:pt x="1008" y="53"/>
                </a:lnTo>
                <a:lnTo>
                  <a:pt x="1008" y="268"/>
                </a:lnTo>
                <a:lnTo>
                  <a:pt x="903" y="268"/>
                </a:lnTo>
                <a:lnTo>
                  <a:pt x="903" y="227"/>
                </a:lnTo>
                <a:lnTo>
                  <a:pt x="893" y="227"/>
                </a:lnTo>
                <a:lnTo>
                  <a:pt x="763" y="227"/>
                </a:lnTo>
                <a:lnTo>
                  <a:pt x="743" y="227"/>
                </a:lnTo>
                <a:lnTo>
                  <a:pt x="743" y="287"/>
                </a:lnTo>
                <a:lnTo>
                  <a:pt x="633" y="287"/>
                </a:lnTo>
                <a:lnTo>
                  <a:pt x="633" y="246"/>
                </a:lnTo>
                <a:lnTo>
                  <a:pt x="601" y="246"/>
                </a:lnTo>
                <a:lnTo>
                  <a:pt x="601" y="202"/>
                </a:lnTo>
                <a:lnTo>
                  <a:pt x="505" y="202"/>
                </a:lnTo>
                <a:lnTo>
                  <a:pt x="505" y="246"/>
                </a:lnTo>
                <a:lnTo>
                  <a:pt x="473" y="246"/>
                </a:lnTo>
                <a:lnTo>
                  <a:pt x="473" y="365"/>
                </a:lnTo>
                <a:lnTo>
                  <a:pt x="327" y="365"/>
                </a:lnTo>
                <a:lnTo>
                  <a:pt x="327" y="268"/>
                </a:lnTo>
                <a:lnTo>
                  <a:pt x="187" y="268"/>
                </a:lnTo>
                <a:lnTo>
                  <a:pt x="187" y="348"/>
                </a:lnTo>
                <a:lnTo>
                  <a:pt x="0" y="348"/>
                </a:lnTo>
                <a:lnTo>
                  <a:pt x="0" y="511"/>
                </a:lnTo>
                <a:lnTo>
                  <a:pt x="187" y="511"/>
                </a:lnTo>
                <a:lnTo>
                  <a:pt x="188" y="511"/>
                </a:lnTo>
                <a:lnTo>
                  <a:pt x="324" y="511"/>
                </a:lnTo>
                <a:lnTo>
                  <a:pt x="327" y="511"/>
                </a:lnTo>
                <a:lnTo>
                  <a:pt x="473" y="511"/>
                </a:lnTo>
                <a:lnTo>
                  <a:pt x="496" y="511"/>
                </a:lnTo>
                <a:lnTo>
                  <a:pt x="611" y="511"/>
                </a:lnTo>
                <a:lnTo>
                  <a:pt x="633" y="511"/>
                </a:lnTo>
                <a:lnTo>
                  <a:pt x="636" y="511"/>
                </a:lnTo>
                <a:lnTo>
                  <a:pt x="694" y="511"/>
                </a:lnTo>
                <a:lnTo>
                  <a:pt x="743" y="511"/>
                </a:lnTo>
                <a:lnTo>
                  <a:pt x="761" y="511"/>
                </a:lnTo>
                <a:lnTo>
                  <a:pt x="763" y="511"/>
                </a:lnTo>
                <a:lnTo>
                  <a:pt x="775" y="511"/>
                </a:lnTo>
                <a:lnTo>
                  <a:pt x="893" y="511"/>
                </a:lnTo>
                <a:lnTo>
                  <a:pt x="894" y="511"/>
                </a:lnTo>
                <a:lnTo>
                  <a:pt x="903" y="511"/>
                </a:lnTo>
                <a:lnTo>
                  <a:pt x="1008" y="511"/>
                </a:lnTo>
                <a:lnTo>
                  <a:pt x="1034" y="511"/>
                </a:lnTo>
                <a:lnTo>
                  <a:pt x="1052" y="511"/>
                </a:lnTo>
                <a:lnTo>
                  <a:pt x="1126" y="511"/>
                </a:lnTo>
                <a:lnTo>
                  <a:pt x="1298" y="511"/>
                </a:lnTo>
                <a:lnTo>
                  <a:pt x="1430" y="511"/>
                </a:lnTo>
                <a:lnTo>
                  <a:pt x="1447" y="511"/>
                </a:lnTo>
                <a:lnTo>
                  <a:pt x="1557" y="511"/>
                </a:lnTo>
                <a:lnTo>
                  <a:pt x="1578" y="511"/>
                </a:lnTo>
                <a:lnTo>
                  <a:pt x="1715" y="511"/>
                </a:lnTo>
                <a:lnTo>
                  <a:pt x="1717" y="511"/>
                </a:lnTo>
                <a:lnTo>
                  <a:pt x="1933" y="511"/>
                </a:lnTo>
                <a:lnTo>
                  <a:pt x="1938" y="511"/>
                </a:lnTo>
                <a:lnTo>
                  <a:pt x="2005" y="511"/>
                </a:lnTo>
                <a:lnTo>
                  <a:pt x="2077" y="511"/>
                </a:lnTo>
                <a:lnTo>
                  <a:pt x="2153" y="511"/>
                </a:lnTo>
                <a:lnTo>
                  <a:pt x="2177" y="511"/>
                </a:lnTo>
                <a:lnTo>
                  <a:pt x="2292" y="511"/>
                </a:lnTo>
                <a:lnTo>
                  <a:pt x="2315" y="511"/>
                </a:lnTo>
                <a:lnTo>
                  <a:pt x="2375" y="511"/>
                </a:lnTo>
                <a:lnTo>
                  <a:pt x="2424" y="511"/>
                </a:lnTo>
                <a:lnTo>
                  <a:pt x="2441" y="511"/>
                </a:lnTo>
                <a:lnTo>
                  <a:pt x="2573" y="511"/>
                </a:lnTo>
                <a:lnTo>
                  <a:pt x="2687" y="511"/>
                </a:lnTo>
                <a:lnTo>
                  <a:pt x="2687" y="416"/>
                </a:lnTo>
                <a:lnTo>
                  <a:pt x="2573" y="416"/>
                </a:ln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505050"/>
              </a:solidFill>
              <a:latin typeface="Segoe UI Semilight"/>
            </a:endParaRPr>
          </a:p>
        </p:txBody>
      </p:sp>
      <p:sp>
        <p:nvSpPr>
          <p:cNvPr id="2" name="Title 1">
            <a:extLst>
              <a:ext uri="{FF2B5EF4-FFF2-40B4-BE49-F238E27FC236}">
                <a16:creationId xmlns:a16="http://schemas.microsoft.com/office/drawing/2014/main" id="{441BE423-4820-4888-9547-850C664EDB2A}"/>
              </a:ext>
            </a:extLst>
          </p:cNvPr>
          <p:cNvSpPr>
            <a:spLocks noGrp="1"/>
          </p:cNvSpPr>
          <p:nvPr>
            <p:ph type="title"/>
          </p:nvPr>
        </p:nvSpPr>
        <p:spPr/>
        <p:txBody>
          <a:bodyPr/>
          <a:lstStyle/>
          <a:p>
            <a:r>
              <a:rPr lang="en-US" dirty="0"/>
              <a:t>Resources</a:t>
            </a:r>
          </a:p>
        </p:txBody>
      </p:sp>
      <p:sp>
        <p:nvSpPr>
          <p:cNvPr id="3" name="Text Placeholder 2">
            <a:extLst>
              <a:ext uri="{FF2B5EF4-FFF2-40B4-BE49-F238E27FC236}">
                <a16:creationId xmlns:a16="http://schemas.microsoft.com/office/drawing/2014/main" id="{B933F39C-E040-492B-B478-BE745A8A9DB1}"/>
              </a:ext>
            </a:extLst>
          </p:cNvPr>
          <p:cNvSpPr>
            <a:spLocks noGrp="1"/>
          </p:cNvSpPr>
          <p:nvPr>
            <p:ph type="body" sz="quarter" idx="10"/>
          </p:nvPr>
        </p:nvSpPr>
        <p:spPr>
          <a:xfrm>
            <a:off x="269240" y="1301687"/>
            <a:ext cx="10906501" cy="3016210"/>
          </a:xfrm>
        </p:spPr>
        <p:txBody>
          <a:bodyPr/>
          <a:lstStyle/>
          <a:p>
            <a:pPr>
              <a:spcBef>
                <a:spcPts val="2353"/>
              </a:spcBef>
            </a:pPr>
            <a:r>
              <a:rPr lang="en-US" sz="3200" dirty="0">
                <a:hlinkClick r:id="rId3"/>
              </a:rPr>
              <a:t>Choosing the right Azure Compute Service</a:t>
            </a:r>
            <a:br>
              <a:rPr lang="en-US" sz="3200" dirty="0"/>
            </a:br>
            <a:br>
              <a:rPr lang="en-US" sz="3200" dirty="0"/>
            </a:br>
            <a:r>
              <a:rPr lang="en-US" sz="3200" dirty="0">
                <a:hlinkClick r:id="rId4"/>
              </a:rPr>
              <a:t>Brendan Burns Designing Distributed Systems eBook</a:t>
            </a:r>
            <a:endParaRPr lang="en-US" sz="3200" dirty="0"/>
          </a:p>
          <a:p>
            <a:pPr>
              <a:spcBef>
                <a:spcPts val="2353"/>
              </a:spcBef>
            </a:pPr>
            <a:r>
              <a:rPr lang="en-US" sz="3200" dirty="0">
                <a:hlinkClick r:id="rId5"/>
              </a:rPr>
              <a:t>.NET Microservices eBook</a:t>
            </a:r>
            <a:endParaRPr lang="en-US" sz="3200" dirty="0"/>
          </a:p>
          <a:p>
            <a:pPr>
              <a:spcBef>
                <a:spcPts val="2353"/>
              </a:spcBef>
            </a:pPr>
            <a:r>
              <a:rPr lang="en-US" sz="3200" dirty="0">
                <a:hlinkClick r:id="rId6"/>
              </a:rPr>
              <a:t>Container / microservice examples / source code</a:t>
            </a:r>
            <a:endParaRPr lang="en-US" sz="2400" dirty="0"/>
          </a:p>
        </p:txBody>
      </p:sp>
    </p:spTree>
    <p:extLst>
      <p:ext uri="{BB962C8B-B14F-4D97-AF65-F5344CB8AC3E}">
        <p14:creationId xmlns:p14="http://schemas.microsoft.com/office/powerpoint/2010/main" val="208860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5A2607-6324-47BF-81BC-67D6C9C6D1D4}"/>
              </a:ext>
            </a:extLst>
          </p:cNvPr>
          <p:cNvSpPr/>
          <p:nvPr/>
        </p:nvSpPr>
        <p:spPr bwMode="auto">
          <a:xfrm>
            <a:off x="1668710" y="2703156"/>
            <a:ext cx="7378532"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dirty="0">
                <a:gradFill>
                  <a:gsLst>
                    <a:gs pos="0">
                      <a:srgbClr val="FFFFFF"/>
                    </a:gs>
                    <a:gs pos="100000">
                      <a:srgbClr val="FFFFFF"/>
                    </a:gs>
                  </a:gsLst>
                  <a:lin ang="5400000" scaled="0"/>
                </a:gradFill>
                <a:latin typeface="Segoe UI Semilight"/>
                <a:ea typeface="Segoe UI" pitchFamily="34" charset="0"/>
                <a:cs typeface="Segoe UI" pitchFamily="34" charset="0"/>
              </a:rPr>
              <a:t>Questions?</a:t>
            </a:r>
          </a:p>
        </p:txBody>
      </p:sp>
    </p:spTree>
    <p:extLst>
      <p:ext uri="{BB962C8B-B14F-4D97-AF65-F5344CB8AC3E}">
        <p14:creationId xmlns:p14="http://schemas.microsoft.com/office/powerpoint/2010/main" val="273084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5A2607-6324-47BF-81BC-67D6C9C6D1D4}"/>
              </a:ext>
            </a:extLst>
          </p:cNvPr>
          <p:cNvSpPr/>
          <p:nvPr/>
        </p:nvSpPr>
        <p:spPr bwMode="auto">
          <a:xfrm>
            <a:off x="1668710" y="2703156"/>
            <a:ext cx="7378532"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dirty="0">
                <a:gradFill>
                  <a:gsLst>
                    <a:gs pos="0">
                      <a:srgbClr val="FFFFFF"/>
                    </a:gs>
                    <a:gs pos="100000">
                      <a:srgbClr val="FFFFFF"/>
                    </a:gs>
                  </a:gsLst>
                  <a:lin ang="5400000" scaled="0"/>
                </a:gradFill>
                <a:latin typeface="Segoe UI Semilight"/>
                <a:ea typeface="Segoe UI" pitchFamily="34" charset="0"/>
                <a:cs typeface="Segoe UI" pitchFamily="34" charset="0"/>
              </a:rPr>
              <a:t>Thank you!</a:t>
            </a:r>
          </a:p>
        </p:txBody>
      </p:sp>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What are micro services?</a:t>
            </a:r>
          </a:p>
        </p:txBody>
      </p:sp>
      <p:sp>
        <p:nvSpPr>
          <p:cNvPr id="3" name="TextBox 2">
            <a:extLst>
              <a:ext uri="{FF2B5EF4-FFF2-40B4-BE49-F238E27FC236}">
                <a16:creationId xmlns:a16="http://schemas.microsoft.com/office/drawing/2014/main" id="{DB7AFBED-6D9C-4F8F-BD92-A4725CBBCA92}"/>
              </a:ext>
            </a:extLst>
          </p:cNvPr>
          <p:cNvSpPr txBox="1"/>
          <p:nvPr/>
        </p:nvSpPr>
        <p:spPr>
          <a:xfrm>
            <a:off x="588263" y="3429000"/>
            <a:ext cx="1973962" cy="107721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n approach to application development in which a large solution is built as a suite of modular services</a:t>
            </a:r>
          </a:p>
        </p:txBody>
      </p:sp>
      <p:sp>
        <p:nvSpPr>
          <p:cNvPr id="14" name="TextBox 13">
            <a:extLst>
              <a:ext uri="{FF2B5EF4-FFF2-40B4-BE49-F238E27FC236}">
                <a16:creationId xmlns:a16="http://schemas.microsoft.com/office/drawing/2014/main" id="{249F08E5-296F-44DA-B3AD-7AF9E9BCA382}"/>
              </a:ext>
            </a:extLst>
          </p:cNvPr>
          <p:cNvSpPr txBox="1"/>
          <p:nvPr/>
        </p:nvSpPr>
        <p:spPr>
          <a:xfrm>
            <a:off x="2910943" y="3429000"/>
            <a:ext cx="1821108" cy="107721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ach service supports a specific business goal and uses a simple well-defined interface to communicate</a:t>
            </a:r>
          </a:p>
        </p:txBody>
      </p:sp>
      <p:sp>
        <p:nvSpPr>
          <p:cNvPr id="15" name="TextBox 14">
            <a:extLst>
              <a:ext uri="{FF2B5EF4-FFF2-40B4-BE49-F238E27FC236}">
                <a16:creationId xmlns:a16="http://schemas.microsoft.com/office/drawing/2014/main" id="{88948FD7-2611-4071-B428-A62ADB28323B}"/>
              </a:ext>
            </a:extLst>
          </p:cNvPr>
          <p:cNvSpPr txBox="1"/>
          <p:nvPr/>
        </p:nvSpPr>
        <p:spPr>
          <a:xfrm>
            <a:off x="5233623" y="3429000"/>
            <a:ext cx="1821108" cy="107721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ach service is isolated, has its own dependencies, domain and logic, and evolves independently</a:t>
            </a:r>
          </a:p>
        </p:txBody>
      </p:sp>
      <p:sp>
        <p:nvSpPr>
          <p:cNvPr id="16" name="TextBox 15">
            <a:extLst>
              <a:ext uri="{FF2B5EF4-FFF2-40B4-BE49-F238E27FC236}">
                <a16:creationId xmlns:a16="http://schemas.microsoft.com/office/drawing/2014/main" id="{1EA16CFD-5DC9-496C-84B3-A9509907D76A}"/>
              </a:ext>
            </a:extLst>
          </p:cNvPr>
          <p:cNvSpPr txBox="1"/>
          <p:nvPr/>
        </p:nvSpPr>
        <p:spPr>
          <a:xfrm>
            <a:off x="7556302" y="3429000"/>
            <a:ext cx="1973962" cy="150810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mbracing cross-platform, each can be written in a different programming language, use different data storage technologies, and scale independently</a:t>
            </a:r>
          </a:p>
        </p:txBody>
      </p:sp>
      <p:sp>
        <p:nvSpPr>
          <p:cNvPr id="18" name="TextBox 17">
            <a:extLst>
              <a:ext uri="{FF2B5EF4-FFF2-40B4-BE49-F238E27FC236}">
                <a16:creationId xmlns:a16="http://schemas.microsoft.com/office/drawing/2014/main" id="{E6777FD1-E04C-4934-B5CD-F62B64C6B0D3}"/>
              </a:ext>
            </a:extLst>
          </p:cNvPr>
          <p:cNvSpPr txBox="1"/>
          <p:nvPr/>
        </p:nvSpPr>
        <p:spPr>
          <a:xfrm>
            <a:off x="9878984" y="3429000"/>
            <a:ext cx="1821108" cy="129266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There is starting to </a:t>
            </a:r>
            <a:b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e a consensus that </a:t>
            </a:r>
            <a:b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 micro service is a ‘simple application’ that is around the </a:t>
            </a:r>
            <a:b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10–100 LOC mark</a:t>
            </a:r>
          </a:p>
        </p:txBody>
      </p:sp>
      <p:grpSp>
        <p:nvGrpSpPr>
          <p:cNvPr id="4" name="Group 3">
            <a:extLst>
              <a:ext uri="{FF2B5EF4-FFF2-40B4-BE49-F238E27FC236}">
                <a16:creationId xmlns:a16="http://schemas.microsoft.com/office/drawing/2014/main" id="{15F8CA5D-D7C1-4F70-9160-103FF2D2B8A1}"/>
              </a:ext>
            </a:extLst>
          </p:cNvPr>
          <p:cNvGrpSpPr/>
          <p:nvPr/>
        </p:nvGrpSpPr>
        <p:grpSpPr>
          <a:xfrm>
            <a:off x="588263" y="2068473"/>
            <a:ext cx="1009650" cy="1009650"/>
            <a:chOff x="588263" y="2068473"/>
            <a:chExt cx="1009650" cy="1009650"/>
          </a:xfrm>
        </p:grpSpPr>
        <p:sp>
          <p:nvSpPr>
            <p:cNvPr id="2" name="Oval 1">
              <a:extLst>
                <a:ext uri="{FF2B5EF4-FFF2-40B4-BE49-F238E27FC236}">
                  <a16:creationId xmlns:a16="http://schemas.microsoft.com/office/drawing/2014/main" id="{F75B4055-CC4B-4FB5-BD16-55EBD6F0734A}"/>
                </a:ext>
              </a:extLst>
            </p:cNvPr>
            <p:cNvSpPr/>
            <p:nvPr/>
          </p:nvSpPr>
          <p:spPr bwMode="auto">
            <a:xfrm>
              <a:off x="588263" y="2068473"/>
              <a:ext cx="1009650" cy="1009650"/>
            </a:xfrm>
            <a:prstGeom prst="ellipse">
              <a:avLst/>
            </a:prstGeom>
            <a:solidFill>
              <a:schemeClr val="bg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box" title="Icon of a box">
              <a:extLst>
                <a:ext uri="{FF2B5EF4-FFF2-40B4-BE49-F238E27FC236}">
                  <a16:creationId xmlns:a16="http://schemas.microsoft.com/office/drawing/2014/main" id="{733D369E-8BD6-4D92-AB00-D3844F639675}"/>
                </a:ext>
              </a:extLst>
            </p:cNvPr>
            <p:cNvSpPr>
              <a:spLocks noChangeAspect="1" noEditPoints="1"/>
            </p:cNvSpPr>
            <p:nvPr/>
          </p:nvSpPr>
          <p:spPr bwMode="auto">
            <a:xfrm>
              <a:off x="890053" y="2368332"/>
              <a:ext cx="406071" cy="409932"/>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5875" cap="flat">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C79F93A6-C4ED-4DEF-9034-434039E235FE}"/>
              </a:ext>
            </a:extLst>
          </p:cNvPr>
          <p:cNvGrpSpPr/>
          <p:nvPr/>
        </p:nvGrpSpPr>
        <p:grpSpPr>
          <a:xfrm>
            <a:off x="2910943" y="2068473"/>
            <a:ext cx="1009650" cy="1009650"/>
            <a:chOff x="2910943" y="2068473"/>
            <a:chExt cx="1009650" cy="1009650"/>
          </a:xfrm>
        </p:grpSpPr>
        <p:sp>
          <p:nvSpPr>
            <p:cNvPr id="5" name="Oval 4">
              <a:extLst>
                <a:ext uri="{FF2B5EF4-FFF2-40B4-BE49-F238E27FC236}">
                  <a16:creationId xmlns:a16="http://schemas.microsoft.com/office/drawing/2014/main" id="{BFA7F4E8-9142-433B-A329-1BBEB21A5C86}"/>
                </a:ext>
              </a:extLst>
            </p:cNvPr>
            <p:cNvSpPr/>
            <p:nvPr/>
          </p:nvSpPr>
          <p:spPr bwMode="auto">
            <a:xfrm>
              <a:off x="2910943" y="2068473"/>
              <a:ext cx="1009650" cy="1009650"/>
            </a:xfrm>
            <a:prstGeom prst="ellipse">
              <a:avLst/>
            </a:prstGeom>
            <a:solidFill>
              <a:schemeClr val="bg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Website" title="Icon of multiple app windows">
              <a:extLst>
                <a:ext uri="{FF2B5EF4-FFF2-40B4-BE49-F238E27FC236}">
                  <a16:creationId xmlns:a16="http://schemas.microsoft.com/office/drawing/2014/main" id="{CDF9AAF4-1DB7-44C6-9413-8BEF428E3985}"/>
                </a:ext>
              </a:extLst>
            </p:cNvPr>
            <p:cNvSpPr>
              <a:spLocks noChangeAspect="1" noEditPoints="1"/>
            </p:cNvSpPr>
            <p:nvPr/>
          </p:nvSpPr>
          <p:spPr bwMode="auto">
            <a:xfrm>
              <a:off x="3186685" y="2372571"/>
              <a:ext cx="458167" cy="401455"/>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62B724E9-0AFC-4C48-B86F-502D4D3AD3C1}"/>
              </a:ext>
            </a:extLst>
          </p:cNvPr>
          <p:cNvGrpSpPr/>
          <p:nvPr/>
        </p:nvGrpSpPr>
        <p:grpSpPr>
          <a:xfrm>
            <a:off x="7556302" y="2068473"/>
            <a:ext cx="1009650" cy="1009650"/>
            <a:chOff x="7556302" y="2068473"/>
            <a:chExt cx="1009650" cy="1009650"/>
          </a:xfrm>
        </p:grpSpPr>
        <p:sp>
          <p:nvSpPr>
            <p:cNvPr id="8" name="Oval 7">
              <a:extLst>
                <a:ext uri="{FF2B5EF4-FFF2-40B4-BE49-F238E27FC236}">
                  <a16:creationId xmlns:a16="http://schemas.microsoft.com/office/drawing/2014/main" id="{AC5C4D4D-847B-42CA-8CB8-7BF81A979C82}"/>
                </a:ext>
              </a:extLst>
            </p:cNvPr>
            <p:cNvSpPr/>
            <p:nvPr/>
          </p:nvSpPr>
          <p:spPr bwMode="auto">
            <a:xfrm>
              <a:off x="7556302" y="2068473"/>
              <a:ext cx="1009650" cy="1009650"/>
            </a:xfrm>
            <a:prstGeom prst="ellipse">
              <a:avLst/>
            </a:prstGeom>
            <a:solidFill>
              <a:schemeClr val="bg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ageEdit_EFB8" title="Icon of a document with a pencil on top of it">
              <a:extLst>
                <a:ext uri="{FF2B5EF4-FFF2-40B4-BE49-F238E27FC236}">
                  <a16:creationId xmlns:a16="http://schemas.microsoft.com/office/drawing/2014/main" id="{17139F65-BDD8-48DD-A2AC-257A95CC421B}"/>
                </a:ext>
              </a:extLst>
            </p:cNvPr>
            <p:cNvSpPr>
              <a:spLocks noChangeAspect="1" noEditPoints="1"/>
            </p:cNvSpPr>
            <p:nvPr/>
          </p:nvSpPr>
          <p:spPr bwMode="auto">
            <a:xfrm>
              <a:off x="7841468" y="2339093"/>
              <a:ext cx="439319" cy="468410"/>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DD738B2-8B8C-478C-998B-2B4A174D2C20}"/>
              </a:ext>
            </a:extLst>
          </p:cNvPr>
          <p:cNvGrpSpPr/>
          <p:nvPr/>
        </p:nvGrpSpPr>
        <p:grpSpPr>
          <a:xfrm>
            <a:off x="5233623" y="2068473"/>
            <a:ext cx="1009650" cy="1009650"/>
            <a:chOff x="5233623" y="2068473"/>
            <a:chExt cx="1009650" cy="1009650"/>
          </a:xfrm>
        </p:grpSpPr>
        <p:sp>
          <p:nvSpPr>
            <p:cNvPr id="7" name="Oval 6">
              <a:extLst>
                <a:ext uri="{FF2B5EF4-FFF2-40B4-BE49-F238E27FC236}">
                  <a16:creationId xmlns:a16="http://schemas.microsoft.com/office/drawing/2014/main" id="{8BB3DB90-B344-49E3-A723-2A14ABB62234}"/>
                </a:ext>
              </a:extLst>
            </p:cNvPr>
            <p:cNvSpPr/>
            <p:nvPr/>
          </p:nvSpPr>
          <p:spPr bwMode="auto">
            <a:xfrm>
              <a:off x="5233623" y="2068473"/>
              <a:ext cx="1009650" cy="1009650"/>
            </a:xfrm>
            <a:prstGeom prst="ellipse">
              <a:avLst/>
            </a:prstGeom>
            <a:solidFill>
              <a:schemeClr val="bg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document_4" title="Icon of two documents side by side">
              <a:extLst>
                <a:ext uri="{FF2B5EF4-FFF2-40B4-BE49-F238E27FC236}">
                  <a16:creationId xmlns:a16="http://schemas.microsoft.com/office/drawing/2014/main" id="{12F7E0C1-96C0-4B47-A43F-C51BEB11DA46}"/>
                </a:ext>
              </a:extLst>
            </p:cNvPr>
            <p:cNvSpPr>
              <a:spLocks noChangeAspect="1" noEditPoints="1"/>
            </p:cNvSpPr>
            <p:nvPr/>
          </p:nvSpPr>
          <p:spPr bwMode="auto">
            <a:xfrm>
              <a:off x="5435701" y="2388697"/>
              <a:ext cx="605495" cy="369202"/>
            </a:xfrm>
            <a:custGeom>
              <a:avLst/>
              <a:gdLst>
                <a:gd name="T0" fmla="*/ 0 w 246"/>
                <a:gd name="T1" fmla="*/ 99 h 150"/>
                <a:gd name="T2" fmla="*/ 0 w 246"/>
                <a:gd name="T3" fmla="*/ 50 h 150"/>
                <a:gd name="T4" fmla="*/ 49 w 246"/>
                <a:gd name="T5" fmla="*/ 0 h 150"/>
                <a:gd name="T6" fmla="*/ 99 w 246"/>
                <a:gd name="T7" fmla="*/ 0 h 150"/>
                <a:gd name="T8" fmla="*/ 99 w 246"/>
                <a:gd name="T9" fmla="*/ 150 h 150"/>
                <a:gd name="T10" fmla="*/ 0 w 246"/>
                <a:gd name="T11" fmla="*/ 150 h 150"/>
                <a:gd name="T12" fmla="*/ 0 w 246"/>
                <a:gd name="T13" fmla="*/ 99 h 150"/>
                <a:gd name="T14" fmla="*/ 0 w 246"/>
                <a:gd name="T15" fmla="*/ 50 h 150"/>
                <a:gd name="T16" fmla="*/ 49 w 246"/>
                <a:gd name="T17" fmla="*/ 50 h 150"/>
                <a:gd name="T18" fmla="*/ 49 w 246"/>
                <a:gd name="T19" fmla="*/ 0 h 150"/>
                <a:gd name="T20" fmla="*/ 246 w 246"/>
                <a:gd name="T21" fmla="*/ 96 h 150"/>
                <a:gd name="T22" fmla="*/ 246 w 246"/>
                <a:gd name="T23" fmla="*/ 50 h 150"/>
                <a:gd name="T24" fmla="*/ 197 w 246"/>
                <a:gd name="T25" fmla="*/ 0 h 150"/>
                <a:gd name="T26" fmla="*/ 147 w 246"/>
                <a:gd name="T27" fmla="*/ 0 h 150"/>
                <a:gd name="T28" fmla="*/ 147 w 246"/>
                <a:gd name="T29" fmla="*/ 150 h 150"/>
                <a:gd name="T30" fmla="*/ 246 w 246"/>
                <a:gd name="T31" fmla="*/ 150 h 150"/>
                <a:gd name="T32" fmla="*/ 246 w 246"/>
                <a:gd name="T33" fmla="*/ 96 h 150"/>
                <a:gd name="T34" fmla="*/ 196 w 246"/>
                <a:gd name="T35" fmla="*/ 0 h 150"/>
                <a:gd name="T36" fmla="*/ 196 w 246"/>
                <a:gd name="T37" fmla="*/ 50 h 150"/>
                <a:gd name="T38" fmla="*/ 246 w 246"/>
                <a:gd name="T39" fmla="*/ 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150">
                  <a:moveTo>
                    <a:pt x="0" y="99"/>
                  </a:moveTo>
                  <a:lnTo>
                    <a:pt x="0" y="50"/>
                  </a:lnTo>
                  <a:lnTo>
                    <a:pt x="49" y="0"/>
                  </a:lnTo>
                  <a:lnTo>
                    <a:pt x="99" y="0"/>
                  </a:lnTo>
                  <a:lnTo>
                    <a:pt x="99" y="150"/>
                  </a:lnTo>
                  <a:lnTo>
                    <a:pt x="0" y="150"/>
                  </a:lnTo>
                  <a:lnTo>
                    <a:pt x="0" y="99"/>
                  </a:lnTo>
                  <a:moveTo>
                    <a:pt x="0" y="50"/>
                  </a:moveTo>
                  <a:lnTo>
                    <a:pt x="49" y="50"/>
                  </a:lnTo>
                  <a:lnTo>
                    <a:pt x="49" y="0"/>
                  </a:lnTo>
                  <a:moveTo>
                    <a:pt x="246" y="96"/>
                  </a:moveTo>
                  <a:lnTo>
                    <a:pt x="246" y="50"/>
                  </a:lnTo>
                  <a:lnTo>
                    <a:pt x="197" y="0"/>
                  </a:lnTo>
                  <a:lnTo>
                    <a:pt x="147" y="0"/>
                  </a:lnTo>
                  <a:lnTo>
                    <a:pt x="147" y="150"/>
                  </a:lnTo>
                  <a:lnTo>
                    <a:pt x="246" y="150"/>
                  </a:lnTo>
                  <a:lnTo>
                    <a:pt x="246" y="96"/>
                  </a:lnTo>
                  <a:moveTo>
                    <a:pt x="196" y="0"/>
                  </a:moveTo>
                  <a:lnTo>
                    <a:pt x="196" y="50"/>
                  </a:lnTo>
                  <a:lnTo>
                    <a:pt x="246" y="50"/>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CAD04116-6FC3-4396-923E-F9C032C7AEB8}"/>
              </a:ext>
            </a:extLst>
          </p:cNvPr>
          <p:cNvGrpSpPr/>
          <p:nvPr/>
        </p:nvGrpSpPr>
        <p:grpSpPr>
          <a:xfrm>
            <a:off x="9878984" y="2068473"/>
            <a:ext cx="1009650" cy="1009650"/>
            <a:chOff x="9878984" y="2068473"/>
            <a:chExt cx="1009650" cy="1009650"/>
          </a:xfrm>
        </p:grpSpPr>
        <p:sp>
          <p:nvSpPr>
            <p:cNvPr id="9" name="Oval 8">
              <a:extLst>
                <a:ext uri="{FF2B5EF4-FFF2-40B4-BE49-F238E27FC236}">
                  <a16:creationId xmlns:a16="http://schemas.microsoft.com/office/drawing/2014/main" id="{114ECE1E-72FA-4069-9D6F-7771363D9AAD}"/>
                </a:ext>
              </a:extLst>
            </p:cNvPr>
            <p:cNvSpPr/>
            <p:nvPr/>
          </p:nvSpPr>
          <p:spPr bwMode="auto">
            <a:xfrm>
              <a:off x="9878984" y="2068473"/>
              <a:ext cx="1009650" cy="1009650"/>
            </a:xfrm>
            <a:prstGeom prst="ellipse">
              <a:avLst/>
            </a:prstGeom>
            <a:solidFill>
              <a:schemeClr val="bg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browser_3" title="Icon of a browser window with an arrow pointing from the outside to the center">
              <a:extLst>
                <a:ext uri="{FF2B5EF4-FFF2-40B4-BE49-F238E27FC236}">
                  <a16:creationId xmlns:a16="http://schemas.microsoft.com/office/drawing/2014/main" id="{21168616-E779-4140-BC4D-F56365B5F144}"/>
                </a:ext>
              </a:extLst>
            </p:cNvPr>
            <p:cNvSpPr>
              <a:spLocks noChangeAspect="1" noEditPoints="1"/>
            </p:cNvSpPr>
            <p:nvPr/>
          </p:nvSpPr>
          <p:spPr bwMode="auto">
            <a:xfrm>
              <a:off x="10146535" y="2347608"/>
              <a:ext cx="474548" cy="45138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40925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8.33333E-7 1.11022E-16 L 8.33333E-7 0.01875 " pathEditMode="relative" rAng="0" ptsTypes="AA">
                                      <p:cBhvr>
                                        <p:cTn id="9" dur="500" spd="-100000" fill="hold"/>
                                        <p:tgtEl>
                                          <p:spTgt spid="4"/>
                                        </p:tgtEl>
                                        <p:attrNameLst>
                                          <p:attrName>ppt_x</p:attrName>
                                          <p:attrName>ppt_y</p:attrName>
                                        </p:attrNameLst>
                                      </p:cBhvr>
                                      <p:rCtr x="0" y="926"/>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0"/>
                                  </p:stCondLst>
                                  <p:childTnLst>
                                    <p:animMotion origin="layout" path="M 3.33333E-6 -2.22222E-6 L -0.02292 -0.00023 " pathEditMode="relative" rAng="0" ptsTypes="AA">
                                      <p:cBhvr>
                                        <p:cTn id="14" dur="500" spd="-100000" fill="hold"/>
                                        <p:tgtEl>
                                          <p:spTgt spid="3"/>
                                        </p:tgtEl>
                                        <p:attrNameLst>
                                          <p:attrName>ppt_x</p:attrName>
                                          <p:attrName>ppt_y</p:attrName>
                                        </p:attrNameLst>
                                      </p:cBhvr>
                                      <p:rCtr x="-1146" y="-23"/>
                                    </p:animMotion>
                                  </p:childTnLst>
                                </p:cTn>
                              </p:par>
                              <p:par>
                                <p:cTn id="15" presetID="10"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nodeType="withEffect">
                                  <p:stCondLst>
                                    <p:cond delay="0"/>
                                  </p:stCondLst>
                                  <p:childTnLst>
                                    <p:animMotion origin="layout" path="M 8.33333E-7 1.11022E-16 L 8.33333E-7 0.01875 " pathEditMode="relative" rAng="0" ptsTypes="AA">
                                      <p:cBhvr>
                                        <p:cTn id="19" dur="500" spd="-100000" fill="hold"/>
                                        <p:tgtEl>
                                          <p:spTgt spid="6"/>
                                        </p:tgtEl>
                                        <p:attrNameLst>
                                          <p:attrName>ppt_x</p:attrName>
                                          <p:attrName>ppt_y</p:attrName>
                                        </p:attrNameLst>
                                      </p:cBhvr>
                                      <p:rCtr x="0" y="926"/>
                                    </p:animMotion>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0"/>
                                  </p:stCondLst>
                                  <p:childTnLst>
                                    <p:animMotion origin="layout" path="M 8.33333E-7 1.11022E-16 L 8.33333E-7 0.01875 " pathEditMode="relative" rAng="0" ptsTypes="AA">
                                      <p:cBhvr>
                                        <p:cTn id="24" dur="500" spd="-100000" fill="hold"/>
                                        <p:tgtEl>
                                          <p:spTgt spid="10"/>
                                        </p:tgtEl>
                                        <p:attrNameLst>
                                          <p:attrName>ppt_x</p:attrName>
                                          <p:attrName>ppt_y</p:attrName>
                                        </p:attrNameLst>
                                      </p:cBhvr>
                                      <p:rCtr x="0" y="926"/>
                                    </p:animMotion>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0"/>
                                  </p:stCondLst>
                                  <p:childTnLst>
                                    <p:animMotion origin="layout" path="M 8.33333E-7 1.11022E-16 L 8.33333E-7 0.01875 " pathEditMode="relative" rAng="0" ptsTypes="AA">
                                      <p:cBhvr>
                                        <p:cTn id="29" dur="500" spd="-100000" fill="hold"/>
                                        <p:tgtEl>
                                          <p:spTgt spid="11"/>
                                        </p:tgtEl>
                                        <p:attrNameLst>
                                          <p:attrName>ppt_x</p:attrName>
                                          <p:attrName>ppt_y</p:attrName>
                                        </p:attrNameLst>
                                      </p:cBhvr>
                                      <p:rCtr x="0" y="926"/>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0"/>
                                  </p:stCondLst>
                                  <p:childTnLst>
                                    <p:animMotion origin="layout" path="M 8.33333E-7 1.11022E-16 L 8.33333E-7 0.01875 " pathEditMode="relative" rAng="0" ptsTypes="AA">
                                      <p:cBhvr>
                                        <p:cTn id="34" dur="500" spd="-100000" fill="hold"/>
                                        <p:tgtEl>
                                          <p:spTgt spid="12"/>
                                        </p:tgtEl>
                                        <p:attrNameLst>
                                          <p:attrName>ppt_x</p:attrName>
                                          <p:attrName>ppt_y</p:attrName>
                                        </p:attrNameLst>
                                      </p:cBhvr>
                                      <p:rCtr x="0" y="926"/>
                                    </p:animMotion>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42" presetClass="path" presetSubtype="0" decel="100000" fill="hold" grpId="1" nodeType="withEffect">
                                  <p:stCondLst>
                                    <p:cond delay="0"/>
                                  </p:stCondLst>
                                  <p:childTnLst>
                                    <p:animMotion origin="layout" path="M 3.33333E-6 -2.22222E-6 L -0.02292 -0.00023 " pathEditMode="relative" rAng="0" ptsTypes="AA">
                                      <p:cBhvr>
                                        <p:cTn id="39" dur="500" spd="-100000" fill="hold"/>
                                        <p:tgtEl>
                                          <p:spTgt spid="14"/>
                                        </p:tgtEl>
                                        <p:attrNameLst>
                                          <p:attrName>ppt_x</p:attrName>
                                          <p:attrName>ppt_y</p:attrName>
                                        </p:attrNameLst>
                                      </p:cBhvr>
                                      <p:rCtr x="-1146" y="-23"/>
                                    </p:animMotion>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42" presetClass="path" presetSubtype="0" decel="100000" fill="hold" grpId="1" nodeType="withEffect">
                                  <p:stCondLst>
                                    <p:cond delay="0"/>
                                  </p:stCondLst>
                                  <p:childTnLst>
                                    <p:animMotion origin="layout" path="M 3.33333E-6 -2.22222E-6 L -0.02292 -0.00023 " pathEditMode="relative" rAng="0" ptsTypes="AA">
                                      <p:cBhvr>
                                        <p:cTn id="44" dur="500" spd="-100000" fill="hold"/>
                                        <p:tgtEl>
                                          <p:spTgt spid="15"/>
                                        </p:tgtEl>
                                        <p:attrNameLst>
                                          <p:attrName>ppt_x</p:attrName>
                                          <p:attrName>ppt_y</p:attrName>
                                        </p:attrNameLst>
                                      </p:cBhvr>
                                      <p:rCtr x="-1146" y="-23"/>
                                    </p:animMotion>
                                  </p:childTnLst>
                                </p:cTn>
                              </p:par>
                              <p:par>
                                <p:cTn id="45" presetID="10" presetClass="entr" presetSubtype="0"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42" presetClass="path" presetSubtype="0" decel="100000" fill="hold" grpId="1" nodeType="withEffect">
                                  <p:stCondLst>
                                    <p:cond delay="0"/>
                                  </p:stCondLst>
                                  <p:childTnLst>
                                    <p:animMotion origin="layout" path="M 3.33333E-6 -2.22222E-6 L -0.02292 -0.00023 " pathEditMode="relative" rAng="0" ptsTypes="AA">
                                      <p:cBhvr>
                                        <p:cTn id="49" dur="500" spd="-100000" fill="hold"/>
                                        <p:tgtEl>
                                          <p:spTgt spid="16"/>
                                        </p:tgtEl>
                                        <p:attrNameLst>
                                          <p:attrName>ppt_x</p:attrName>
                                          <p:attrName>ppt_y</p:attrName>
                                        </p:attrNameLst>
                                      </p:cBhvr>
                                      <p:rCtr x="-1146" y="-23"/>
                                    </p:animMotion>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42" presetClass="path" presetSubtype="0" decel="100000" fill="hold" grpId="1" nodeType="withEffect">
                                  <p:stCondLst>
                                    <p:cond delay="0"/>
                                  </p:stCondLst>
                                  <p:childTnLst>
                                    <p:animMotion origin="layout" path="M 3.33333E-6 -2.22222E-6 L -0.02292 -0.00023 " pathEditMode="relative" rAng="0" ptsTypes="AA">
                                      <p:cBhvr>
                                        <p:cTn id="54" dur="500" spd="-100000" fill="hold"/>
                                        <p:tgtEl>
                                          <p:spTgt spid="18"/>
                                        </p:tgtEl>
                                        <p:attrNameLst>
                                          <p:attrName>ppt_x</p:attrName>
                                          <p:attrName>ppt_y</p:attrName>
                                        </p:attrNameLst>
                                      </p:cBhvr>
                                      <p:rCtr x="-114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4" grpId="0"/>
      <p:bldP spid="14" grpId="1"/>
      <p:bldP spid="15" grpId="0"/>
      <p:bldP spid="15" grpId="1"/>
      <p:bldP spid="16" grpId="0"/>
      <p:bldP spid="16" grpId="1"/>
      <p:bldP spid="18" grpId="0"/>
      <p:bldP spid="18"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553998"/>
          </a:xfrm>
        </p:spPr>
        <p:txBody>
          <a:bodyPr/>
          <a:lstStyle/>
          <a:p>
            <a:r>
              <a:rPr lang="en-US"/>
              <a:t>Micro service architecture</a:t>
            </a:r>
          </a:p>
        </p:txBody>
      </p:sp>
      <p:sp>
        <p:nvSpPr>
          <p:cNvPr id="40" name="Content Placeholder 2"/>
          <p:cNvSpPr>
            <a:spLocks noGrp="1"/>
          </p:cNvSpPr>
          <p:nvPr>
            <p:ph type="body" sz="quarter" idx="10"/>
          </p:nvPr>
        </p:nvSpPr>
        <p:spPr>
          <a:xfrm>
            <a:off x="588263" y="1295691"/>
            <a:ext cx="10277683" cy="430887"/>
          </a:xfrm>
        </p:spPr>
        <p:txBody>
          <a:bodyPr/>
          <a:lstStyle/>
          <a:p>
            <a:pPr marL="0" indent="0">
              <a:buNone/>
            </a:pPr>
            <a:r>
              <a:rPr lang="en-US"/>
              <a:t>Refactoring a monolith to a micro service-based architecture</a:t>
            </a:r>
          </a:p>
        </p:txBody>
      </p:sp>
      <p:sp>
        <p:nvSpPr>
          <p:cNvPr id="63" name="Rectangle 62">
            <a:extLst>
              <a:ext uri="{FF2B5EF4-FFF2-40B4-BE49-F238E27FC236}">
                <a16:creationId xmlns:a16="http://schemas.microsoft.com/office/drawing/2014/main" id="{DF883D1A-F2B1-4AE7-A5BD-1FE3390A3C0F}"/>
              </a:ext>
            </a:extLst>
          </p:cNvPr>
          <p:cNvSpPr/>
          <p:nvPr/>
        </p:nvSpPr>
        <p:spPr>
          <a:xfrm>
            <a:off x="1382009" y="2751657"/>
            <a:ext cx="3992074" cy="640080"/>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chemeClr val="bg1"/>
                    </a:gs>
                    <a:gs pos="100000">
                      <a:schemeClr val="bg1"/>
                    </a:gs>
                  </a:gsLst>
                  <a:lin ang="5400000" scaled="1"/>
                </a:gradFill>
                <a:effectLst/>
                <a:uLnTx/>
                <a:uFillTx/>
                <a:latin typeface="Segoe UI"/>
                <a:ea typeface="+mn-ea"/>
                <a:cs typeface="+mn-cs"/>
              </a:rPr>
              <a:t>User interface</a:t>
            </a:r>
          </a:p>
        </p:txBody>
      </p:sp>
      <p:sp>
        <p:nvSpPr>
          <p:cNvPr id="64" name="Rectangle 63">
            <a:extLst>
              <a:ext uri="{FF2B5EF4-FFF2-40B4-BE49-F238E27FC236}">
                <a16:creationId xmlns:a16="http://schemas.microsoft.com/office/drawing/2014/main" id="{1D413A92-9A26-4762-B34E-3A3496931D7D}"/>
              </a:ext>
            </a:extLst>
          </p:cNvPr>
          <p:cNvSpPr/>
          <p:nvPr/>
        </p:nvSpPr>
        <p:spPr>
          <a:xfrm>
            <a:off x="1382011" y="3639273"/>
            <a:ext cx="3992074" cy="640080"/>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chemeClr val="bg1"/>
                    </a:gs>
                    <a:gs pos="100000">
                      <a:schemeClr val="bg1"/>
                    </a:gs>
                  </a:gsLst>
                  <a:lin ang="5400000" scaled="1"/>
                </a:gradFill>
                <a:effectLst/>
                <a:uLnTx/>
                <a:uFillTx/>
                <a:latin typeface="Segoe UI"/>
                <a:ea typeface="+mn-ea"/>
                <a:cs typeface="+mn-cs"/>
              </a:rPr>
              <a:t>Business logic</a:t>
            </a:r>
          </a:p>
        </p:txBody>
      </p:sp>
      <p:sp>
        <p:nvSpPr>
          <p:cNvPr id="65" name="Rectangle 64">
            <a:extLst>
              <a:ext uri="{FF2B5EF4-FFF2-40B4-BE49-F238E27FC236}">
                <a16:creationId xmlns:a16="http://schemas.microsoft.com/office/drawing/2014/main" id="{71280A6E-F3C8-40CE-B42F-CE3F9A2F3431}"/>
              </a:ext>
            </a:extLst>
          </p:cNvPr>
          <p:cNvSpPr/>
          <p:nvPr/>
        </p:nvSpPr>
        <p:spPr>
          <a:xfrm>
            <a:off x="1382009" y="4526889"/>
            <a:ext cx="3992073" cy="640080"/>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chemeClr val="bg1"/>
                    </a:gs>
                    <a:gs pos="100000">
                      <a:schemeClr val="bg1"/>
                    </a:gs>
                  </a:gsLst>
                  <a:lin ang="5400000" scaled="1"/>
                </a:gradFill>
                <a:effectLst/>
                <a:uLnTx/>
                <a:uFillTx/>
                <a:latin typeface="Segoe UI"/>
                <a:ea typeface="+mn-ea"/>
                <a:cs typeface="+mn-cs"/>
              </a:rPr>
              <a:t>Data access</a:t>
            </a:r>
          </a:p>
        </p:txBody>
      </p:sp>
      <p:sp>
        <p:nvSpPr>
          <p:cNvPr id="66" name="Can 6">
            <a:extLst>
              <a:ext uri="{FF2B5EF4-FFF2-40B4-BE49-F238E27FC236}">
                <a16:creationId xmlns:a16="http://schemas.microsoft.com/office/drawing/2014/main" id="{3D6317E3-6762-4747-8BFB-B531F3F57352}"/>
              </a:ext>
            </a:extLst>
          </p:cNvPr>
          <p:cNvSpPr/>
          <p:nvPr/>
        </p:nvSpPr>
        <p:spPr>
          <a:xfrm>
            <a:off x="1382009" y="5562309"/>
            <a:ext cx="3992075" cy="630667"/>
          </a:xfrm>
          <a:prstGeom prst="can">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chemeClr val="bg1"/>
                    </a:gs>
                    <a:gs pos="100000">
                      <a:schemeClr val="bg1"/>
                    </a:gs>
                  </a:gsLst>
                  <a:lin ang="5400000" scaled="1"/>
                </a:gradFill>
                <a:effectLst/>
                <a:uLnTx/>
                <a:uFillTx/>
                <a:latin typeface="Segoe UI"/>
                <a:ea typeface="+mn-ea"/>
                <a:cs typeface="+mn-cs"/>
              </a:rPr>
              <a:t>Database</a:t>
            </a:r>
          </a:p>
        </p:txBody>
      </p:sp>
      <p:sp>
        <p:nvSpPr>
          <p:cNvPr id="67" name="TextBox 66">
            <a:extLst>
              <a:ext uri="{FF2B5EF4-FFF2-40B4-BE49-F238E27FC236}">
                <a16:creationId xmlns:a16="http://schemas.microsoft.com/office/drawing/2014/main" id="{E1021BD5-9842-4165-A7FA-39BF1374100B}"/>
              </a:ext>
            </a:extLst>
          </p:cNvPr>
          <p:cNvSpPr txBox="1"/>
          <p:nvPr/>
        </p:nvSpPr>
        <p:spPr bwMode="auto">
          <a:xfrm>
            <a:off x="2892387" y="2395944"/>
            <a:ext cx="825008" cy="276999"/>
          </a:xfrm>
          <a:prstGeom prst="rect">
            <a:avLst/>
          </a:prstGeom>
          <a:noFill/>
          <a:ln w="9525">
            <a:noFill/>
            <a:miter lim="800000"/>
            <a:headEnd/>
            <a:tailEnd/>
          </a:ln>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Product</a:t>
            </a:r>
          </a:p>
        </p:txBody>
      </p:sp>
      <p:sp>
        <p:nvSpPr>
          <p:cNvPr id="68" name="TextBox 67">
            <a:extLst>
              <a:ext uri="{FF2B5EF4-FFF2-40B4-BE49-F238E27FC236}">
                <a16:creationId xmlns:a16="http://schemas.microsoft.com/office/drawing/2014/main" id="{96DE8474-23C6-4036-B5AD-52AC1776C6B1}"/>
              </a:ext>
            </a:extLst>
          </p:cNvPr>
          <p:cNvSpPr txBox="1"/>
          <p:nvPr/>
        </p:nvSpPr>
        <p:spPr bwMode="auto">
          <a:xfrm>
            <a:off x="3853004" y="2395944"/>
            <a:ext cx="492229" cy="276999"/>
          </a:xfrm>
          <a:prstGeom prst="rect">
            <a:avLst/>
          </a:prstGeom>
          <a:noFill/>
          <a:ln w="9525">
            <a:noFill/>
            <a:miter lim="800000"/>
            <a:headEnd/>
            <a:tailEnd/>
          </a:ln>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Cart</a:t>
            </a:r>
          </a:p>
        </p:txBody>
      </p:sp>
      <p:sp>
        <p:nvSpPr>
          <p:cNvPr id="69" name="TextBox 68">
            <a:extLst>
              <a:ext uri="{FF2B5EF4-FFF2-40B4-BE49-F238E27FC236}">
                <a16:creationId xmlns:a16="http://schemas.microsoft.com/office/drawing/2014/main" id="{4FA9CFCE-8DF1-470A-B3F0-542272F7045B}"/>
              </a:ext>
            </a:extLst>
          </p:cNvPr>
          <p:cNvSpPr txBox="1"/>
          <p:nvPr/>
        </p:nvSpPr>
        <p:spPr bwMode="auto">
          <a:xfrm>
            <a:off x="4498137" y="2395944"/>
            <a:ext cx="799787" cy="276999"/>
          </a:xfrm>
          <a:prstGeom prst="rect">
            <a:avLst/>
          </a:prstGeom>
          <a:noFill/>
          <a:ln w="9525">
            <a:noFill/>
            <a:miter lim="800000"/>
            <a:headEnd/>
            <a:tailEnd/>
          </a:ln>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Pricing</a:t>
            </a:r>
          </a:p>
        </p:txBody>
      </p:sp>
      <p:grpSp>
        <p:nvGrpSpPr>
          <p:cNvPr id="23" name="Group 22">
            <a:extLst>
              <a:ext uri="{FF2B5EF4-FFF2-40B4-BE49-F238E27FC236}">
                <a16:creationId xmlns:a16="http://schemas.microsoft.com/office/drawing/2014/main" id="{B7FB4E1B-B152-41DD-8FB1-767EF6928104}"/>
              </a:ext>
            </a:extLst>
          </p:cNvPr>
          <p:cNvGrpSpPr/>
          <p:nvPr/>
        </p:nvGrpSpPr>
        <p:grpSpPr>
          <a:xfrm>
            <a:off x="3126359" y="2936029"/>
            <a:ext cx="359816" cy="271336"/>
            <a:chOff x="2236718" y="2940844"/>
            <a:chExt cx="359816" cy="271336"/>
          </a:xfrm>
        </p:grpSpPr>
        <p:sp>
          <p:nvSpPr>
            <p:cNvPr id="70" name="Triangle 7">
              <a:extLst>
                <a:ext uri="{FF2B5EF4-FFF2-40B4-BE49-F238E27FC236}">
                  <a16:creationId xmlns:a16="http://schemas.microsoft.com/office/drawing/2014/main" id="{2D14E5B1-2D46-4B6E-8232-43C8B1E766E6}"/>
                </a:ext>
              </a:extLst>
            </p:cNvPr>
            <p:cNvSpPr/>
            <p:nvPr/>
          </p:nvSpPr>
          <p:spPr>
            <a:xfrm>
              <a:off x="2236718" y="2940844"/>
              <a:ext cx="359816" cy="271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8CF0C6FE-E554-4AC8-ADD5-5D14D8940C78}"/>
                </a:ext>
              </a:extLst>
            </p:cNvPr>
            <p:cNvSpPr txBox="1"/>
            <p:nvPr/>
          </p:nvSpPr>
          <p:spPr>
            <a:xfrm>
              <a:off x="2373345" y="3025776"/>
              <a:ext cx="86562"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P</a:t>
              </a:r>
            </a:p>
          </p:txBody>
        </p:sp>
      </p:grpSp>
      <p:grpSp>
        <p:nvGrpSpPr>
          <p:cNvPr id="73" name="Group 72">
            <a:extLst>
              <a:ext uri="{FF2B5EF4-FFF2-40B4-BE49-F238E27FC236}">
                <a16:creationId xmlns:a16="http://schemas.microsoft.com/office/drawing/2014/main" id="{8A85A7BF-E299-42B5-A22A-4F1A44E066E2}"/>
              </a:ext>
            </a:extLst>
          </p:cNvPr>
          <p:cNvGrpSpPr/>
          <p:nvPr/>
        </p:nvGrpSpPr>
        <p:grpSpPr>
          <a:xfrm>
            <a:off x="3126359" y="3823645"/>
            <a:ext cx="359816" cy="271336"/>
            <a:chOff x="2236718" y="2940844"/>
            <a:chExt cx="359816" cy="271336"/>
          </a:xfrm>
        </p:grpSpPr>
        <p:sp>
          <p:nvSpPr>
            <p:cNvPr id="74" name="Triangle 7">
              <a:extLst>
                <a:ext uri="{FF2B5EF4-FFF2-40B4-BE49-F238E27FC236}">
                  <a16:creationId xmlns:a16="http://schemas.microsoft.com/office/drawing/2014/main" id="{20170403-0032-41BF-8B7E-4473E3C1CDFE}"/>
                </a:ext>
              </a:extLst>
            </p:cNvPr>
            <p:cNvSpPr/>
            <p:nvPr/>
          </p:nvSpPr>
          <p:spPr>
            <a:xfrm>
              <a:off x="2236718" y="2940844"/>
              <a:ext cx="359816" cy="271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75" name="TextBox 74">
              <a:extLst>
                <a:ext uri="{FF2B5EF4-FFF2-40B4-BE49-F238E27FC236}">
                  <a16:creationId xmlns:a16="http://schemas.microsoft.com/office/drawing/2014/main" id="{ADFCD338-7ECB-46A2-AF99-01567983669A}"/>
                </a:ext>
              </a:extLst>
            </p:cNvPr>
            <p:cNvSpPr txBox="1"/>
            <p:nvPr/>
          </p:nvSpPr>
          <p:spPr>
            <a:xfrm>
              <a:off x="2373345" y="3025776"/>
              <a:ext cx="86562"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P</a:t>
              </a:r>
            </a:p>
          </p:txBody>
        </p:sp>
      </p:grpSp>
      <p:grpSp>
        <p:nvGrpSpPr>
          <p:cNvPr id="76" name="Group 75">
            <a:extLst>
              <a:ext uri="{FF2B5EF4-FFF2-40B4-BE49-F238E27FC236}">
                <a16:creationId xmlns:a16="http://schemas.microsoft.com/office/drawing/2014/main" id="{2AA8E6A1-D139-481F-B231-38999EE8DEF7}"/>
              </a:ext>
            </a:extLst>
          </p:cNvPr>
          <p:cNvGrpSpPr/>
          <p:nvPr/>
        </p:nvGrpSpPr>
        <p:grpSpPr>
          <a:xfrm>
            <a:off x="3126359" y="4711261"/>
            <a:ext cx="359816" cy="271336"/>
            <a:chOff x="2236718" y="2940844"/>
            <a:chExt cx="359816" cy="271336"/>
          </a:xfrm>
        </p:grpSpPr>
        <p:sp>
          <p:nvSpPr>
            <p:cNvPr id="77" name="Triangle 7">
              <a:extLst>
                <a:ext uri="{FF2B5EF4-FFF2-40B4-BE49-F238E27FC236}">
                  <a16:creationId xmlns:a16="http://schemas.microsoft.com/office/drawing/2014/main" id="{FE3A707A-BA5C-4D0D-8AA9-7C8C71EEB083}"/>
                </a:ext>
              </a:extLst>
            </p:cNvPr>
            <p:cNvSpPr/>
            <p:nvPr/>
          </p:nvSpPr>
          <p:spPr>
            <a:xfrm>
              <a:off x="2236718" y="2940844"/>
              <a:ext cx="359816" cy="271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78" name="TextBox 77">
              <a:extLst>
                <a:ext uri="{FF2B5EF4-FFF2-40B4-BE49-F238E27FC236}">
                  <a16:creationId xmlns:a16="http://schemas.microsoft.com/office/drawing/2014/main" id="{77B0397D-377B-442C-AE18-EBA202D02445}"/>
                </a:ext>
              </a:extLst>
            </p:cNvPr>
            <p:cNvSpPr txBox="1"/>
            <p:nvPr/>
          </p:nvSpPr>
          <p:spPr>
            <a:xfrm>
              <a:off x="2373345" y="3025776"/>
              <a:ext cx="86562"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P</a:t>
              </a:r>
            </a:p>
          </p:txBody>
        </p:sp>
      </p:grpSp>
      <p:grpSp>
        <p:nvGrpSpPr>
          <p:cNvPr id="25" name="Group 24">
            <a:extLst>
              <a:ext uri="{FF2B5EF4-FFF2-40B4-BE49-F238E27FC236}">
                <a16:creationId xmlns:a16="http://schemas.microsoft.com/office/drawing/2014/main" id="{517C6345-075E-4E08-85C5-95BF968F82F2}"/>
              </a:ext>
            </a:extLst>
          </p:cNvPr>
          <p:cNvGrpSpPr/>
          <p:nvPr/>
        </p:nvGrpSpPr>
        <p:grpSpPr>
          <a:xfrm>
            <a:off x="3977402" y="2936029"/>
            <a:ext cx="274320" cy="271336"/>
            <a:chOff x="3078994" y="2936029"/>
            <a:chExt cx="274320" cy="271336"/>
          </a:xfrm>
        </p:grpSpPr>
        <p:sp>
          <p:nvSpPr>
            <p:cNvPr id="80" name="Triangle 7">
              <a:extLst>
                <a:ext uri="{FF2B5EF4-FFF2-40B4-BE49-F238E27FC236}">
                  <a16:creationId xmlns:a16="http://schemas.microsoft.com/office/drawing/2014/main" id="{C5859862-E91D-4390-BCBD-65B0361668F9}"/>
                </a:ext>
              </a:extLst>
            </p:cNvPr>
            <p:cNvSpPr/>
            <p:nvPr/>
          </p:nvSpPr>
          <p:spPr>
            <a:xfrm>
              <a:off x="3078994" y="2936029"/>
              <a:ext cx="274320" cy="271336"/>
            </a:xfrm>
            <a:prstGeom prst="flowChartConnector">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81" name="TextBox 80">
              <a:extLst>
                <a:ext uri="{FF2B5EF4-FFF2-40B4-BE49-F238E27FC236}">
                  <a16:creationId xmlns:a16="http://schemas.microsoft.com/office/drawing/2014/main" id="{8386942D-09D4-4BE5-AB90-77621D5C8704}"/>
                </a:ext>
              </a:extLst>
            </p:cNvPr>
            <p:cNvSpPr txBox="1"/>
            <p:nvPr/>
          </p:nvSpPr>
          <p:spPr>
            <a:xfrm>
              <a:off x="3172071" y="2987059"/>
              <a:ext cx="88166"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C</a:t>
              </a:r>
            </a:p>
          </p:txBody>
        </p:sp>
      </p:grpSp>
      <p:grpSp>
        <p:nvGrpSpPr>
          <p:cNvPr id="82" name="Group 81">
            <a:extLst>
              <a:ext uri="{FF2B5EF4-FFF2-40B4-BE49-F238E27FC236}">
                <a16:creationId xmlns:a16="http://schemas.microsoft.com/office/drawing/2014/main" id="{D7F72AF3-47F7-4F68-8CA7-C39DCC1662BE}"/>
              </a:ext>
            </a:extLst>
          </p:cNvPr>
          <p:cNvGrpSpPr/>
          <p:nvPr/>
        </p:nvGrpSpPr>
        <p:grpSpPr>
          <a:xfrm>
            <a:off x="3977402" y="3823645"/>
            <a:ext cx="274320" cy="271336"/>
            <a:chOff x="3078994" y="2936029"/>
            <a:chExt cx="274320" cy="271336"/>
          </a:xfrm>
        </p:grpSpPr>
        <p:sp>
          <p:nvSpPr>
            <p:cNvPr id="83" name="Triangle 7">
              <a:extLst>
                <a:ext uri="{FF2B5EF4-FFF2-40B4-BE49-F238E27FC236}">
                  <a16:creationId xmlns:a16="http://schemas.microsoft.com/office/drawing/2014/main" id="{3ABCF920-0C1D-4295-A2DB-345BE16D331E}"/>
                </a:ext>
              </a:extLst>
            </p:cNvPr>
            <p:cNvSpPr/>
            <p:nvPr/>
          </p:nvSpPr>
          <p:spPr>
            <a:xfrm>
              <a:off x="3078994" y="2936029"/>
              <a:ext cx="274320" cy="271336"/>
            </a:xfrm>
            <a:prstGeom prst="flowChartConnector">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84" name="TextBox 83">
              <a:extLst>
                <a:ext uri="{FF2B5EF4-FFF2-40B4-BE49-F238E27FC236}">
                  <a16:creationId xmlns:a16="http://schemas.microsoft.com/office/drawing/2014/main" id="{4830BDAB-8F1E-48FD-91BF-72054E6A7501}"/>
                </a:ext>
              </a:extLst>
            </p:cNvPr>
            <p:cNvSpPr txBox="1"/>
            <p:nvPr/>
          </p:nvSpPr>
          <p:spPr>
            <a:xfrm>
              <a:off x="3172071" y="2987059"/>
              <a:ext cx="88166"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C</a:t>
              </a:r>
            </a:p>
          </p:txBody>
        </p:sp>
      </p:grpSp>
      <p:grpSp>
        <p:nvGrpSpPr>
          <p:cNvPr id="85" name="Group 84">
            <a:extLst>
              <a:ext uri="{FF2B5EF4-FFF2-40B4-BE49-F238E27FC236}">
                <a16:creationId xmlns:a16="http://schemas.microsoft.com/office/drawing/2014/main" id="{B1083AAB-834E-4B1A-9EA8-A7B251CFB842}"/>
              </a:ext>
            </a:extLst>
          </p:cNvPr>
          <p:cNvGrpSpPr/>
          <p:nvPr/>
        </p:nvGrpSpPr>
        <p:grpSpPr>
          <a:xfrm>
            <a:off x="3977402" y="4711261"/>
            <a:ext cx="274320" cy="271336"/>
            <a:chOff x="3078994" y="2936029"/>
            <a:chExt cx="274320" cy="271336"/>
          </a:xfrm>
        </p:grpSpPr>
        <p:sp>
          <p:nvSpPr>
            <p:cNvPr id="86" name="Triangle 7">
              <a:extLst>
                <a:ext uri="{FF2B5EF4-FFF2-40B4-BE49-F238E27FC236}">
                  <a16:creationId xmlns:a16="http://schemas.microsoft.com/office/drawing/2014/main" id="{B7477A04-0B23-421C-86BE-CCA0081CF51E}"/>
                </a:ext>
              </a:extLst>
            </p:cNvPr>
            <p:cNvSpPr/>
            <p:nvPr/>
          </p:nvSpPr>
          <p:spPr>
            <a:xfrm>
              <a:off x="3078994" y="2936029"/>
              <a:ext cx="274320" cy="271336"/>
            </a:xfrm>
            <a:prstGeom prst="flowChartConnector">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87" name="TextBox 86">
              <a:extLst>
                <a:ext uri="{FF2B5EF4-FFF2-40B4-BE49-F238E27FC236}">
                  <a16:creationId xmlns:a16="http://schemas.microsoft.com/office/drawing/2014/main" id="{9545E5FD-44EC-4483-9235-A235F24B3F68}"/>
                </a:ext>
              </a:extLst>
            </p:cNvPr>
            <p:cNvSpPr txBox="1"/>
            <p:nvPr/>
          </p:nvSpPr>
          <p:spPr>
            <a:xfrm>
              <a:off x="3172071" y="2987059"/>
              <a:ext cx="88166"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C</a:t>
              </a:r>
            </a:p>
          </p:txBody>
        </p:sp>
      </p:grpSp>
      <p:grpSp>
        <p:nvGrpSpPr>
          <p:cNvPr id="88" name="Group 87">
            <a:extLst>
              <a:ext uri="{FF2B5EF4-FFF2-40B4-BE49-F238E27FC236}">
                <a16:creationId xmlns:a16="http://schemas.microsoft.com/office/drawing/2014/main" id="{C958BF9C-E0AE-437D-80F3-949CBF2A7053}"/>
              </a:ext>
            </a:extLst>
          </p:cNvPr>
          <p:cNvGrpSpPr/>
          <p:nvPr/>
        </p:nvGrpSpPr>
        <p:grpSpPr>
          <a:xfrm>
            <a:off x="4760870" y="2936029"/>
            <a:ext cx="274320" cy="271336"/>
            <a:chOff x="3078994" y="2936029"/>
            <a:chExt cx="274320" cy="271336"/>
          </a:xfrm>
        </p:grpSpPr>
        <p:sp>
          <p:nvSpPr>
            <p:cNvPr id="89" name="Triangle 7">
              <a:extLst>
                <a:ext uri="{FF2B5EF4-FFF2-40B4-BE49-F238E27FC236}">
                  <a16:creationId xmlns:a16="http://schemas.microsoft.com/office/drawing/2014/main" id="{2805DA8C-C935-42FF-A0DA-0FF89ED61FF2}"/>
                </a:ext>
              </a:extLst>
            </p:cNvPr>
            <p:cNvSpPr/>
            <p:nvPr/>
          </p:nvSpPr>
          <p:spPr>
            <a:xfrm>
              <a:off x="3078994" y="2936029"/>
              <a:ext cx="274320" cy="271336"/>
            </a:xfrm>
            <a:prstGeom prst="rect">
              <a:avLst/>
            </a:prstGeom>
            <a:solidFill>
              <a:srgbClr val="9C6C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90" name="TextBox 89">
              <a:extLst>
                <a:ext uri="{FF2B5EF4-FFF2-40B4-BE49-F238E27FC236}">
                  <a16:creationId xmlns:a16="http://schemas.microsoft.com/office/drawing/2014/main" id="{845D34DC-913D-4120-9ABE-C2FBDE9FE3D9}"/>
                </a:ext>
              </a:extLst>
            </p:cNvPr>
            <p:cNvSpPr txBox="1"/>
            <p:nvPr/>
          </p:nvSpPr>
          <p:spPr>
            <a:xfrm>
              <a:off x="3172071" y="2987059"/>
              <a:ext cx="88166"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P</a:t>
              </a:r>
            </a:p>
          </p:txBody>
        </p:sp>
      </p:grpSp>
      <p:grpSp>
        <p:nvGrpSpPr>
          <p:cNvPr id="91" name="Group 90">
            <a:extLst>
              <a:ext uri="{FF2B5EF4-FFF2-40B4-BE49-F238E27FC236}">
                <a16:creationId xmlns:a16="http://schemas.microsoft.com/office/drawing/2014/main" id="{9D0E491C-9213-4D1D-8E30-A1E5C39E2D52}"/>
              </a:ext>
            </a:extLst>
          </p:cNvPr>
          <p:cNvGrpSpPr/>
          <p:nvPr/>
        </p:nvGrpSpPr>
        <p:grpSpPr>
          <a:xfrm>
            <a:off x="4760870" y="3823645"/>
            <a:ext cx="274320" cy="271336"/>
            <a:chOff x="3078994" y="2936029"/>
            <a:chExt cx="274320" cy="271336"/>
          </a:xfrm>
        </p:grpSpPr>
        <p:sp>
          <p:nvSpPr>
            <p:cNvPr id="92" name="Triangle 7">
              <a:extLst>
                <a:ext uri="{FF2B5EF4-FFF2-40B4-BE49-F238E27FC236}">
                  <a16:creationId xmlns:a16="http://schemas.microsoft.com/office/drawing/2014/main" id="{F4AE4349-2EFE-4DC5-8F7F-1C86F258FE45}"/>
                </a:ext>
              </a:extLst>
            </p:cNvPr>
            <p:cNvSpPr/>
            <p:nvPr/>
          </p:nvSpPr>
          <p:spPr>
            <a:xfrm>
              <a:off x="3078994" y="2936029"/>
              <a:ext cx="274320" cy="271336"/>
            </a:xfrm>
            <a:prstGeom prst="rect">
              <a:avLst/>
            </a:prstGeom>
            <a:solidFill>
              <a:srgbClr val="9C6C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E3F81B92-EA4B-4354-9B30-7F48ECE578C6}"/>
                </a:ext>
              </a:extLst>
            </p:cNvPr>
            <p:cNvSpPr txBox="1"/>
            <p:nvPr/>
          </p:nvSpPr>
          <p:spPr>
            <a:xfrm>
              <a:off x="3172071" y="2987059"/>
              <a:ext cx="88166"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P</a:t>
              </a:r>
            </a:p>
          </p:txBody>
        </p:sp>
      </p:grpSp>
      <p:grpSp>
        <p:nvGrpSpPr>
          <p:cNvPr id="94" name="Group 93">
            <a:extLst>
              <a:ext uri="{FF2B5EF4-FFF2-40B4-BE49-F238E27FC236}">
                <a16:creationId xmlns:a16="http://schemas.microsoft.com/office/drawing/2014/main" id="{06F969BA-476C-4356-85AC-D105E80E3155}"/>
              </a:ext>
            </a:extLst>
          </p:cNvPr>
          <p:cNvGrpSpPr/>
          <p:nvPr/>
        </p:nvGrpSpPr>
        <p:grpSpPr>
          <a:xfrm>
            <a:off x="4760870" y="4711261"/>
            <a:ext cx="274320" cy="271336"/>
            <a:chOff x="3078994" y="2936029"/>
            <a:chExt cx="274320" cy="271336"/>
          </a:xfrm>
        </p:grpSpPr>
        <p:sp>
          <p:nvSpPr>
            <p:cNvPr id="95" name="Triangle 7">
              <a:extLst>
                <a:ext uri="{FF2B5EF4-FFF2-40B4-BE49-F238E27FC236}">
                  <a16:creationId xmlns:a16="http://schemas.microsoft.com/office/drawing/2014/main" id="{88CAEB55-29A7-49C7-AAF2-AE88AC96B9A5}"/>
                </a:ext>
              </a:extLst>
            </p:cNvPr>
            <p:cNvSpPr/>
            <p:nvPr/>
          </p:nvSpPr>
          <p:spPr>
            <a:xfrm>
              <a:off x="3078994" y="2936029"/>
              <a:ext cx="274320" cy="271336"/>
            </a:xfrm>
            <a:prstGeom prst="rect">
              <a:avLst/>
            </a:prstGeom>
            <a:solidFill>
              <a:srgbClr val="9C6C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96" name="TextBox 95">
              <a:extLst>
                <a:ext uri="{FF2B5EF4-FFF2-40B4-BE49-F238E27FC236}">
                  <a16:creationId xmlns:a16="http://schemas.microsoft.com/office/drawing/2014/main" id="{FD4ABF77-02E2-4288-A74C-F63739469294}"/>
                </a:ext>
              </a:extLst>
            </p:cNvPr>
            <p:cNvSpPr txBox="1"/>
            <p:nvPr/>
          </p:nvSpPr>
          <p:spPr>
            <a:xfrm>
              <a:off x="3172071" y="2987059"/>
              <a:ext cx="88166" cy="169277"/>
            </a:xfrm>
            <a:prstGeom prst="rect">
              <a:avLst/>
            </a:prstGeom>
            <a:noFill/>
          </p:spPr>
          <p:txBody>
            <a:bodyPr wrap="none" lIns="0" tIns="0" rIns="0" bIns="0" rtlCol="0">
              <a:spAutoFit/>
            </a:bodyPr>
            <a:lstStyle/>
            <a:p>
              <a:pPr algn="l"/>
              <a:r>
                <a:rPr lang="en-US" sz="1100" b="1">
                  <a:gradFill>
                    <a:gsLst>
                      <a:gs pos="2917">
                        <a:schemeClr val="tx1"/>
                      </a:gs>
                      <a:gs pos="30000">
                        <a:schemeClr val="tx1"/>
                      </a:gs>
                    </a:gsLst>
                    <a:lin ang="5400000" scaled="0"/>
                  </a:gradFill>
                </a:rPr>
                <a:t>P</a:t>
              </a:r>
            </a:p>
          </p:txBody>
        </p:sp>
      </p:grpSp>
      <p:sp>
        <p:nvSpPr>
          <p:cNvPr id="97" name="Down Arrow 45">
            <a:extLst>
              <a:ext uri="{FF2B5EF4-FFF2-40B4-BE49-F238E27FC236}">
                <a16:creationId xmlns:a16="http://schemas.microsoft.com/office/drawing/2014/main" id="{987B0E74-EC86-47A7-A552-58298D3A9E85}"/>
              </a:ext>
            </a:extLst>
          </p:cNvPr>
          <p:cNvSpPr/>
          <p:nvPr/>
        </p:nvSpPr>
        <p:spPr>
          <a:xfrm>
            <a:off x="3153373" y="5102933"/>
            <a:ext cx="303036" cy="37264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gradFill>
                <a:gsLst>
                  <a:gs pos="0">
                    <a:schemeClr val="bg1"/>
                  </a:gs>
                  <a:gs pos="100000">
                    <a:schemeClr val="bg1"/>
                  </a:gs>
                </a:gsLst>
                <a:lin ang="5400000" scaled="1"/>
              </a:gradFill>
              <a:latin typeface="Segoe UI"/>
            </a:endParaRPr>
          </a:p>
        </p:txBody>
      </p:sp>
      <p:sp>
        <p:nvSpPr>
          <p:cNvPr id="98" name="Down Arrow 45">
            <a:extLst>
              <a:ext uri="{FF2B5EF4-FFF2-40B4-BE49-F238E27FC236}">
                <a16:creationId xmlns:a16="http://schemas.microsoft.com/office/drawing/2014/main" id="{DDBEA115-EF05-4F51-B047-8974C5B945BF}"/>
              </a:ext>
            </a:extLst>
          </p:cNvPr>
          <p:cNvSpPr/>
          <p:nvPr/>
        </p:nvSpPr>
        <p:spPr>
          <a:xfrm>
            <a:off x="3963044" y="5102933"/>
            <a:ext cx="303036" cy="37264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gradFill>
                <a:gsLst>
                  <a:gs pos="0">
                    <a:schemeClr val="bg1"/>
                  </a:gs>
                  <a:gs pos="100000">
                    <a:schemeClr val="bg1"/>
                  </a:gs>
                </a:gsLst>
                <a:lin ang="5400000" scaled="1"/>
              </a:gradFill>
              <a:latin typeface="Segoe UI"/>
            </a:endParaRPr>
          </a:p>
        </p:txBody>
      </p:sp>
      <p:sp>
        <p:nvSpPr>
          <p:cNvPr id="99" name="Down Arrow 45">
            <a:extLst>
              <a:ext uri="{FF2B5EF4-FFF2-40B4-BE49-F238E27FC236}">
                <a16:creationId xmlns:a16="http://schemas.microsoft.com/office/drawing/2014/main" id="{DB0CB3EE-21AD-4AFD-BF79-C8ADA3F526CF}"/>
              </a:ext>
            </a:extLst>
          </p:cNvPr>
          <p:cNvSpPr/>
          <p:nvPr/>
        </p:nvSpPr>
        <p:spPr>
          <a:xfrm>
            <a:off x="4732154" y="5102933"/>
            <a:ext cx="303036" cy="37264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gradFill>
                <a:gsLst>
                  <a:gs pos="0">
                    <a:schemeClr val="bg1"/>
                  </a:gs>
                  <a:gs pos="100000">
                    <a:schemeClr val="bg1"/>
                  </a:gs>
                </a:gsLst>
                <a:lin ang="5400000" scaled="1"/>
              </a:gradFill>
              <a:latin typeface="Segoe UI"/>
            </a:endParaRPr>
          </a:p>
        </p:txBody>
      </p:sp>
      <p:sp>
        <p:nvSpPr>
          <p:cNvPr id="100" name="Rounded Rectangle 26">
            <a:extLst>
              <a:ext uri="{FF2B5EF4-FFF2-40B4-BE49-F238E27FC236}">
                <a16:creationId xmlns:a16="http://schemas.microsoft.com/office/drawing/2014/main" id="{841D935A-23C2-4F81-9C0E-932618741237}"/>
              </a:ext>
            </a:extLst>
          </p:cNvPr>
          <p:cNvSpPr/>
          <p:nvPr/>
        </p:nvSpPr>
        <p:spPr>
          <a:xfrm>
            <a:off x="2930637" y="2322812"/>
            <a:ext cx="739140" cy="2934988"/>
          </a:xfrm>
          <a:prstGeom prst="roundRect">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ounded Rectangle 26">
            <a:extLst>
              <a:ext uri="{FF2B5EF4-FFF2-40B4-BE49-F238E27FC236}">
                <a16:creationId xmlns:a16="http://schemas.microsoft.com/office/drawing/2014/main" id="{58C0C166-D57D-4FAE-B5BB-537449DD1AB3}"/>
              </a:ext>
            </a:extLst>
          </p:cNvPr>
          <p:cNvSpPr/>
          <p:nvPr/>
        </p:nvSpPr>
        <p:spPr>
          <a:xfrm>
            <a:off x="3729549" y="2322812"/>
            <a:ext cx="739140" cy="2934988"/>
          </a:xfrm>
          <a:prstGeom prst="roundRect">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ounded Rectangle 26">
            <a:extLst>
              <a:ext uri="{FF2B5EF4-FFF2-40B4-BE49-F238E27FC236}">
                <a16:creationId xmlns:a16="http://schemas.microsoft.com/office/drawing/2014/main" id="{0E11C1A3-9E42-4293-9092-B5AF671C0ECD}"/>
              </a:ext>
            </a:extLst>
          </p:cNvPr>
          <p:cNvSpPr/>
          <p:nvPr/>
        </p:nvSpPr>
        <p:spPr>
          <a:xfrm>
            <a:off x="4528461" y="2322812"/>
            <a:ext cx="739140" cy="2934988"/>
          </a:xfrm>
          <a:prstGeom prst="roundRect">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87D0BE28-BA26-47D8-A2F5-9788BA346A31}"/>
              </a:ext>
            </a:extLst>
          </p:cNvPr>
          <p:cNvGrpSpPr/>
          <p:nvPr/>
        </p:nvGrpSpPr>
        <p:grpSpPr>
          <a:xfrm>
            <a:off x="7285866" y="3674123"/>
            <a:ext cx="1150933" cy="2285297"/>
            <a:chOff x="7285866" y="3674123"/>
            <a:chExt cx="1150933" cy="2285297"/>
          </a:xfrm>
        </p:grpSpPr>
        <p:sp>
          <p:nvSpPr>
            <p:cNvPr id="107" name="Can 29">
              <a:extLst>
                <a:ext uri="{FF2B5EF4-FFF2-40B4-BE49-F238E27FC236}">
                  <a16:creationId xmlns:a16="http://schemas.microsoft.com/office/drawing/2014/main" id="{35080A53-E63E-4F80-9CEA-A3B75D987697}"/>
                </a:ext>
              </a:extLst>
            </p:cNvPr>
            <p:cNvSpPr/>
            <p:nvPr/>
          </p:nvSpPr>
          <p:spPr>
            <a:xfrm>
              <a:off x="7285866" y="5328753"/>
              <a:ext cx="1150933" cy="630667"/>
            </a:xfrm>
            <a:prstGeom prst="can">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chemeClr val="tx1"/>
                      </a:gs>
                      <a:gs pos="30000">
                        <a:schemeClr val="tx1"/>
                      </a:gs>
                    </a:gsLst>
                    <a:lin ang="5400000" scaled="0"/>
                  </a:gradFill>
                  <a:effectLst/>
                  <a:uLnTx/>
                  <a:uFillTx/>
                  <a:latin typeface="Segoe UI"/>
                  <a:ea typeface="+mn-ea"/>
                  <a:cs typeface="+mn-cs"/>
                </a:rPr>
                <a:t>Relational</a:t>
              </a:r>
            </a:p>
          </p:txBody>
        </p:sp>
        <p:sp>
          <p:nvSpPr>
            <p:cNvPr id="110" name="Down Arrow 45">
              <a:extLst>
                <a:ext uri="{FF2B5EF4-FFF2-40B4-BE49-F238E27FC236}">
                  <a16:creationId xmlns:a16="http://schemas.microsoft.com/office/drawing/2014/main" id="{C010DAA3-30A4-47BA-8F13-14F9F2E0E2D8}"/>
                </a:ext>
              </a:extLst>
            </p:cNvPr>
            <p:cNvSpPr/>
            <p:nvPr/>
          </p:nvSpPr>
          <p:spPr>
            <a:xfrm>
              <a:off x="7647594" y="4408538"/>
              <a:ext cx="427479" cy="68100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gradFill>
                  <a:gsLst>
                    <a:gs pos="0">
                      <a:schemeClr val="bg1"/>
                    </a:gs>
                    <a:gs pos="100000">
                      <a:schemeClr val="bg1"/>
                    </a:gs>
                  </a:gsLst>
                  <a:lin ang="5400000" scaled="1"/>
                </a:gradFill>
                <a:latin typeface="Segoe UI"/>
              </a:endParaRPr>
            </a:p>
          </p:txBody>
        </p:sp>
        <p:grpSp>
          <p:nvGrpSpPr>
            <p:cNvPr id="113" name="Group 112">
              <a:extLst>
                <a:ext uri="{FF2B5EF4-FFF2-40B4-BE49-F238E27FC236}">
                  <a16:creationId xmlns:a16="http://schemas.microsoft.com/office/drawing/2014/main" id="{0A3FBA83-6A57-4D8D-801A-5E1069F2E7D5}"/>
                </a:ext>
              </a:extLst>
            </p:cNvPr>
            <p:cNvGrpSpPr/>
            <p:nvPr/>
          </p:nvGrpSpPr>
          <p:grpSpPr>
            <a:xfrm>
              <a:off x="7473842" y="3674123"/>
              <a:ext cx="774982" cy="584411"/>
              <a:chOff x="2236718" y="2940844"/>
              <a:chExt cx="359816" cy="271336"/>
            </a:xfrm>
          </p:grpSpPr>
          <p:sp>
            <p:nvSpPr>
              <p:cNvPr id="114" name="Triangle 7">
                <a:extLst>
                  <a:ext uri="{FF2B5EF4-FFF2-40B4-BE49-F238E27FC236}">
                    <a16:creationId xmlns:a16="http://schemas.microsoft.com/office/drawing/2014/main" id="{BC4770E4-3C98-4633-AB2E-F27491C58C54}"/>
                  </a:ext>
                </a:extLst>
              </p:cNvPr>
              <p:cNvSpPr/>
              <p:nvPr/>
            </p:nvSpPr>
            <p:spPr>
              <a:xfrm>
                <a:off x="2236718" y="2940844"/>
                <a:ext cx="359816" cy="271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115" name="TextBox 114">
                <a:extLst>
                  <a:ext uri="{FF2B5EF4-FFF2-40B4-BE49-F238E27FC236}">
                    <a16:creationId xmlns:a16="http://schemas.microsoft.com/office/drawing/2014/main" id="{2731B50C-BAF9-43A6-B4EC-418CBF8E911E}"/>
                  </a:ext>
                </a:extLst>
              </p:cNvPr>
              <p:cNvSpPr txBox="1"/>
              <p:nvPr/>
            </p:nvSpPr>
            <p:spPr>
              <a:xfrm>
                <a:off x="2373345" y="3025776"/>
                <a:ext cx="87822" cy="171477"/>
              </a:xfrm>
              <a:prstGeom prst="rect">
                <a:avLst/>
              </a:prstGeom>
              <a:noFill/>
            </p:spPr>
            <p:txBody>
              <a:bodyPr wrap="none" lIns="0" tIns="0" rIns="0" bIns="0" rtlCol="0">
                <a:spAutoFit/>
              </a:bodyPr>
              <a:lstStyle/>
              <a:p>
                <a:pPr algn="l"/>
                <a:r>
                  <a:rPr lang="en-US" sz="2400" b="1">
                    <a:gradFill>
                      <a:gsLst>
                        <a:gs pos="2917">
                          <a:schemeClr val="tx1"/>
                        </a:gs>
                        <a:gs pos="30000">
                          <a:schemeClr val="tx1"/>
                        </a:gs>
                      </a:gsLst>
                      <a:lin ang="5400000" scaled="0"/>
                    </a:gradFill>
                  </a:rPr>
                  <a:t>P</a:t>
                </a:r>
              </a:p>
            </p:txBody>
          </p:sp>
        </p:grpSp>
      </p:grpSp>
      <p:grpSp>
        <p:nvGrpSpPr>
          <p:cNvPr id="150" name="Group 149">
            <a:extLst>
              <a:ext uri="{FF2B5EF4-FFF2-40B4-BE49-F238E27FC236}">
                <a16:creationId xmlns:a16="http://schemas.microsoft.com/office/drawing/2014/main" id="{AFA76F2F-E5DC-474F-AC04-4B62B7BBA7F7}"/>
              </a:ext>
            </a:extLst>
          </p:cNvPr>
          <p:cNvGrpSpPr/>
          <p:nvPr/>
        </p:nvGrpSpPr>
        <p:grpSpPr>
          <a:xfrm>
            <a:off x="8978695" y="3641119"/>
            <a:ext cx="691300" cy="2318301"/>
            <a:chOff x="8978695" y="3641119"/>
            <a:chExt cx="691300" cy="2318301"/>
          </a:xfrm>
        </p:grpSpPr>
        <p:sp>
          <p:nvSpPr>
            <p:cNvPr id="108" name="Folded Corner 30">
              <a:extLst>
                <a:ext uri="{FF2B5EF4-FFF2-40B4-BE49-F238E27FC236}">
                  <a16:creationId xmlns:a16="http://schemas.microsoft.com/office/drawing/2014/main" id="{CCB5820E-B0F5-446E-AA77-E853B9C4E925}"/>
                </a:ext>
              </a:extLst>
            </p:cNvPr>
            <p:cNvSpPr/>
            <p:nvPr/>
          </p:nvSpPr>
          <p:spPr>
            <a:xfrm>
              <a:off x="8978695" y="5278414"/>
              <a:ext cx="691300" cy="681006"/>
            </a:xfrm>
            <a:prstGeom prst="foldedCorner">
              <a:avLst>
                <a:gd name="adj" fmla="val 23381"/>
              </a:avLst>
            </a:prstGeom>
            <a:solidFill>
              <a:srgbClr val="4CB1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200" b="1">
                <a:gradFill>
                  <a:gsLst>
                    <a:gs pos="2917">
                      <a:schemeClr val="tx1"/>
                    </a:gs>
                    <a:gs pos="30000">
                      <a:schemeClr val="tx1"/>
                    </a:gs>
                  </a:gsLst>
                  <a:lin ang="5400000" scaled="0"/>
                </a:gradFill>
                <a:latin typeface="Segoe UI"/>
              </a:endParaRP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a:gradFill>
                    <a:gsLst>
                      <a:gs pos="2917">
                        <a:schemeClr val="tx1"/>
                      </a:gs>
                      <a:gs pos="30000">
                        <a:schemeClr val="tx1"/>
                      </a:gs>
                    </a:gsLst>
                    <a:lin ang="5400000" scaled="0"/>
                  </a:gradFill>
                  <a:latin typeface="Segoe UI"/>
                </a:rPr>
                <a:t>Doc</a:t>
              </a:r>
            </a:p>
          </p:txBody>
        </p:sp>
        <p:sp>
          <p:nvSpPr>
            <p:cNvPr id="116" name="Down Arrow 45">
              <a:extLst>
                <a:ext uri="{FF2B5EF4-FFF2-40B4-BE49-F238E27FC236}">
                  <a16:creationId xmlns:a16="http://schemas.microsoft.com/office/drawing/2014/main" id="{EC66128B-FED4-4901-B687-6EA133801F05}"/>
                </a:ext>
              </a:extLst>
            </p:cNvPr>
            <p:cNvSpPr/>
            <p:nvPr/>
          </p:nvSpPr>
          <p:spPr>
            <a:xfrm>
              <a:off x="9110606" y="4408538"/>
              <a:ext cx="427479" cy="68100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gradFill>
                  <a:gsLst>
                    <a:gs pos="0">
                      <a:schemeClr val="bg1"/>
                    </a:gs>
                    <a:gs pos="100000">
                      <a:schemeClr val="bg1"/>
                    </a:gs>
                  </a:gsLst>
                  <a:lin ang="5400000" scaled="1"/>
                </a:gradFill>
                <a:latin typeface="Segoe UI"/>
              </a:endParaRPr>
            </a:p>
          </p:txBody>
        </p:sp>
        <p:grpSp>
          <p:nvGrpSpPr>
            <p:cNvPr id="117" name="Group 116">
              <a:extLst>
                <a:ext uri="{FF2B5EF4-FFF2-40B4-BE49-F238E27FC236}">
                  <a16:creationId xmlns:a16="http://schemas.microsoft.com/office/drawing/2014/main" id="{6B9CDC6E-0D79-4442-B413-B55DA58F4EC5}"/>
                </a:ext>
              </a:extLst>
            </p:cNvPr>
            <p:cNvGrpSpPr/>
            <p:nvPr/>
          </p:nvGrpSpPr>
          <p:grpSpPr>
            <a:xfrm>
              <a:off x="9012243" y="3641119"/>
              <a:ext cx="624205" cy="617415"/>
              <a:chOff x="3078994" y="2936029"/>
              <a:chExt cx="274320" cy="271336"/>
            </a:xfrm>
          </p:grpSpPr>
          <p:sp>
            <p:nvSpPr>
              <p:cNvPr id="118" name="Triangle 7">
                <a:extLst>
                  <a:ext uri="{FF2B5EF4-FFF2-40B4-BE49-F238E27FC236}">
                    <a16:creationId xmlns:a16="http://schemas.microsoft.com/office/drawing/2014/main" id="{3C8DE360-27CB-41DB-9E31-A0D2924D599F}"/>
                  </a:ext>
                </a:extLst>
              </p:cNvPr>
              <p:cNvSpPr/>
              <p:nvPr/>
            </p:nvSpPr>
            <p:spPr>
              <a:xfrm>
                <a:off x="3078994" y="2936029"/>
                <a:ext cx="274320" cy="271336"/>
              </a:xfrm>
              <a:prstGeom prst="flowChartConnector">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119" name="TextBox 118">
                <a:extLst>
                  <a:ext uri="{FF2B5EF4-FFF2-40B4-BE49-F238E27FC236}">
                    <a16:creationId xmlns:a16="http://schemas.microsoft.com/office/drawing/2014/main" id="{8FC6988F-708A-40D0-85EB-4C0B0B2280EF}"/>
                  </a:ext>
                </a:extLst>
              </p:cNvPr>
              <p:cNvSpPr txBox="1"/>
              <p:nvPr/>
            </p:nvSpPr>
            <p:spPr>
              <a:xfrm>
                <a:off x="3172071" y="2987059"/>
                <a:ext cx="84537" cy="162311"/>
              </a:xfrm>
              <a:prstGeom prst="rect">
                <a:avLst/>
              </a:prstGeom>
              <a:noFill/>
            </p:spPr>
            <p:txBody>
              <a:bodyPr wrap="none" lIns="0" tIns="0" rIns="0" bIns="0" rtlCol="0">
                <a:spAutoFit/>
              </a:bodyPr>
              <a:lstStyle/>
              <a:p>
                <a:pPr algn="l"/>
                <a:r>
                  <a:rPr lang="en-US" sz="2400" b="1">
                    <a:gradFill>
                      <a:gsLst>
                        <a:gs pos="2917">
                          <a:schemeClr val="tx1"/>
                        </a:gs>
                        <a:gs pos="30000">
                          <a:schemeClr val="tx1"/>
                        </a:gs>
                      </a:gsLst>
                      <a:lin ang="5400000" scaled="0"/>
                    </a:gradFill>
                  </a:rPr>
                  <a:t>C</a:t>
                </a:r>
              </a:p>
            </p:txBody>
          </p:sp>
        </p:grpSp>
      </p:grpSp>
      <p:grpSp>
        <p:nvGrpSpPr>
          <p:cNvPr id="151" name="Group 150">
            <a:extLst>
              <a:ext uri="{FF2B5EF4-FFF2-40B4-BE49-F238E27FC236}">
                <a16:creationId xmlns:a16="http://schemas.microsoft.com/office/drawing/2014/main" id="{42482A93-0DD1-41C8-99D1-F98C0577B4A9}"/>
              </a:ext>
            </a:extLst>
          </p:cNvPr>
          <p:cNvGrpSpPr/>
          <p:nvPr/>
        </p:nvGrpSpPr>
        <p:grpSpPr>
          <a:xfrm>
            <a:off x="10327725" y="3693158"/>
            <a:ext cx="872709" cy="2270062"/>
            <a:chOff x="10327725" y="3693158"/>
            <a:chExt cx="872709" cy="2270062"/>
          </a:xfrm>
        </p:grpSpPr>
        <p:sp>
          <p:nvSpPr>
            <p:cNvPr id="109" name="Rectangle 108">
              <a:extLst>
                <a:ext uri="{FF2B5EF4-FFF2-40B4-BE49-F238E27FC236}">
                  <a16:creationId xmlns:a16="http://schemas.microsoft.com/office/drawing/2014/main" id="{422CFE79-5E2D-4E7B-914A-F7084892E1EE}"/>
                </a:ext>
              </a:extLst>
            </p:cNvPr>
            <p:cNvSpPr/>
            <p:nvPr/>
          </p:nvSpPr>
          <p:spPr>
            <a:xfrm>
              <a:off x="10327725" y="5242025"/>
              <a:ext cx="872709" cy="721195"/>
            </a:xfrm>
            <a:prstGeom prst="rect">
              <a:avLst/>
            </a:prstGeom>
            <a:solidFill>
              <a:srgbClr val="9C6C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b="1">
                  <a:gradFill>
                    <a:gsLst>
                      <a:gs pos="2917">
                        <a:schemeClr val="tx1"/>
                      </a:gs>
                      <a:gs pos="30000">
                        <a:schemeClr val="tx1"/>
                      </a:gs>
                    </a:gsLst>
                    <a:lin ang="5400000" scaled="0"/>
                  </a:gradFill>
                  <a:latin typeface="Segoe UI"/>
                </a:rPr>
                <a:t>Name/</a:t>
              </a:r>
            </a:p>
            <a:p>
              <a:pPr algn="ctr">
                <a:defRPr/>
              </a:pPr>
              <a:r>
                <a:rPr lang="en-US" sz="1200" b="1">
                  <a:gradFill>
                    <a:gsLst>
                      <a:gs pos="2917">
                        <a:schemeClr val="tx1"/>
                      </a:gs>
                      <a:gs pos="30000">
                        <a:schemeClr val="tx1"/>
                      </a:gs>
                    </a:gsLst>
                    <a:lin ang="5400000" scaled="0"/>
                  </a:gradFill>
                  <a:latin typeface="Segoe UI"/>
                </a:rPr>
                <a:t>value</a:t>
              </a:r>
            </a:p>
          </p:txBody>
        </p:sp>
        <p:sp>
          <p:nvSpPr>
            <p:cNvPr id="120" name="Down Arrow 45">
              <a:extLst>
                <a:ext uri="{FF2B5EF4-FFF2-40B4-BE49-F238E27FC236}">
                  <a16:creationId xmlns:a16="http://schemas.microsoft.com/office/drawing/2014/main" id="{6ECE7655-6FC4-4E54-BA29-0BE67853E663}"/>
                </a:ext>
              </a:extLst>
            </p:cNvPr>
            <p:cNvSpPr/>
            <p:nvPr/>
          </p:nvSpPr>
          <p:spPr>
            <a:xfrm>
              <a:off x="10550340" y="4408538"/>
              <a:ext cx="427479" cy="681005"/>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gradFill>
                  <a:gsLst>
                    <a:gs pos="0">
                      <a:schemeClr val="bg1"/>
                    </a:gs>
                    <a:gs pos="100000">
                      <a:schemeClr val="bg1"/>
                    </a:gs>
                  </a:gsLst>
                  <a:lin ang="5400000" scaled="1"/>
                </a:gradFill>
                <a:latin typeface="Segoe UI"/>
              </a:endParaRPr>
            </a:p>
          </p:txBody>
        </p:sp>
        <p:grpSp>
          <p:nvGrpSpPr>
            <p:cNvPr id="121" name="Group 120">
              <a:extLst>
                <a:ext uri="{FF2B5EF4-FFF2-40B4-BE49-F238E27FC236}">
                  <a16:creationId xmlns:a16="http://schemas.microsoft.com/office/drawing/2014/main" id="{111CA4D2-9E48-4797-866A-1030751D2F98}"/>
                </a:ext>
              </a:extLst>
            </p:cNvPr>
            <p:cNvGrpSpPr/>
            <p:nvPr/>
          </p:nvGrpSpPr>
          <p:grpSpPr>
            <a:xfrm>
              <a:off x="10481513" y="3693158"/>
              <a:ext cx="565132" cy="558985"/>
              <a:chOff x="3078994" y="2936029"/>
              <a:chExt cx="274320" cy="271336"/>
            </a:xfrm>
          </p:grpSpPr>
          <p:sp>
            <p:nvSpPr>
              <p:cNvPr id="122" name="Triangle 7">
                <a:extLst>
                  <a:ext uri="{FF2B5EF4-FFF2-40B4-BE49-F238E27FC236}">
                    <a16:creationId xmlns:a16="http://schemas.microsoft.com/office/drawing/2014/main" id="{33A1AA89-980F-40CB-B0D9-9396211EC467}"/>
                  </a:ext>
                </a:extLst>
              </p:cNvPr>
              <p:cNvSpPr/>
              <p:nvPr/>
            </p:nvSpPr>
            <p:spPr>
              <a:xfrm>
                <a:off x="3078994" y="2936029"/>
                <a:ext cx="274320" cy="271336"/>
              </a:xfrm>
              <a:prstGeom prst="rect">
                <a:avLst/>
              </a:prstGeom>
              <a:solidFill>
                <a:srgbClr val="9C6C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a:ea typeface="+mn-ea"/>
                  <a:cs typeface="+mn-cs"/>
                </a:endParaRPr>
              </a:p>
            </p:txBody>
          </p:sp>
          <p:sp>
            <p:nvSpPr>
              <p:cNvPr id="123" name="TextBox 122">
                <a:extLst>
                  <a:ext uri="{FF2B5EF4-FFF2-40B4-BE49-F238E27FC236}">
                    <a16:creationId xmlns:a16="http://schemas.microsoft.com/office/drawing/2014/main" id="{94A07124-F028-46D9-A9E3-6B44818EC74E}"/>
                  </a:ext>
                </a:extLst>
              </p:cNvPr>
              <p:cNvSpPr txBox="1"/>
              <p:nvPr/>
            </p:nvSpPr>
            <p:spPr>
              <a:xfrm>
                <a:off x="3172071" y="2987059"/>
                <a:ext cx="91817" cy="179277"/>
              </a:xfrm>
              <a:prstGeom prst="rect">
                <a:avLst/>
              </a:prstGeom>
              <a:noFill/>
            </p:spPr>
            <p:txBody>
              <a:bodyPr wrap="none" lIns="0" tIns="0" rIns="0" bIns="0" rtlCol="0">
                <a:spAutoFit/>
              </a:bodyPr>
              <a:lstStyle/>
              <a:p>
                <a:pPr algn="l"/>
                <a:r>
                  <a:rPr lang="en-US" sz="2400" b="1">
                    <a:gradFill>
                      <a:gsLst>
                        <a:gs pos="2917">
                          <a:schemeClr val="tx1"/>
                        </a:gs>
                        <a:gs pos="30000">
                          <a:schemeClr val="tx1"/>
                        </a:gs>
                      </a:gsLst>
                      <a:lin ang="5400000" scaled="0"/>
                    </a:gradFill>
                  </a:rPr>
                  <a:t>P</a:t>
                </a:r>
              </a:p>
            </p:txBody>
          </p:sp>
        </p:grpSp>
      </p:grpSp>
      <p:sp>
        <p:nvSpPr>
          <p:cNvPr id="124" name="Rounded Rectangle 26">
            <a:extLst>
              <a:ext uri="{FF2B5EF4-FFF2-40B4-BE49-F238E27FC236}">
                <a16:creationId xmlns:a16="http://schemas.microsoft.com/office/drawing/2014/main" id="{36E80413-938A-4F0A-906C-948436AD7A4E}"/>
              </a:ext>
            </a:extLst>
          </p:cNvPr>
          <p:cNvSpPr/>
          <p:nvPr/>
        </p:nvSpPr>
        <p:spPr>
          <a:xfrm>
            <a:off x="7192891" y="3507863"/>
            <a:ext cx="1356900" cy="2585305"/>
          </a:xfrm>
          <a:prstGeom prst="roundRect">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ounded Rectangle 26">
            <a:extLst>
              <a:ext uri="{FF2B5EF4-FFF2-40B4-BE49-F238E27FC236}">
                <a16:creationId xmlns:a16="http://schemas.microsoft.com/office/drawing/2014/main" id="{469C83E8-95F9-4FB5-9D88-5394766CA611}"/>
              </a:ext>
            </a:extLst>
          </p:cNvPr>
          <p:cNvSpPr/>
          <p:nvPr/>
        </p:nvSpPr>
        <p:spPr>
          <a:xfrm>
            <a:off x="8628549" y="3507863"/>
            <a:ext cx="1356900" cy="2585305"/>
          </a:xfrm>
          <a:prstGeom prst="roundRect">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Rounded Rectangle 26">
            <a:extLst>
              <a:ext uri="{FF2B5EF4-FFF2-40B4-BE49-F238E27FC236}">
                <a16:creationId xmlns:a16="http://schemas.microsoft.com/office/drawing/2014/main" id="{4D74422B-ACB8-4C8B-AD21-AD582D24D72D}"/>
              </a:ext>
            </a:extLst>
          </p:cNvPr>
          <p:cNvSpPr/>
          <p:nvPr/>
        </p:nvSpPr>
        <p:spPr>
          <a:xfrm>
            <a:off x="10064207" y="3507863"/>
            <a:ext cx="1356900" cy="2585305"/>
          </a:xfrm>
          <a:prstGeom prst="roundRect">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3" name="Straight Connector 32">
            <a:extLst>
              <a:ext uri="{FF2B5EF4-FFF2-40B4-BE49-F238E27FC236}">
                <a16:creationId xmlns:a16="http://schemas.microsoft.com/office/drawing/2014/main" id="{318F24AB-49F8-4FAD-9B72-BA49AA2ACB02}"/>
              </a:ext>
            </a:extLst>
          </p:cNvPr>
          <p:cNvCxnSpPr/>
          <p:nvPr/>
        </p:nvCxnSpPr>
        <p:spPr>
          <a:xfrm flipH="1">
            <a:off x="1111827" y="5166969"/>
            <a:ext cx="12469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16509FE-F9C2-4252-811C-5A4CB1BFD3DD}"/>
              </a:ext>
            </a:extLst>
          </p:cNvPr>
          <p:cNvCxnSpPr/>
          <p:nvPr/>
        </p:nvCxnSpPr>
        <p:spPr>
          <a:xfrm flipH="1">
            <a:off x="1111827" y="2751657"/>
            <a:ext cx="12469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729C0A3-4EFB-4910-9C29-3AB461B7C160}"/>
              </a:ext>
            </a:extLst>
          </p:cNvPr>
          <p:cNvCxnSpPr/>
          <p:nvPr/>
        </p:nvCxnSpPr>
        <p:spPr>
          <a:xfrm>
            <a:off x="1111827" y="2751657"/>
            <a:ext cx="0" cy="241531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E539297-8AD7-4D92-9C21-3F63D6C50A72}"/>
              </a:ext>
            </a:extLst>
          </p:cNvPr>
          <p:cNvSpPr txBox="1"/>
          <p:nvPr/>
        </p:nvSpPr>
        <p:spPr>
          <a:xfrm rot="16200000">
            <a:off x="585929" y="3866980"/>
            <a:ext cx="1051795" cy="184666"/>
          </a:xfrm>
          <a:prstGeom prst="rect">
            <a:avLst/>
          </a:prstGeom>
          <a:solidFill>
            <a:schemeClr val="bg1"/>
          </a:solidFill>
        </p:spPr>
        <p:txBody>
          <a:bodyPr wrap="square" lIns="0" tIns="0" rIns="0" bIns="0" rtlCol="0">
            <a:spAutoFit/>
          </a:bodyPr>
          <a:lstStyle/>
          <a:p>
            <a:pPr algn="ctr"/>
            <a:r>
              <a:rPr lang="en-US" sz="1200" b="1">
                <a:gradFill>
                  <a:gsLst>
                    <a:gs pos="2917">
                      <a:schemeClr val="tx1"/>
                    </a:gs>
                    <a:gs pos="30000">
                      <a:schemeClr val="tx1"/>
                    </a:gs>
                  </a:gsLst>
                  <a:lin ang="5400000" scaled="0"/>
                </a:gradFill>
              </a:rPr>
              <a:t>CLIENT APP</a:t>
            </a:r>
          </a:p>
        </p:txBody>
      </p:sp>
      <p:cxnSp>
        <p:nvCxnSpPr>
          <p:cNvPr id="39" name="Straight Connector 38">
            <a:extLst>
              <a:ext uri="{FF2B5EF4-FFF2-40B4-BE49-F238E27FC236}">
                <a16:creationId xmlns:a16="http://schemas.microsoft.com/office/drawing/2014/main" id="{BDB6D34B-F4C8-4FCB-A94F-7F3F04EF1712}"/>
              </a:ext>
            </a:extLst>
          </p:cNvPr>
          <p:cNvCxnSpPr>
            <a:cxnSpLocks/>
          </p:cNvCxnSpPr>
          <p:nvPr/>
        </p:nvCxnSpPr>
        <p:spPr>
          <a:xfrm>
            <a:off x="5767388" y="5166969"/>
            <a:ext cx="1706454" cy="0"/>
          </a:xfrm>
          <a:prstGeom prst="line">
            <a:avLst/>
          </a:prstGeom>
          <a:ln cap="rnd">
            <a:solidFill>
              <a:schemeClr val="tx1"/>
            </a:solidFill>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130" name="Rectangle: Rounded Corners 129">
            <a:extLst>
              <a:ext uri="{FF2B5EF4-FFF2-40B4-BE49-F238E27FC236}">
                <a16:creationId xmlns:a16="http://schemas.microsoft.com/office/drawing/2014/main" id="{78A19E93-6C97-42DE-86A0-D7F381545227}"/>
              </a:ext>
            </a:extLst>
          </p:cNvPr>
          <p:cNvSpPr/>
          <p:nvPr/>
        </p:nvSpPr>
        <p:spPr>
          <a:xfrm>
            <a:off x="5671022" y="4340897"/>
            <a:ext cx="1353989" cy="81628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a:gradFill>
                  <a:gsLst>
                    <a:gs pos="2917">
                      <a:schemeClr val="tx1"/>
                    </a:gs>
                    <a:gs pos="30000">
                      <a:schemeClr val="tx1"/>
                    </a:gs>
                  </a:gsLst>
                  <a:lin ang="5400000" scaled="0"/>
                </a:gradFill>
              </a:rPr>
              <a:t>Each </a:t>
            </a:r>
            <a:br>
              <a:rPr lang="en-US" sz="1200">
                <a:gradFill>
                  <a:gsLst>
                    <a:gs pos="2917">
                      <a:schemeClr val="tx1"/>
                    </a:gs>
                    <a:gs pos="30000">
                      <a:schemeClr val="tx1"/>
                    </a:gs>
                  </a:gsLst>
                  <a:lin ang="5400000" scaled="0"/>
                </a:gradFill>
              </a:rPr>
            </a:br>
            <a:r>
              <a:rPr lang="en-US" sz="1200">
                <a:gradFill>
                  <a:gsLst>
                    <a:gs pos="2917">
                      <a:schemeClr val="tx1"/>
                    </a:gs>
                    <a:gs pos="30000">
                      <a:schemeClr val="tx1"/>
                    </a:gs>
                  </a:gsLst>
                  <a:lin ang="5400000" scaled="0"/>
                </a:gradFill>
              </a:rPr>
              <a:t>micro services maintains state and stores data</a:t>
            </a:r>
          </a:p>
        </p:txBody>
      </p:sp>
      <p:cxnSp>
        <p:nvCxnSpPr>
          <p:cNvPr id="44" name="Straight Connector 43">
            <a:extLst>
              <a:ext uri="{FF2B5EF4-FFF2-40B4-BE49-F238E27FC236}">
                <a16:creationId xmlns:a16="http://schemas.microsoft.com/office/drawing/2014/main" id="{15FE58FD-0182-407F-81A5-4765EE4835EE}"/>
              </a:ext>
            </a:extLst>
          </p:cNvPr>
          <p:cNvCxnSpPr>
            <a:stCxn id="100" idx="0"/>
          </p:cNvCxnSpPr>
          <p:nvPr/>
        </p:nvCxnSpPr>
        <p:spPr>
          <a:xfrm flipV="1">
            <a:off x="3300207" y="2117724"/>
            <a:ext cx="0" cy="205088"/>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31" name="Straight Connector 130">
            <a:extLst>
              <a:ext uri="{FF2B5EF4-FFF2-40B4-BE49-F238E27FC236}">
                <a16:creationId xmlns:a16="http://schemas.microsoft.com/office/drawing/2014/main" id="{3EC21E5D-D776-44FA-943C-74B70F6FED11}"/>
              </a:ext>
            </a:extLst>
          </p:cNvPr>
          <p:cNvCxnSpPr>
            <a:cxnSpLocks/>
            <a:stCxn id="124" idx="0"/>
          </p:cNvCxnSpPr>
          <p:nvPr/>
        </p:nvCxnSpPr>
        <p:spPr>
          <a:xfrm flipH="1" flipV="1">
            <a:off x="7860441" y="2131965"/>
            <a:ext cx="10900" cy="1375898"/>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33" name="Straight Connector 132">
            <a:extLst>
              <a:ext uri="{FF2B5EF4-FFF2-40B4-BE49-F238E27FC236}">
                <a16:creationId xmlns:a16="http://schemas.microsoft.com/office/drawing/2014/main" id="{D768B438-0BE2-4907-B529-9FAF72EB4305}"/>
              </a:ext>
            </a:extLst>
          </p:cNvPr>
          <p:cNvCxnSpPr/>
          <p:nvPr/>
        </p:nvCxnSpPr>
        <p:spPr>
          <a:xfrm>
            <a:off x="3302229" y="2107300"/>
            <a:ext cx="4570038" cy="0"/>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37" name="Straight Connector 136">
            <a:extLst>
              <a:ext uri="{FF2B5EF4-FFF2-40B4-BE49-F238E27FC236}">
                <a16:creationId xmlns:a16="http://schemas.microsoft.com/office/drawing/2014/main" id="{0EED4429-BA29-464F-9FD8-95E1711E15C0}"/>
              </a:ext>
            </a:extLst>
          </p:cNvPr>
          <p:cNvCxnSpPr/>
          <p:nvPr/>
        </p:nvCxnSpPr>
        <p:spPr>
          <a:xfrm>
            <a:off x="5267601" y="2534443"/>
            <a:ext cx="5496478" cy="0"/>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38" name="Straight Connector 137">
            <a:extLst>
              <a:ext uri="{FF2B5EF4-FFF2-40B4-BE49-F238E27FC236}">
                <a16:creationId xmlns:a16="http://schemas.microsoft.com/office/drawing/2014/main" id="{DBA1F25C-3E80-4FD3-AEE8-828D8FCEA86D}"/>
              </a:ext>
            </a:extLst>
          </p:cNvPr>
          <p:cNvCxnSpPr>
            <a:cxnSpLocks/>
          </p:cNvCxnSpPr>
          <p:nvPr/>
        </p:nvCxnSpPr>
        <p:spPr>
          <a:xfrm flipH="1" flipV="1">
            <a:off x="10767870" y="2534443"/>
            <a:ext cx="7712" cy="973420"/>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41" name="Straight Connector 140">
            <a:extLst>
              <a:ext uri="{FF2B5EF4-FFF2-40B4-BE49-F238E27FC236}">
                <a16:creationId xmlns:a16="http://schemas.microsoft.com/office/drawing/2014/main" id="{07435116-CBBD-48E0-957F-6888058FEA09}"/>
              </a:ext>
            </a:extLst>
          </p:cNvPr>
          <p:cNvCxnSpPr>
            <a:cxnSpLocks/>
          </p:cNvCxnSpPr>
          <p:nvPr/>
        </p:nvCxnSpPr>
        <p:spPr>
          <a:xfrm flipV="1">
            <a:off x="4126263" y="1928813"/>
            <a:ext cx="0" cy="393999"/>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43" name="Straight Connector 142">
            <a:extLst>
              <a:ext uri="{FF2B5EF4-FFF2-40B4-BE49-F238E27FC236}">
                <a16:creationId xmlns:a16="http://schemas.microsoft.com/office/drawing/2014/main" id="{58506FB0-1696-4519-A241-4C77908CC54A}"/>
              </a:ext>
            </a:extLst>
          </p:cNvPr>
          <p:cNvCxnSpPr>
            <a:cxnSpLocks/>
          </p:cNvCxnSpPr>
          <p:nvPr/>
        </p:nvCxnSpPr>
        <p:spPr>
          <a:xfrm flipH="1" flipV="1">
            <a:off x="9315337" y="1940613"/>
            <a:ext cx="12416" cy="1567250"/>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44" name="Straight Connector 143">
            <a:extLst>
              <a:ext uri="{FF2B5EF4-FFF2-40B4-BE49-F238E27FC236}">
                <a16:creationId xmlns:a16="http://schemas.microsoft.com/office/drawing/2014/main" id="{A3F709C6-30EB-493A-8884-302940E3F6EA}"/>
              </a:ext>
            </a:extLst>
          </p:cNvPr>
          <p:cNvCxnSpPr>
            <a:cxnSpLocks/>
          </p:cNvCxnSpPr>
          <p:nvPr/>
        </p:nvCxnSpPr>
        <p:spPr>
          <a:xfrm>
            <a:off x="4114562" y="1940613"/>
            <a:ext cx="5209783" cy="0"/>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27" name="Rectangle: Rounded Corners 126">
            <a:extLst>
              <a:ext uri="{FF2B5EF4-FFF2-40B4-BE49-F238E27FC236}">
                <a16:creationId xmlns:a16="http://schemas.microsoft.com/office/drawing/2014/main" id="{502D7D36-9FEA-4873-8FA3-140D24AC6095}"/>
              </a:ext>
            </a:extLst>
          </p:cNvPr>
          <p:cNvSpPr/>
          <p:nvPr/>
        </p:nvSpPr>
        <p:spPr>
          <a:xfrm>
            <a:off x="7936600" y="2697646"/>
            <a:ext cx="2652910" cy="58725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a:gradFill>
                  <a:gsLst>
                    <a:gs pos="2917">
                      <a:schemeClr val="tx1"/>
                    </a:gs>
                    <a:gs pos="30000">
                      <a:schemeClr val="tx1"/>
                    </a:gs>
                  </a:gsLst>
                  <a:lin ang="5400000" scaled="0"/>
                </a:gradFill>
                <a:latin typeface="Segoe UI"/>
              </a:rPr>
              <a:t>Functional application areas </a:t>
            </a:r>
            <a:br>
              <a:rPr lang="en-US" sz="1200" b="1">
                <a:gradFill>
                  <a:gsLst>
                    <a:gs pos="2917">
                      <a:schemeClr val="tx1"/>
                    </a:gs>
                    <a:gs pos="30000">
                      <a:schemeClr val="tx1"/>
                    </a:gs>
                  </a:gsLst>
                  <a:lin ang="5400000" scaled="0"/>
                </a:gradFill>
                <a:latin typeface="Segoe UI"/>
              </a:rPr>
            </a:br>
            <a:r>
              <a:rPr lang="en-US" sz="1200" b="1">
                <a:gradFill>
                  <a:gsLst>
                    <a:gs pos="2917">
                      <a:schemeClr val="tx1"/>
                    </a:gs>
                    <a:gs pos="30000">
                      <a:schemeClr val="tx1"/>
                    </a:gs>
                  </a:gsLst>
                  <a:lin ang="5400000" scaled="0"/>
                </a:gradFill>
                <a:latin typeface="Segoe UI"/>
              </a:rPr>
              <a:t>decomposed into isolated service</a:t>
            </a:r>
          </a:p>
        </p:txBody>
      </p:sp>
      <p:sp>
        <p:nvSpPr>
          <p:cNvPr id="148" name="TextBox 147">
            <a:extLst>
              <a:ext uri="{FF2B5EF4-FFF2-40B4-BE49-F238E27FC236}">
                <a16:creationId xmlns:a16="http://schemas.microsoft.com/office/drawing/2014/main" id="{BD44DFB4-D073-475D-93B5-02C8C5CE3A8C}"/>
              </a:ext>
            </a:extLst>
          </p:cNvPr>
          <p:cNvSpPr txBox="1"/>
          <p:nvPr/>
        </p:nvSpPr>
        <p:spPr>
          <a:xfrm>
            <a:off x="2639340" y="6330627"/>
            <a:ext cx="1477413" cy="184666"/>
          </a:xfrm>
          <a:prstGeom prst="rect">
            <a:avLst/>
          </a:prstGeom>
          <a:solidFill>
            <a:schemeClr val="bg1"/>
          </a:solidFill>
        </p:spPr>
        <p:txBody>
          <a:bodyPr wrap="square" lIns="0" tIns="0" rIns="0" bIns="0" rtlCol="0">
            <a:spAutoFit/>
          </a:bodyPr>
          <a:lstStyle/>
          <a:p>
            <a:pPr algn="ctr"/>
            <a:r>
              <a:rPr lang="en-US" sz="1200" b="1">
                <a:gradFill>
                  <a:gsLst>
                    <a:gs pos="2917">
                      <a:schemeClr val="tx1"/>
                    </a:gs>
                    <a:gs pos="30000">
                      <a:schemeClr val="tx1"/>
                    </a:gs>
                  </a:gsLst>
                  <a:lin ang="5400000" scaled="0"/>
                </a:gradFill>
              </a:rPr>
              <a:t>MONOLITHIC APP</a:t>
            </a:r>
          </a:p>
        </p:txBody>
      </p:sp>
    </p:spTree>
    <p:custDataLst>
      <p:tags r:id="rId1"/>
    </p:custDataLst>
    <p:extLst>
      <p:ext uri="{BB962C8B-B14F-4D97-AF65-F5344CB8AC3E}">
        <p14:creationId xmlns:p14="http://schemas.microsoft.com/office/powerpoint/2010/main" val="25210201"/>
      </p:ext>
    </p:extLst>
  </p:cSld>
  <p:clrMapOvr>
    <a:masterClrMapping/>
  </p:clrMapOvr>
  <mc:AlternateContent xmlns:mc="http://schemas.openxmlformats.org/markup-compatibility/2006" xmlns:p14="http://schemas.microsoft.com/office/powerpoint/2010/main">
    <mc:Choice Requires="p14">
      <p:transition spd="med" p14:dur="700" advTm="127708">
        <p:fade/>
      </p:transition>
    </mc:Choice>
    <mc:Fallback xmlns="">
      <p:transition spd="med" advTm="12770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heel(1)">
                                      <p:cBhvr>
                                        <p:cTn id="7" dur="500"/>
                                        <p:tgtEl>
                                          <p:spTgt spid="100"/>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101"/>
                                        </p:tgtEl>
                                        <p:attrNameLst>
                                          <p:attrName>style.visibility</p:attrName>
                                        </p:attrNameLst>
                                      </p:cBhvr>
                                      <p:to>
                                        <p:strVal val="visible"/>
                                      </p:to>
                                    </p:set>
                                    <p:animEffect transition="in" filter="wheel(1)">
                                      <p:cBhvr>
                                        <p:cTn id="11" dur="500"/>
                                        <p:tgtEl>
                                          <p:spTgt spid="101"/>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102"/>
                                        </p:tgtEl>
                                        <p:attrNameLst>
                                          <p:attrName>style.visibility</p:attrName>
                                        </p:attrNameLst>
                                      </p:cBhvr>
                                      <p:to>
                                        <p:strVal val="visible"/>
                                      </p:to>
                                    </p:set>
                                    <p:animEffect transition="in" filter="wheel(1)">
                                      <p:cBhvr>
                                        <p:cTn id="15" dur="500"/>
                                        <p:tgtEl>
                                          <p:spTgt spid="10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wipe(down)">
                                      <p:cBhvr>
                                        <p:cTn id="20" dur="250"/>
                                        <p:tgtEl>
                                          <p:spTgt spid="44"/>
                                        </p:tgtEl>
                                      </p:cBhvr>
                                    </p:animEffect>
                                  </p:childTnLst>
                                </p:cTn>
                              </p:par>
                              <p:par>
                                <p:cTn id="21" presetID="22" presetClass="entr" presetSubtype="4" fill="hold" nodeType="withEffect">
                                  <p:stCondLst>
                                    <p:cond delay="0"/>
                                  </p:stCondLst>
                                  <p:childTnLst>
                                    <p:set>
                                      <p:cBhvr>
                                        <p:cTn id="22" dur="1" fill="hold">
                                          <p:stCondLst>
                                            <p:cond delay="0"/>
                                          </p:stCondLst>
                                        </p:cTn>
                                        <p:tgtEl>
                                          <p:spTgt spid="141"/>
                                        </p:tgtEl>
                                        <p:attrNameLst>
                                          <p:attrName>style.visibility</p:attrName>
                                        </p:attrNameLst>
                                      </p:cBhvr>
                                      <p:to>
                                        <p:strVal val="visible"/>
                                      </p:to>
                                    </p:set>
                                    <p:animEffect transition="in" filter="wipe(down)">
                                      <p:cBhvr>
                                        <p:cTn id="23" dur="250"/>
                                        <p:tgtEl>
                                          <p:spTgt spid="141"/>
                                        </p:tgtEl>
                                      </p:cBhvr>
                                    </p:animEffect>
                                  </p:childTnLst>
                                </p:cTn>
                              </p:par>
                            </p:childTnLst>
                          </p:cTn>
                        </p:par>
                        <p:par>
                          <p:cTn id="24" fill="hold">
                            <p:stCondLst>
                              <p:cond delay="250"/>
                            </p:stCondLst>
                            <p:childTnLst>
                              <p:par>
                                <p:cTn id="25" presetID="22" presetClass="entr" presetSubtype="8" fill="hold" nodeType="afterEffect">
                                  <p:stCondLst>
                                    <p:cond delay="0"/>
                                  </p:stCondLst>
                                  <p:childTnLst>
                                    <p:set>
                                      <p:cBhvr>
                                        <p:cTn id="26" dur="1" fill="hold">
                                          <p:stCondLst>
                                            <p:cond delay="0"/>
                                          </p:stCondLst>
                                        </p:cTn>
                                        <p:tgtEl>
                                          <p:spTgt spid="133"/>
                                        </p:tgtEl>
                                        <p:attrNameLst>
                                          <p:attrName>style.visibility</p:attrName>
                                        </p:attrNameLst>
                                      </p:cBhvr>
                                      <p:to>
                                        <p:strVal val="visible"/>
                                      </p:to>
                                    </p:set>
                                    <p:animEffect transition="in" filter="wipe(left)">
                                      <p:cBhvr>
                                        <p:cTn id="27" dur="500"/>
                                        <p:tgtEl>
                                          <p:spTgt spid="133"/>
                                        </p:tgtEl>
                                      </p:cBhvr>
                                    </p:animEffect>
                                  </p:childTnLst>
                                </p:cTn>
                              </p:par>
                              <p:par>
                                <p:cTn id="28" presetID="22" presetClass="entr" presetSubtype="8" fill="hold" nodeType="withEffect">
                                  <p:stCondLst>
                                    <p:cond delay="0"/>
                                  </p:stCondLst>
                                  <p:childTnLst>
                                    <p:set>
                                      <p:cBhvr>
                                        <p:cTn id="29" dur="1" fill="hold">
                                          <p:stCondLst>
                                            <p:cond delay="0"/>
                                          </p:stCondLst>
                                        </p:cTn>
                                        <p:tgtEl>
                                          <p:spTgt spid="144"/>
                                        </p:tgtEl>
                                        <p:attrNameLst>
                                          <p:attrName>style.visibility</p:attrName>
                                        </p:attrNameLst>
                                      </p:cBhvr>
                                      <p:to>
                                        <p:strVal val="visible"/>
                                      </p:to>
                                    </p:set>
                                    <p:animEffect transition="in" filter="wipe(left)">
                                      <p:cBhvr>
                                        <p:cTn id="30" dur="500"/>
                                        <p:tgtEl>
                                          <p:spTgt spid="144"/>
                                        </p:tgtEl>
                                      </p:cBhvr>
                                    </p:animEffect>
                                  </p:childTnLst>
                                </p:cTn>
                              </p:par>
                              <p:par>
                                <p:cTn id="31" presetID="22" presetClass="entr" presetSubtype="8" fill="hold" nodeType="withEffect">
                                  <p:stCondLst>
                                    <p:cond delay="0"/>
                                  </p:stCondLst>
                                  <p:childTnLst>
                                    <p:set>
                                      <p:cBhvr>
                                        <p:cTn id="32" dur="1" fill="hold">
                                          <p:stCondLst>
                                            <p:cond delay="0"/>
                                          </p:stCondLst>
                                        </p:cTn>
                                        <p:tgtEl>
                                          <p:spTgt spid="137"/>
                                        </p:tgtEl>
                                        <p:attrNameLst>
                                          <p:attrName>style.visibility</p:attrName>
                                        </p:attrNameLst>
                                      </p:cBhvr>
                                      <p:to>
                                        <p:strVal val="visible"/>
                                      </p:to>
                                    </p:set>
                                    <p:animEffect transition="in" filter="wipe(left)">
                                      <p:cBhvr>
                                        <p:cTn id="33" dur="500"/>
                                        <p:tgtEl>
                                          <p:spTgt spid="137"/>
                                        </p:tgtEl>
                                      </p:cBhvr>
                                    </p:animEffect>
                                  </p:childTnLst>
                                </p:cTn>
                              </p:par>
                            </p:childTnLst>
                          </p:cTn>
                        </p:par>
                        <p:par>
                          <p:cTn id="34" fill="hold">
                            <p:stCondLst>
                              <p:cond delay="750"/>
                            </p:stCondLst>
                            <p:childTnLst>
                              <p:par>
                                <p:cTn id="35" presetID="22" presetClass="entr" presetSubtype="1" fill="hold" nodeType="afterEffect">
                                  <p:stCondLst>
                                    <p:cond delay="0"/>
                                  </p:stCondLst>
                                  <p:childTnLst>
                                    <p:set>
                                      <p:cBhvr>
                                        <p:cTn id="36" dur="1" fill="hold">
                                          <p:stCondLst>
                                            <p:cond delay="0"/>
                                          </p:stCondLst>
                                        </p:cTn>
                                        <p:tgtEl>
                                          <p:spTgt spid="131"/>
                                        </p:tgtEl>
                                        <p:attrNameLst>
                                          <p:attrName>style.visibility</p:attrName>
                                        </p:attrNameLst>
                                      </p:cBhvr>
                                      <p:to>
                                        <p:strVal val="visible"/>
                                      </p:to>
                                    </p:set>
                                    <p:animEffect transition="in" filter="wipe(up)">
                                      <p:cBhvr>
                                        <p:cTn id="37" dur="500"/>
                                        <p:tgtEl>
                                          <p:spTgt spid="131"/>
                                        </p:tgtEl>
                                      </p:cBhvr>
                                    </p:animEffect>
                                  </p:childTnLst>
                                </p:cTn>
                              </p:par>
                              <p:par>
                                <p:cTn id="38" presetID="22" presetClass="entr" presetSubtype="1" fill="hold" nodeType="withEffect">
                                  <p:stCondLst>
                                    <p:cond delay="0"/>
                                  </p:stCondLst>
                                  <p:childTnLst>
                                    <p:set>
                                      <p:cBhvr>
                                        <p:cTn id="39" dur="1" fill="hold">
                                          <p:stCondLst>
                                            <p:cond delay="0"/>
                                          </p:stCondLst>
                                        </p:cTn>
                                        <p:tgtEl>
                                          <p:spTgt spid="143"/>
                                        </p:tgtEl>
                                        <p:attrNameLst>
                                          <p:attrName>style.visibility</p:attrName>
                                        </p:attrNameLst>
                                      </p:cBhvr>
                                      <p:to>
                                        <p:strVal val="visible"/>
                                      </p:to>
                                    </p:set>
                                    <p:animEffect transition="in" filter="wipe(up)">
                                      <p:cBhvr>
                                        <p:cTn id="40" dur="500"/>
                                        <p:tgtEl>
                                          <p:spTgt spid="143"/>
                                        </p:tgtEl>
                                      </p:cBhvr>
                                    </p:animEffect>
                                  </p:childTnLst>
                                </p:cTn>
                              </p:par>
                              <p:par>
                                <p:cTn id="41" presetID="22" presetClass="entr" presetSubtype="1" fill="hold" nodeType="withEffect">
                                  <p:stCondLst>
                                    <p:cond delay="0"/>
                                  </p:stCondLst>
                                  <p:childTnLst>
                                    <p:set>
                                      <p:cBhvr>
                                        <p:cTn id="42" dur="1" fill="hold">
                                          <p:stCondLst>
                                            <p:cond delay="0"/>
                                          </p:stCondLst>
                                        </p:cTn>
                                        <p:tgtEl>
                                          <p:spTgt spid="138"/>
                                        </p:tgtEl>
                                        <p:attrNameLst>
                                          <p:attrName>style.visibility</p:attrName>
                                        </p:attrNameLst>
                                      </p:cBhvr>
                                      <p:to>
                                        <p:strVal val="visible"/>
                                      </p:to>
                                    </p:set>
                                    <p:animEffect transition="in" filter="wipe(up)">
                                      <p:cBhvr>
                                        <p:cTn id="43" dur="500"/>
                                        <p:tgtEl>
                                          <p:spTgt spid="138"/>
                                        </p:tgtEl>
                                      </p:cBhvr>
                                    </p:animEffect>
                                  </p:childTnLst>
                                </p:cTn>
                              </p:par>
                            </p:childTnLst>
                          </p:cTn>
                        </p:par>
                        <p:par>
                          <p:cTn id="44" fill="hold">
                            <p:stCondLst>
                              <p:cond delay="1250"/>
                            </p:stCondLst>
                            <p:childTnLst>
                              <p:par>
                                <p:cTn id="45" presetID="10" presetClass="entr" presetSubtype="0" fill="hold" nodeType="afterEffect">
                                  <p:stCondLst>
                                    <p:cond delay="0"/>
                                  </p:stCondLst>
                                  <p:childTnLst>
                                    <p:set>
                                      <p:cBhvr>
                                        <p:cTn id="46" dur="1" fill="hold">
                                          <p:stCondLst>
                                            <p:cond delay="0"/>
                                          </p:stCondLst>
                                        </p:cTn>
                                        <p:tgtEl>
                                          <p:spTgt spid="149"/>
                                        </p:tgtEl>
                                        <p:attrNameLst>
                                          <p:attrName>style.visibility</p:attrName>
                                        </p:attrNameLst>
                                      </p:cBhvr>
                                      <p:to>
                                        <p:strVal val="visible"/>
                                      </p:to>
                                    </p:set>
                                    <p:animEffect transition="in" filter="fade">
                                      <p:cBhvr>
                                        <p:cTn id="47" dur="500"/>
                                        <p:tgtEl>
                                          <p:spTgt spid="14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4"/>
                                        </p:tgtEl>
                                        <p:attrNameLst>
                                          <p:attrName>style.visibility</p:attrName>
                                        </p:attrNameLst>
                                      </p:cBhvr>
                                      <p:to>
                                        <p:strVal val="visible"/>
                                      </p:to>
                                    </p:set>
                                    <p:animEffect transition="in" filter="fade">
                                      <p:cBhvr>
                                        <p:cTn id="50" dur="500"/>
                                        <p:tgtEl>
                                          <p:spTgt spid="124"/>
                                        </p:tgtEl>
                                      </p:cBhvr>
                                    </p:animEffect>
                                  </p:childTnLst>
                                </p:cTn>
                              </p:par>
                              <p:par>
                                <p:cTn id="51" presetID="10" presetClass="entr" presetSubtype="0" fill="hold" nodeType="withEffect">
                                  <p:stCondLst>
                                    <p:cond delay="0"/>
                                  </p:stCondLst>
                                  <p:childTnLst>
                                    <p:set>
                                      <p:cBhvr>
                                        <p:cTn id="52" dur="1" fill="hold">
                                          <p:stCondLst>
                                            <p:cond delay="0"/>
                                          </p:stCondLst>
                                        </p:cTn>
                                        <p:tgtEl>
                                          <p:spTgt spid="151"/>
                                        </p:tgtEl>
                                        <p:attrNameLst>
                                          <p:attrName>style.visibility</p:attrName>
                                        </p:attrNameLst>
                                      </p:cBhvr>
                                      <p:to>
                                        <p:strVal val="visible"/>
                                      </p:to>
                                    </p:set>
                                    <p:animEffect transition="in" filter="fade">
                                      <p:cBhvr>
                                        <p:cTn id="53" dur="500"/>
                                        <p:tgtEl>
                                          <p:spTgt spid="151"/>
                                        </p:tgtEl>
                                      </p:cBhvr>
                                    </p:animEffect>
                                  </p:childTnLst>
                                </p:cTn>
                              </p:par>
                              <p:par>
                                <p:cTn id="54" presetID="10" presetClass="entr" presetSubtype="0" fill="hold" nodeType="withEffect">
                                  <p:stCondLst>
                                    <p:cond delay="0"/>
                                  </p:stCondLst>
                                  <p:childTnLst>
                                    <p:set>
                                      <p:cBhvr>
                                        <p:cTn id="55" dur="1" fill="hold">
                                          <p:stCondLst>
                                            <p:cond delay="0"/>
                                          </p:stCondLst>
                                        </p:cTn>
                                        <p:tgtEl>
                                          <p:spTgt spid="150"/>
                                        </p:tgtEl>
                                        <p:attrNameLst>
                                          <p:attrName>style.visibility</p:attrName>
                                        </p:attrNameLst>
                                      </p:cBhvr>
                                      <p:to>
                                        <p:strVal val="visible"/>
                                      </p:to>
                                    </p:set>
                                    <p:animEffect transition="in" filter="fade">
                                      <p:cBhvr>
                                        <p:cTn id="56" dur="500"/>
                                        <p:tgtEl>
                                          <p:spTgt spid="15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25"/>
                                        </p:tgtEl>
                                        <p:attrNameLst>
                                          <p:attrName>style.visibility</p:attrName>
                                        </p:attrNameLst>
                                      </p:cBhvr>
                                      <p:to>
                                        <p:strVal val="visible"/>
                                      </p:to>
                                    </p:set>
                                    <p:animEffect transition="in" filter="fade">
                                      <p:cBhvr>
                                        <p:cTn id="59" dur="500"/>
                                        <p:tgtEl>
                                          <p:spTgt spid="12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6"/>
                                        </p:tgtEl>
                                        <p:attrNameLst>
                                          <p:attrName>style.visibility</p:attrName>
                                        </p:attrNameLst>
                                      </p:cBhvr>
                                      <p:to>
                                        <p:strVal val="visible"/>
                                      </p:to>
                                    </p:set>
                                    <p:animEffect transition="in" filter="fade">
                                      <p:cBhvr>
                                        <p:cTn id="62" dur="500"/>
                                        <p:tgtEl>
                                          <p:spTgt spid="126"/>
                                        </p:tgtEl>
                                      </p:cBhvr>
                                    </p:animEffect>
                                  </p:childTnLst>
                                </p:cTn>
                              </p:par>
                            </p:childTnLst>
                          </p:cTn>
                        </p:par>
                        <p:par>
                          <p:cTn id="63" fill="hold">
                            <p:stCondLst>
                              <p:cond delay="1750"/>
                            </p:stCondLst>
                            <p:childTnLst>
                              <p:par>
                                <p:cTn id="64" presetID="10" presetClass="entr" presetSubtype="0" fill="hold" grpId="0" nodeType="afterEffect">
                                  <p:stCondLst>
                                    <p:cond delay="0"/>
                                  </p:stCondLst>
                                  <p:childTnLst>
                                    <p:set>
                                      <p:cBhvr>
                                        <p:cTn id="65" dur="1" fill="hold">
                                          <p:stCondLst>
                                            <p:cond delay="0"/>
                                          </p:stCondLst>
                                        </p:cTn>
                                        <p:tgtEl>
                                          <p:spTgt spid="127"/>
                                        </p:tgtEl>
                                        <p:attrNameLst>
                                          <p:attrName>style.visibility</p:attrName>
                                        </p:attrNameLst>
                                      </p:cBhvr>
                                      <p:to>
                                        <p:strVal val="visible"/>
                                      </p:to>
                                    </p:set>
                                    <p:animEffect transition="in" filter="fade">
                                      <p:cBhvr>
                                        <p:cTn id="66" dur="500"/>
                                        <p:tgtEl>
                                          <p:spTgt spid="12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30"/>
                                        </p:tgtEl>
                                        <p:attrNameLst>
                                          <p:attrName>style.visibility</p:attrName>
                                        </p:attrNameLst>
                                      </p:cBhvr>
                                      <p:to>
                                        <p:strVal val="visible"/>
                                      </p:to>
                                    </p:set>
                                    <p:animEffect transition="in" filter="fade">
                                      <p:cBhvr>
                                        <p:cTn id="69" dur="500"/>
                                        <p:tgtEl>
                                          <p:spTgt spid="130"/>
                                        </p:tgtEl>
                                      </p:cBhvr>
                                    </p:animEffect>
                                  </p:childTnLst>
                                </p:cTn>
                              </p:par>
                              <p:par>
                                <p:cTn id="70" presetID="10" presetClass="entr" presetSubtype="0" fill="hold" nodeType="withEffect">
                                  <p:stCondLst>
                                    <p:cond delay="0"/>
                                  </p:stCondLst>
                                  <p:childTnLst>
                                    <p:set>
                                      <p:cBhvr>
                                        <p:cTn id="71" dur="1" fill="hold">
                                          <p:stCondLst>
                                            <p:cond delay="0"/>
                                          </p:stCondLst>
                                        </p:cTn>
                                        <p:tgtEl>
                                          <p:spTgt spid="39"/>
                                        </p:tgtEl>
                                        <p:attrNameLst>
                                          <p:attrName>style.visibility</p:attrName>
                                        </p:attrNameLst>
                                      </p:cBhvr>
                                      <p:to>
                                        <p:strVal val="visible"/>
                                      </p:to>
                                    </p:set>
                                    <p:animEffect transition="in" filter="fade">
                                      <p:cBhvr>
                                        <p:cTn id="7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P spid="101" grpId="0" animBg="1"/>
      <p:bldP spid="102" grpId="0" animBg="1"/>
      <p:bldP spid="124" grpId="0" animBg="1"/>
      <p:bldP spid="125" grpId="0" animBg="1"/>
      <p:bldP spid="126" grpId="0" animBg="1"/>
      <p:bldP spid="130" grpId="0"/>
      <p:bldP spid="12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icroservices != SOA</a:t>
            </a:r>
          </a:p>
        </p:txBody>
      </p:sp>
      <p:sp>
        <p:nvSpPr>
          <p:cNvPr id="6" name="Text Placeholder 5"/>
          <p:cNvSpPr>
            <a:spLocks noGrp="1"/>
          </p:cNvSpPr>
          <p:nvPr>
            <p:ph type="body" sz="quarter" idx="10"/>
          </p:nvPr>
        </p:nvSpPr>
        <p:spPr>
          <a:xfrm>
            <a:off x="584200" y="3194648"/>
            <a:ext cx="11018520" cy="2277547"/>
          </a:xfrm>
        </p:spPr>
        <p:txBody>
          <a:bodyPr/>
          <a:lstStyle/>
          <a:p>
            <a:pPr marL="0" indent="0">
              <a:spcBef>
                <a:spcPts val="1200"/>
              </a:spcBef>
              <a:buNone/>
            </a:pPr>
            <a:r>
              <a:rPr lang="en-US"/>
              <a:t>SOA and Microservices share similarities, but are different…</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Microservices embrace light-weight open-source technologies such as REST</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Microservices tend to be much smaller</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Microservices are independently deployable</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Microservices embrace decentralized data stores</a:t>
            </a:r>
          </a:p>
        </p:txBody>
      </p:sp>
      <p:pic>
        <p:nvPicPr>
          <p:cNvPr id="5" name="Picture 4">
            <a:extLst>
              <a:ext uri="{FF2B5EF4-FFF2-40B4-BE49-F238E27FC236}">
                <a16:creationId xmlns:a16="http://schemas.microsoft.com/office/drawing/2014/main" id="{8BAA2BA6-2433-41F2-BE92-2B16BEE61D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200" y="1442720"/>
            <a:ext cx="2677160" cy="1529806"/>
          </a:xfrm>
          <a:prstGeom prst="rect">
            <a:avLst/>
          </a:prstGeom>
        </p:spPr>
      </p:pic>
    </p:spTree>
    <p:extLst>
      <p:ext uri="{BB962C8B-B14F-4D97-AF65-F5344CB8AC3E}">
        <p14:creationId xmlns:p14="http://schemas.microsoft.com/office/powerpoint/2010/main" val="341597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icroservices != Containers</a:t>
            </a:r>
          </a:p>
        </p:txBody>
      </p:sp>
      <p:sp>
        <p:nvSpPr>
          <p:cNvPr id="6" name="Text Placeholder 5"/>
          <p:cNvSpPr>
            <a:spLocks noGrp="1"/>
          </p:cNvSpPr>
          <p:nvPr>
            <p:ph type="body" sz="quarter" idx="10"/>
          </p:nvPr>
        </p:nvSpPr>
        <p:spPr>
          <a:xfrm>
            <a:off x="584200" y="1435497"/>
            <a:ext cx="11018520" cy="4293483"/>
          </a:xfrm>
        </p:spPr>
        <p:txBody>
          <a:bodyPr/>
          <a:lstStyle/>
          <a:p>
            <a:pPr marL="0" indent="0">
              <a:spcBef>
                <a:spcPts val="1200"/>
              </a:spcBef>
              <a:buNone/>
            </a:pPr>
            <a:r>
              <a:rPr lang="en-US" dirty="0"/>
              <a:t>Microservice </a:t>
            </a:r>
            <a:br>
              <a:rPr lang="en-US" dirty="0"/>
            </a:br>
            <a:r>
              <a:rPr lang="en-US" sz="2000" dirty="0">
                <a:latin typeface="Segoe UI" panose="020B0502040204020203" pitchFamily="34" charset="0"/>
                <a:cs typeface="Segoe UI" panose="020B0502040204020203" pitchFamily="34" charset="0"/>
              </a:rPr>
              <a:t>Isolated application with a single purpose</a:t>
            </a:r>
          </a:p>
          <a:p>
            <a:pPr marL="0" indent="0">
              <a:spcBef>
                <a:spcPts val="1200"/>
              </a:spcBef>
              <a:buNone/>
            </a:pPr>
            <a:r>
              <a:rPr lang="en-US" dirty="0"/>
              <a:t>Container</a:t>
            </a:r>
            <a:br>
              <a:rPr lang="en-US" dirty="0"/>
            </a:br>
            <a:r>
              <a:rPr lang="en-US" sz="2000" dirty="0">
                <a:latin typeface="Segoe UI" panose="020B0502040204020203" pitchFamily="34" charset="0"/>
                <a:cs typeface="Segoe UI" panose="020B0502040204020203" pitchFamily="34" charset="0"/>
              </a:rPr>
              <a:t>Encapsulate discrete components of app logic and the corresponding runtime</a:t>
            </a:r>
          </a:p>
          <a:p>
            <a:pPr marL="0" indent="0">
              <a:spcBef>
                <a:spcPts val="3000"/>
              </a:spcBef>
              <a:buNone/>
            </a:pPr>
            <a:r>
              <a:rPr lang="en-US" dirty="0"/>
              <a:t>Containers are used frequently to host microservices</a:t>
            </a:r>
          </a:p>
          <a:p>
            <a:pPr marL="288925" lvl="1" indent="-288925">
              <a:spcBef>
                <a:spcPts val="1200"/>
              </a:spcBef>
              <a:buFont typeface="Arial" panose="020B0604020202020204" pitchFamily="34" charset="0"/>
              <a:buChar char="•"/>
            </a:pPr>
            <a:r>
              <a:rPr lang="en-US" dirty="0">
                <a:latin typeface="Segoe UI" panose="020B0502040204020203" pitchFamily="34" charset="0"/>
                <a:cs typeface="Segoe UI" panose="020B0502040204020203" pitchFamily="34" charset="0"/>
              </a:rPr>
              <a:t>Provide fine-grained execution environment</a:t>
            </a:r>
          </a:p>
          <a:p>
            <a:pPr marL="288925" lvl="1" indent="-288925">
              <a:spcBef>
                <a:spcPts val="1200"/>
              </a:spcBef>
              <a:buFont typeface="Arial" panose="020B0604020202020204" pitchFamily="34" charset="0"/>
              <a:buChar char="•"/>
            </a:pPr>
            <a:r>
              <a:rPr lang="en-US" dirty="0">
                <a:latin typeface="Segoe UI" panose="020B0502040204020203" pitchFamily="34" charset="0"/>
                <a:cs typeface="Segoe UI" panose="020B0502040204020203" pitchFamily="34" charset="0"/>
              </a:rPr>
              <a:t>Provide a high degree of isolation</a:t>
            </a:r>
          </a:p>
          <a:p>
            <a:pPr marL="288925" lvl="1" indent="-288925">
              <a:spcBef>
                <a:spcPts val="1200"/>
              </a:spcBef>
              <a:buFont typeface="Arial" panose="020B0604020202020204" pitchFamily="34" charset="0"/>
              <a:buChar char="•"/>
            </a:pPr>
            <a:r>
              <a:rPr lang="en-US" dirty="0">
                <a:latin typeface="Segoe UI" panose="020B0502040204020203" pitchFamily="34" charset="0"/>
                <a:cs typeface="Segoe UI" panose="020B0502040204020203" pitchFamily="34" charset="0"/>
              </a:rPr>
              <a:t>Provide fast initialization and execution</a:t>
            </a:r>
          </a:p>
          <a:p>
            <a:pPr marL="288925" lvl="1" indent="-288925">
              <a:spcBef>
                <a:spcPts val="1200"/>
              </a:spcBef>
              <a:buFont typeface="Arial" panose="020B0604020202020204" pitchFamily="34" charset="0"/>
              <a:buChar char="•"/>
            </a:pPr>
            <a:r>
              <a:rPr lang="en-US" dirty="0">
                <a:latin typeface="Segoe UI" panose="020B0502040204020203" pitchFamily="34" charset="0"/>
                <a:cs typeface="Segoe UI" panose="020B0502040204020203" pitchFamily="34" charset="0"/>
              </a:rPr>
              <a:t>Provide to provision and manage microservice-based apps</a:t>
            </a:r>
          </a:p>
        </p:txBody>
      </p:sp>
    </p:spTree>
    <p:extLst>
      <p:ext uri="{BB962C8B-B14F-4D97-AF65-F5344CB8AC3E}">
        <p14:creationId xmlns:p14="http://schemas.microsoft.com/office/powerpoint/2010/main" val="107567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150BF-A39B-4053-96DE-BB7D55EE1A75}"/>
              </a:ext>
            </a:extLst>
          </p:cNvPr>
          <p:cNvSpPr>
            <a:spLocks noGrp="1"/>
          </p:cNvSpPr>
          <p:nvPr>
            <p:ph type="title"/>
          </p:nvPr>
        </p:nvSpPr>
        <p:spPr/>
        <p:txBody>
          <a:bodyPr/>
          <a:lstStyle/>
          <a:p>
            <a:r>
              <a:rPr lang="en-US"/>
              <a:t>Microservices architecture—detail view</a:t>
            </a:r>
          </a:p>
        </p:txBody>
      </p:sp>
      <p:sp>
        <p:nvSpPr>
          <p:cNvPr id="3" name="Rectangle 2">
            <a:extLst>
              <a:ext uri="{FF2B5EF4-FFF2-40B4-BE49-F238E27FC236}">
                <a16:creationId xmlns:a16="http://schemas.microsoft.com/office/drawing/2014/main" id="{6C899527-90BF-4341-9959-F25EA2D9C735}"/>
              </a:ext>
            </a:extLst>
          </p:cNvPr>
          <p:cNvSpPr/>
          <p:nvPr/>
        </p:nvSpPr>
        <p:spPr bwMode="auto">
          <a:xfrm>
            <a:off x="750404" y="1093304"/>
            <a:ext cx="10177670" cy="5764696"/>
          </a:xfrm>
          <a:prstGeom prst="rect">
            <a:avLst/>
          </a:prstGeom>
          <a:noFill/>
          <a:ln w="1270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4">
            <a:extLst>
              <a:ext uri="{FF2B5EF4-FFF2-40B4-BE49-F238E27FC236}">
                <a16:creationId xmlns:a16="http://schemas.microsoft.com/office/drawing/2014/main" id="{C8BE0648-AEDC-49A1-9F3D-D7852F9C382E}"/>
              </a:ext>
            </a:extLst>
          </p:cNvPr>
          <p:cNvGrpSpPr>
            <a:grpSpLocks noChangeAspect="1"/>
          </p:cNvGrpSpPr>
          <p:nvPr/>
        </p:nvGrpSpPr>
        <p:grpSpPr bwMode="auto">
          <a:xfrm>
            <a:off x="1138896" y="1353234"/>
            <a:ext cx="9438007" cy="5238152"/>
            <a:chOff x="1413" y="1072"/>
            <a:chExt cx="4854" cy="2694"/>
          </a:xfrm>
        </p:grpSpPr>
        <p:sp>
          <p:nvSpPr>
            <p:cNvPr id="5" name="AutoShape 3">
              <a:extLst>
                <a:ext uri="{FF2B5EF4-FFF2-40B4-BE49-F238E27FC236}">
                  <a16:creationId xmlns:a16="http://schemas.microsoft.com/office/drawing/2014/main" id="{BE73FA32-9BD7-47B2-97A0-9C9DDB216F3B}"/>
                </a:ext>
              </a:extLst>
            </p:cNvPr>
            <p:cNvSpPr>
              <a:spLocks noChangeAspect="1" noChangeArrowheads="1" noTextEdit="1"/>
            </p:cNvSpPr>
            <p:nvPr/>
          </p:nvSpPr>
          <p:spPr bwMode="auto">
            <a:xfrm>
              <a:off x="1413" y="1072"/>
              <a:ext cx="4854" cy="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5">
              <a:extLst>
                <a:ext uri="{FF2B5EF4-FFF2-40B4-BE49-F238E27FC236}">
                  <a16:creationId xmlns:a16="http://schemas.microsoft.com/office/drawing/2014/main" id="{E40ADFA0-118E-4146-B650-E03CA34C252F}"/>
                </a:ext>
              </a:extLst>
            </p:cNvPr>
            <p:cNvSpPr>
              <a:spLocks noChangeArrowheads="1"/>
            </p:cNvSpPr>
            <p:nvPr/>
          </p:nvSpPr>
          <p:spPr bwMode="auto">
            <a:xfrm>
              <a:off x="1503" y="2082"/>
              <a:ext cx="60" cy="6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Oval 6">
              <a:extLst>
                <a:ext uri="{FF2B5EF4-FFF2-40B4-BE49-F238E27FC236}">
                  <a16:creationId xmlns:a16="http://schemas.microsoft.com/office/drawing/2014/main" id="{51B32EF7-4925-4143-BD60-E1E7ABD32A78}"/>
                </a:ext>
              </a:extLst>
            </p:cNvPr>
            <p:cNvSpPr>
              <a:spLocks noChangeArrowheads="1"/>
            </p:cNvSpPr>
            <p:nvPr/>
          </p:nvSpPr>
          <p:spPr bwMode="auto">
            <a:xfrm>
              <a:off x="1503" y="2082"/>
              <a:ext cx="60" cy="67"/>
            </a:xfrm>
            <a:prstGeom prst="ellipse">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F979EF71-33CC-4441-AAA5-0745A8716D03}"/>
                </a:ext>
              </a:extLst>
            </p:cNvPr>
            <p:cNvSpPr>
              <a:spLocks/>
            </p:cNvSpPr>
            <p:nvPr/>
          </p:nvSpPr>
          <p:spPr bwMode="auto">
            <a:xfrm>
              <a:off x="1422" y="2149"/>
              <a:ext cx="223" cy="269"/>
            </a:xfrm>
            <a:custGeom>
              <a:avLst/>
              <a:gdLst>
                <a:gd name="T0" fmla="*/ 111 w 223"/>
                <a:gd name="T1" fmla="*/ 138 h 269"/>
                <a:gd name="T2" fmla="*/ 146 w 223"/>
                <a:gd name="T3" fmla="*/ 269 h 269"/>
                <a:gd name="T4" fmla="*/ 174 w 223"/>
                <a:gd name="T5" fmla="*/ 269 h 269"/>
                <a:gd name="T6" fmla="*/ 146 w 223"/>
                <a:gd name="T7" fmla="*/ 118 h 269"/>
                <a:gd name="T8" fmla="*/ 146 w 223"/>
                <a:gd name="T9" fmla="*/ 30 h 269"/>
                <a:gd name="T10" fmla="*/ 223 w 223"/>
                <a:gd name="T11" fmla="*/ 21 h 269"/>
                <a:gd name="T12" fmla="*/ 223 w 223"/>
                <a:gd name="T13" fmla="*/ 0 h 269"/>
                <a:gd name="T14" fmla="*/ 111 w 223"/>
                <a:gd name="T15" fmla="*/ 4 h 269"/>
                <a:gd name="T16" fmla="*/ 0 w 223"/>
                <a:gd name="T17" fmla="*/ 0 h 269"/>
                <a:gd name="T18" fmla="*/ 0 w 223"/>
                <a:gd name="T19" fmla="*/ 23 h 269"/>
                <a:gd name="T20" fmla="*/ 76 w 223"/>
                <a:gd name="T21" fmla="*/ 30 h 269"/>
                <a:gd name="T22" fmla="*/ 76 w 223"/>
                <a:gd name="T23" fmla="*/ 118 h 269"/>
                <a:gd name="T24" fmla="*/ 48 w 223"/>
                <a:gd name="T25" fmla="*/ 269 h 269"/>
                <a:gd name="T26" fmla="*/ 76 w 223"/>
                <a:gd name="T27" fmla="*/ 269 h 269"/>
                <a:gd name="T28" fmla="*/ 111 w 223"/>
                <a:gd name="T29" fmla="*/ 13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3" h="269">
                  <a:moveTo>
                    <a:pt x="111" y="138"/>
                  </a:moveTo>
                  <a:lnTo>
                    <a:pt x="146" y="269"/>
                  </a:lnTo>
                  <a:lnTo>
                    <a:pt x="174" y="269"/>
                  </a:lnTo>
                  <a:lnTo>
                    <a:pt x="146" y="118"/>
                  </a:lnTo>
                  <a:lnTo>
                    <a:pt x="146" y="30"/>
                  </a:lnTo>
                  <a:lnTo>
                    <a:pt x="223" y="21"/>
                  </a:lnTo>
                  <a:lnTo>
                    <a:pt x="223" y="0"/>
                  </a:lnTo>
                  <a:lnTo>
                    <a:pt x="111" y="4"/>
                  </a:lnTo>
                  <a:lnTo>
                    <a:pt x="0" y="0"/>
                  </a:lnTo>
                  <a:lnTo>
                    <a:pt x="0" y="23"/>
                  </a:lnTo>
                  <a:lnTo>
                    <a:pt x="76" y="30"/>
                  </a:lnTo>
                  <a:lnTo>
                    <a:pt x="76" y="118"/>
                  </a:lnTo>
                  <a:lnTo>
                    <a:pt x="48" y="269"/>
                  </a:lnTo>
                  <a:lnTo>
                    <a:pt x="76" y="269"/>
                  </a:lnTo>
                  <a:lnTo>
                    <a:pt x="111"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a:extLst>
                <a:ext uri="{FF2B5EF4-FFF2-40B4-BE49-F238E27FC236}">
                  <a16:creationId xmlns:a16="http://schemas.microsoft.com/office/drawing/2014/main" id="{217102CF-B09E-42BF-8962-C49E60BC1DA9}"/>
                </a:ext>
              </a:extLst>
            </p:cNvPr>
            <p:cNvSpPr>
              <a:spLocks/>
            </p:cNvSpPr>
            <p:nvPr/>
          </p:nvSpPr>
          <p:spPr bwMode="auto">
            <a:xfrm>
              <a:off x="1422" y="2149"/>
              <a:ext cx="223" cy="269"/>
            </a:xfrm>
            <a:custGeom>
              <a:avLst/>
              <a:gdLst>
                <a:gd name="T0" fmla="*/ 111 w 223"/>
                <a:gd name="T1" fmla="*/ 138 h 269"/>
                <a:gd name="T2" fmla="*/ 146 w 223"/>
                <a:gd name="T3" fmla="*/ 269 h 269"/>
                <a:gd name="T4" fmla="*/ 174 w 223"/>
                <a:gd name="T5" fmla="*/ 269 h 269"/>
                <a:gd name="T6" fmla="*/ 146 w 223"/>
                <a:gd name="T7" fmla="*/ 118 h 269"/>
                <a:gd name="T8" fmla="*/ 146 w 223"/>
                <a:gd name="T9" fmla="*/ 30 h 269"/>
                <a:gd name="T10" fmla="*/ 223 w 223"/>
                <a:gd name="T11" fmla="*/ 21 h 269"/>
                <a:gd name="T12" fmla="*/ 223 w 223"/>
                <a:gd name="T13" fmla="*/ 0 h 269"/>
                <a:gd name="T14" fmla="*/ 111 w 223"/>
                <a:gd name="T15" fmla="*/ 4 h 269"/>
                <a:gd name="T16" fmla="*/ 0 w 223"/>
                <a:gd name="T17" fmla="*/ 0 h 269"/>
                <a:gd name="T18" fmla="*/ 0 w 223"/>
                <a:gd name="T19" fmla="*/ 23 h 269"/>
                <a:gd name="T20" fmla="*/ 76 w 223"/>
                <a:gd name="T21" fmla="*/ 30 h 269"/>
                <a:gd name="T22" fmla="*/ 76 w 223"/>
                <a:gd name="T23" fmla="*/ 118 h 269"/>
                <a:gd name="T24" fmla="*/ 48 w 223"/>
                <a:gd name="T25" fmla="*/ 269 h 269"/>
                <a:gd name="T26" fmla="*/ 76 w 223"/>
                <a:gd name="T27" fmla="*/ 269 h 269"/>
                <a:gd name="T28" fmla="*/ 111 w 223"/>
                <a:gd name="T29" fmla="*/ 13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3" h="269">
                  <a:moveTo>
                    <a:pt x="111" y="138"/>
                  </a:moveTo>
                  <a:lnTo>
                    <a:pt x="146" y="269"/>
                  </a:lnTo>
                  <a:lnTo>
                    <a:pt x="174" y="269"/>
                  </a:lnTo>
                  <a:lnTo>
                    <a:pt x="146" y="118"/>
                  </a:lnTo>
                  <a:lnTo>
                    <a:pt x="146" y="30"/>
                  </a:lnTo>
                  <a:lnTo>
                    <a:pt x="223" y="21"/>
                  </a:lnTo>
                  <a:lnTo>
                    <a:pt x="223" y="0"/>
                  </a:lnTo>
                  <a:lnTo>
                    <a:pt x="111" y="4"/>
                  </a:lnTo>
                  <a:lnTo>
                    <a:pt x="0" y="0"/>
                  </a:lnTo>
                  <a:lnTo>
                    <a:pt x="0" y="23"/>
                  </a:lnTo>
                  <a:lnTo>
                    <a:pt x="76" y="30"/>
                  </a:lnTo>
                  <a:lnTo>
                    <a:pt x="76" y="118"/>
                  </a:lnTo>
                  <a:lnTo>
                    <a:pt x="48" y="269"/>
                  </a:lnTo>
                  <a:lnTo>
                    <a:pt x="76" y="269"/>
                  </a:lnTo>
                  <a:lnTo>
                    <a:pt x="111" y="138"/>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a:extLst>
                <a:ext uri="{FF2B5EF4-FFF2-40B4-BE49-F238E27FC236}">
                  <a16:creationId xmlns:a16="http://schemas.microsoft.com/office/drawing/2014/main" id="{475AD420-83A7-4A74-9F6C-C9ABD99C841C}"/>
                </a:ext>
              </a:extLst>
            </p:cNvPr>
            <p:cNvSpPr>
              <a:spLocks noChangeArrowheads="1"/>
            </p:cNvSpPr>
            <p:nvPr/>
          </p:nvSpPr>
          <p:spPr bwMode="auto">
            <a:xfrm>
              <a:off x="1465" y="2459"/>
              <a:ext cx="193"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Us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 name="Line 10">
              <a:extLst>
                <a:ext uri="{FF2B5EF4-FFF2-40B4-BE49-F238E27FC236}">
                  <a16:creationId xmlns:a16="http://schemas.microsoft.com/office/drawing/2014/main" id="{65601313-9A8B-43AA-8419-CFB6ACF80EBD}"/>
                </a:ext>
              </a:extLst>
            </p:cNvPr>
            <p:cNvSpPr>
              <a:spLocks noChangeShapeType="1"/>
            </p:cNvSpPr>
            <p:nvPr/>
          </p:nvSpPr>
          <p:spPr bwMode="auto">
            <a:xfrm>
              <a:off x="2040" y="1100"/>
              <a:ext cx="0" cy="2643"/>
            </a:xfrm>
            <a:prstGeom prst="line">
              <a:avLst/>
            </a:prstGeom>
            <a:noFill/>
            <a:ln w="31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Oval 11">
              <a:extLst>
                <a:ext uri="{FF2B5EF4-FFF2-40B4-BE49-F238E27FC236}">
                  <a16:creationId xmlns:a16="http://schemas.microsoft.com/office/drawing/2014/main" id="{7C4F2226-28D6-4D12-AABE-2D0BA1A6FD92}"/>
                </a:ext>
              </a:extLst>
            </p:cNvPr>
            <p:cNvSpPr>
              <a:spLocks noChangeArrowheads="1"/>
            </p:cNvSpPr>
            <p:nvPr/>
          </p:nvSpPr>
          <p:spPr bwMode="auto">
            <a:xfrm>
              <a:off x="2020" y="1081"/>
              <a:ext cx="40" cy="39"/>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12">
              <a:extLst>
                <a:ext uri="{FF2B5EF4-FFF2-40B4-BE49-F238E27FC236}">
                  <a16:creationId xmlns:a16="http://schemas.microsoft.com/office/drawing/2014/main" id="{B8C57A1B-4437-4F3B-84C3-F634FEE84AAF}"/>
                </a:ext>
              </a:extLst>
            </p:cNvPr>
            <p:cNvSpPr>
              <a:spLocks noChangeArrowheads="1"/>
            </p:cNvSpPr>
            <p:nvPr/>
          </p:nvSpPr>
          <p:spPr bwMode="auto">
            <a:xfrm>
              <a:off x="2020" y="3723"/>
              <a:ext cx="40" cy="40"/>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3">
              <a:extLst>
                <a:ext uri="{FF2B5EF4-FFF2-40B4-BE49-F238E27FC236}">
                  <a16:creationId xmlns:a16="http://schemas.microsoft.com/office/drawing/2014/main" id="{99B5C7A8-3C79-4B42-A535-6E5D62697115}"/>
                </a:ext>
              </a:extLst>
            </p:cNvPr>
            <p:cNvSpPr>
              <a:spLocks noChangeShapeType="1"/>
            </p:cNvSpPr>
            <p:nvPr/>
          </p:nvSpPr>
          <p:spPr bwMode="auto">
            <a:xfrm flipH="1">
              <a:off x="4010" y="1551"/>
              <a:ext cx="153" cy="1"/>
            </a:xfrm>
            <a:prstGeom prst="line">
              <a:avLst/>
            </a:prstGeom>
            <a:noFill/>
            <a:ln w="31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a:extLst>
                <a:ext uri="{FF2B5EF4-FFF2-40B4-BE49-F238E27FC236}">
                  <a16:creationId xmlns:a16="http://schemas.microsoft.com/office/drawing/2014/main" id="{6479C58B-6620-47DF-B5A3-89DA8C4AE4A7}"/>
                </a:ext>
              </a:extLst>
            </p:cNvPr>
            <p:cNvSpPr>
              <a:spLocks/>
            </p:cNvSpPr>
            <p:nvPr/>
          </p:nvSpPr>
          <p:spPr bwMode="auto">
            <a:xfrm>
              <a:off x="3964" y="1525"/>
              <a:ext cx="53" cy="53"/>
            </a:xfrm>
            <a:custGeom>
              <a:avLst/>
              <a:gdLst>
                <a:gd name="T0" fmla="*/ 53 w 53"/>
                <a:gd name="T1" fmla="*/ 53 h 53"/>
                <a:gd name="T2" fmla="*/ 0 w 53"/>
                <a:gd name="T3" fmla="*/ 27 h 53"/>
                <a:gd name="T4" fmla="*/ 53 w 53"/>
                <a:gd name="T5" fmla="*/ 0 h 53"/>
                <a:gd name="T6" fmla="*/ 53 w 53"/>
                <a:gd name="T7" fmla="*/ 53 h 53"/>
              </a:gdLst>
              <a:ahLst/>
              <a:cxnLst>
                <a:cxn ang="0">
                  <a:pos x="T0" y="T1"/>
                </a:cxn>
                <a:cxn ang="0">
                  <a:pos x="T2" y="T3"/>
                </a:cxn>
                <a:cxn ang="0">
                  <a:pos x="T4" y="T5"/>
                </a:cxn>
                <a:cxn ang="0">
                  <a:pos x="T6" y="T7"/>
                </a:cxn>
              </a:cxnLst>
              <a:rect l="0" t="0" r="r" b="b"/>
              <a:pathLst>
                <a:path w="53" h="53">
                  <a:moveTo>
                    <a:pt x="53" y="53"/>
                  </a:moveTo>
                  <a:lnTo>
                    <a:pt x="0" y="27"/>
                  </a:lnTo>
                  <a:lnTo>
                    <a:pt x="53" y="0"/>
                  </a:lnTo>
                  <a:lnTo>
                    <a:pt x="53"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5">
              <a:extLst>
                <a:ext uri="{FF2B5EF4-FFF2-40B4-BE49-F238E27FC236}">
                  <a16:creationId xmlns:a16="http://schemas.microsoft.com/office/drawing/2014/main" id="{0AB7B8BA-54EE-4B2D-A8EC-53C212CC2613}"/>
                </a:ext>
              </a:extLst>
            </p:cNvPr>
            <p:cNvSpPr>
              <a:spLocks noChangeArrowheads="1"/>
            </p:cNvSpPr>
            <p:nvPr/>
          </p:nvSpPr>
          <p:spPr bwMode="auto">
            <a:xfrm>
              <a:off x="3964" y="1424"/>
              <a:ext cx="931" cy="256"/>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6">
              <a:extLst>
                <a:ext uri="{FF2B5EF4-FFF2-40B4-BE49-F238E27FC236}">
                  <a16:creationId xmlns:a16="http://schemas.microsoft.com/office/drawing/2014/main" id="{982C3E86-DA13-4F0E-B30D-51334624893E}"/>
                </a:ext>
              </a:extLst>
            </p:cNvPr>
            <p:cNvSpPr>
              <a:spLocks noChangeArrowheads="1"/>
            </p:cNvSpPr>
            <p:nvPr/>
          </p:nvSpPr>
          <p:spPr bwMode="auto">
            <a:xfrm>
              <a:off x="3964" y="1424"/>
              <a:ext cx="931" cy="256"/>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Rectangle 17">
              <a:extLst>
                <a:ext uri="{FF2B5EF4-FFF2-40B4-BE49-F238E27FC236}">
                  <a16:creationId xmlns:a16="http://schemas.microsoft.com/office/drawing/2014/main" id="{EFFA5031-49AC-45C0-87DA-68FE13F1AE20}"/>
                </a:ext>
              </a:extLst>
            </p:cNvPr>
            <p:cNvSpPr>
              <a:spLocks noChangeArrowheads="1"/>
            </p:cNvSpPr>
            <p:nvPr/>
          </p:nvSpPr>
          <p:spPr bwMode="auto">
            <a:xfrm>
              <a:off x="4186" y="1460"/>
              <a:ext cx="5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Product Catalo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Rectangle 18">
              <a:extLst>
                <a:ext uri="{FF2B5EF4-FFF2-40B4-BE49-F238E27FC236}">
                  <a16:creationId xmlns:a16="http://schemas.microsoft.com/office/drawing/2014/main" id="{F2D99B4A-342D-4F3F-B7E9-F1BA99EDC0FB}"/>
                </a:ext>
              </a:extLst>
            </p:cNvPr>
            <p:cNvSpPr>
              <a:spLocks noChangeArrowheads="1"/>
            </p:cNvSpPr>
            <p:nvPr/>
          </p:nvSpPr>
          <p:spPr bwMode="auto">
            <a:xfrm>
              <a:off x="4234" y="1552"/>
              <a:ext cx="4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Microservi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Line 19">
              <a:extLst>
                <a:ext uri="{FF2B5EF4-FFF2-40B4-BE49-F238E27FC236}">
                  <a16:creationId xmlns:a16="http://schemas.microsoft.com/office/drawing/2014/main" id="{57288CFF-F0C2-4960-8B44-84953B90D204}"/>
                </a:ext>
              </a:extLst>
            </p:cNvPr>
            <p:cNvSpPr>
              <a:spLocks noChangeShapeType="1"/>
            </p:cNvSpPr>
            <p:nvPr/>
          </p:nvSpPr>
          <p:spPr bwMode="auto">
            <a:xfrm flipH="1">
              <a:off x="4010" y="2187"/>
              <a:ext cx="169" cy="4"/>
            </a:xfrm>
            <a:prstGeom prst="line">
              <a:avLst/>
            </a:prstGeom>
            <a:noFill/>
            <a:ln w="31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a:extLst>
                <a:ext uri="{FF2B5EF4-FFF2-40B4-BE49-F238E27FC236}">
                  <a16:creationId xmlns:a16="http://schemas.microsoft.com/office/drawing/2014/main" id="{DD569E92-8F68-4D9B-908E-28AD0094992D}"/>
                </a:ext>
              </a:extLst>
            </p:cNvPr>
            <p:cNvSpPr>
              <a:spLocks/>
            </p:cNvSpPr>
            <p:nvPr/>
          </p:nvSpPr>
          <p:spPr bwMode="auto">
            <a:xfrm>
              <a:off x="3964" y="2164"/>
              <a:ext cx="54" cy="53"/>
            </a:xfrm>
            <a:custGeom>
              <a:avLst/>
              <a:gdLst>
                <a:gd name="T0" fmla="*/ 54 w 54"/>
                <a:gd name="T1" fmla="*/ 53 h 53"/>
                <a:gd name="T2" fmla="*/ 0 w 54"/>
                <a:gd name="T3" fmla="*/ 27 h 53"/>
                <a:gd name="T4" fmla="*/ 53 w 54"/>
                <a:gd name="T5" fmla="*/ 0 h 53"/>
                <a:gd name="T6" fmla="*/ 54 w 54"/>
                <a:gd name="T7" fmla="*/ 53 h 53"/>
              </a:gdLst>
              <a:ahLst/>
              <a:cxnLst>
                <a:cxn ang="0">
                  <a:pos x="T0" y="T1"/>
                </a:cxn>
                <a:cxn ang="0">
                  <a:pos x="T2" y="T3"/>
                </a:cxn>
                <a:cxn ang="0">
                  <a:pos x="T4" y="T5"/>
                </a:cxn>
                <a:cxn ang="0">
                  <a:pos x="T6" y="T7"/>
                </a:cxn>
              </a:cxnLst>
              <a:rect l="0" t="0" r="r" b="b"/>
              <a:pathLst>
                <a:path w="54" h="53">
                  <a:moveTo>
                    <a:pt x="54" y="53"/>
                  </a:moveTo>
                  <a:lnTo>
                    <a:pt x="0" y="27"/>
                  </a:lnTo>
                  <a:lnTo>
                    <a:pt x="53" y="0"/>
                  </a:lnTo>
                  <a:lnTo>
                    <a:pt x="54"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a:extLst>
                <a:ext uri="{FF2B5EF4-FFF2-40B4-BE49-F238E27FC236}">
                  <a16:creationId xmlns:a16="http://schemas.microsoft.com/office/drawing/2014/main" id="{B16DB052-DE6E-4304-A516-288A32945071}"/>
                </a:ext>
              </a:extLst>
            </p:cNvPr>
            <p:cNvSpPr>
              <a:spLocks noEditPoints="1"/>
            </p:cNvSpPr>
            <p:nvPr/>
          </p:nvSpPr>
          <p:spPr bwMode="auto">
            <a:xfrm>
              <a:off x="1661" y="1906"/>
              <a:ext cx="251" cy="251"/>
            </a:xfrm>
            <a:custGeom>
              <a:avLst/>
              <a:gdLst>
                <a:gd name="T0" fmla="*/ 280 w 560"/>
                <a:gd name="T1" fmla="*/ 39 h 561"/>
                <a:gd name="T2" fmla="*/ 521 w 560"/>
                <a:gd name="T3" fmla="*/ 281 h 561"/>
                <a:gd name="T4" fmla="*/ 280 w 560"/>
                <a:gd name="T5" fmla="*/ 522 h 561"/>
                <a:gd name="T6" fmla="*/ 39 w 560"/>
                <a:gd name="T7" fmla="*/ 281 h 561"/>
                <a:gd name="T8" fmla="*/ 280 w 560"/>
                <a:gd name="T9" fmla="*/ 39 h 561"/>
                <a:gd name="T10" fmla="*/ 280 w 560"/>
                <a:gd name="T11" fmla="*/ 0 h 561"/>
                <a:gd name="T12" fmla="*/ 0 w 560"/>
                <a:gd name="T13" fmla="*/ 281 h 561"/>
                <a:gd name="T14" fmla="*/ 280 w 560"/>
                <a:gd name="T15" fmla="*/ 561 h 561"/>
                <a:gd name="T16" fmla="*/ 560 w 560"/>
                <a:gd name="T17" fmla="*/ 281 h 561"/>
                <a:gd name="T18" fmla="*/ 280 w 560"/>
                <a:gd name="T19"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0" h="561">
                  <a:moveTo>
                    <a:pt x="280" y="39"/>
                  </a:moveTo>
                  <a:cubicBezTo>
                    <a:pt x="413" y="39"/>
                    <a:pt x="521" y="148"/>
                    <a:pt x="521" y="281"/>
                  </a:cubicBezTo>
                  <a:cubicBezTo>
                    <a:pt x="521" y="414"/>
                    <a:pt x="413" y="522"/>
                    <a:pt x="280" y="522"/>
                  </a:cubicBezTo>
                  <a:cubicBezTo>
                    <a:pt x="147" y="522"/>
                    <a:pt x="39" y="414"/>
                    <a:pt x="39" y="281"/>
                  </a:cubicBezTo>
                  <a:cubicBezTo>
                    <a:pt x="39" y="148"/>
                    <a:pt x="147" y="39"/>
                    <a:pt x="280" y="39"/>
                  </a:cubicBezTo>
                  <a:close/>
                  <a:moveTo>
                    <a:pt x="280" y="0"/>
                  </a:moveTo>
                  <a:cubicBezTo>
                    <a:pt x="125" y="0"/>
                    <a:pt x="0" y="126"/>
                    <a:pt x="0" y="281"/>
                  </a:cubicBezTo>
                  <a:cubicBezTo>
                    <a:pt x="0" y="435"/>
                    <a:pt x="125" y="561"/>
                    <a:pt x="280" y="561"/>
                  </a:cubicBezTo>
                  <a:cubicBezTo>
                    <a:pt x="435" y="561"/>
                    <a:pt x="560" y="435"/>
                    <a:pt x="560" y="281"/>
                  </a:cubicBezTo>
                  <a:cubicBezTo>
                    <a:pt x="560" y="126"/>
                    <a:pt x="435" y="0"/>
                    <a:pt x="280" y="0"/>
                  </a:cubicBezTo>
                  <a:close/>
                </a:path>
              </a:pathLst>
            </a:custGeom>
            <a:solidFill>
              <a:srgbClr val="001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BEF45A7D-EB26-4C1A-B049-25F138CC4C1A}"/>
                </a:ext>
              </a:extLst>
            </p:cNvPr>
            <p:cNvSpPr>
              <a:spLocks/>
            </p:cNvSpPr>
            <p:nvPr/>
          </p:nvSpPr>
          <p:spPr bwMode="auto">
            <a:xfrm>
              <a:off x="1696" y="2075"/>
              <a:ext cx="179" cy="43"/>
            </a:xfrm>
            <a:custGeom>
              <a:avLst/>
              <a:gdLst>
                <a:gd name="T0" fmla="*/ 399 w 399"/>
                <a:gd name="T1" fmla="*/ 72 h 96"/>
                <a:gd name="T2" fmla="*/ 377 w 399"/>
                <a:gd name="T3" fmla="*/ 96 h 96"/>
                <a:gd name="T4" fmla="*/ 200 w 399"/>
                <a:gd name="T5" fmla="*/ 33 h 96"/>
                <a:gd name="T6" fmla="*/ 22 w 399"/>
                <a:gd name="T7" fmla="*/ 96 h 96"/>
                <a:gd name="T8" fmla="*/ 0 w 399"/>
                <a:gd name="T9" fmla="*/ 72 h 96"/>
                <a:gd name="T10" fmla="*/ 200 w 399"/>
                <a:gd name="T11" fmla="*/ 0 h 96"/>
                <a:gd name="T12" fmla="*/ 399 w 399"/>
                <a:gd name="T13" fmla="*/ 72 h 96"/>
              </a:gdLst>
              <a:ahLst/>
              <a:cxnLst>
                <a:cxn ang="0">
                  <a:pos x="T0" y="T1"/>
                </a:cxn>
                <a:cxn ang="0">
                  <a:pos x="T2" y="T3"/>
                </a:cxn>
                <a:cxn ang="0">
                  <a:pos x="T4" y="T5"/>
                </a:cxn>
                <a:cxn ang="0">
                  <a:pos x="T6" y="T7"/>
                </a:cxn>
                <a:cxn ang="0">
                  <a:pos x="T8" y="T9"/>
                </a:cxn>
                <a:cxn ang="0">
                  <a:pos x="T10" y="T11"/>
                </a:cxn>
                <a:cxn ang="0">
                  <a:pos x="T12" y="T13"/>
                </a:cxn>
              </a:cxnLst>
              <a:rect l="0" t="0" r="r" b="b"/>
              <a:pathLst>
                <a:path w="399" h="96">
                  <a:moveTo>
                    <a:pt x="399" y="72"/>
                  </a:moveTo>
                  <a:cubicBezTo>
                    <a:pt x="392" y="80"/>
                    <a:pt x="384" y="88"/>
                    <a:pt x="377" y="96"/>
                  </a:cubicBezTo>
                  <a:cubicBezTo>
                    <a:pt x="332" y="57"/>
                    <a:pt x="269" y="33"/>
                    <a:pt x="200" y="33"/>
                  </a:cubicBezTo>
                  <a:cubicBezTo>
                    <a:pt x="130" y="33"/>
                    <a:pt x="67" y="57"/>
                    <a:pt x="22" y="96"/>
                  </a:cubicBezTo>
                  <a:cubicBezTo>
                    <a:pt x="15" y="88"/>
                    <a:pt x="7" y="80"/>
                    <a:pt x="0" y="72"/>
                  </a:cubicBezTo>
                  <a:cubicBezTo>
                    <a:pt x="50" y="28"/>
                    <a:pt x="121" y="0"/>
                    <a:pt x="200" y="0"/>
                  </a:cubicBezTo>
                  <a:cubicBezTo>
                    <a:pt x="278" y="0"/>
                    <a:pt x="349" y="28"/>
                    <a:pt x="399" y="72"/>
                  </a:cubicBezTo>
                </a:path>
              </a:pathLst>
            </a:custGeom>
            <a:solidFill>
              <a:srgbClr val="001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3">
              <a:extLst>
                <a:ext uri="{FF2B5EF4-FFF2-40B4-BE49-F238E27FC236}">
                  <a16:creationId xmlns:a16="http://schemas.microsoft.com/office/drawing/2014/main" id="{FA71A51D-2ED6-42D0-9A0C-225CAC97704F}"/>
                </a:ext>
              </a:extLst>
            </p:cNvPr>
            <p:cNvSpPr>
              <a:spLocks/>
            </p:cNvSpPr>
            <p:nvPr/>
          </p:nvSpPr>
          <p:spPr bwMode="auto">
            <a:xfrm>
              <a:off x="1698" y="1945"/>
              <a:ext cx="179" cy="43"/>
            </a:xfrm>
            <a:custGeom>
              <a:avLst/>
              <a:gdLst>
                <a:gd name="T0" fmla="*/ 399 w 399"/>
                <a:gd name="T1" fmla="*/ 23 h 95"/>
                <a:gd name="T2" fmla="*/ 377 w 399"/>
                <a:gd name="T3" fmla="*/ 0 h 95"/>
                <a:gd name="T4" fmla="*/ 200 w 399"/>
                <a:gd name="T5" fmla="*/ 62 h 95"/>
                <a:gd name="T6" fmla="*/ 23 w 399"/>
                <a:gd name="T7" fmla="*/ 0 h 95"/>
                <a:gd name="T8" fmla="*/ 0 w 399"/>
                <a:gd name="T9" fmla="*/ 23 h 95"/>
                <a:gd name="T10" fmla="*/ 200 w 399"/>
                <a:gd name="T11" fmla="*/ 95 h 95"/>
                <a:gd name="T12" fmla="*/ 399 w 399"/>
                <a:gd name="T13" fmla="*/ 23 h 95"/>
              </a:gdLst>
              <a:ahLst/>
              <a:cxnLst>
                <a:cxn ang="0">
                  <a:pos x="T0" y="T1"/>
                </a:cxn>
                <a:cxn ang="0">
                  <a:pos x="T2" y="T3"/>
                </a:cxn>
                <a:cxn ang="0">
                  <a:pos x="T4" y="T5"/>
                </a:cxn>
                <a:cxn ang="0">
                  <a:pos x="T6" y="T7"/>
                </a:cxn>
                <a:cxn ang="0">
                  <a:pos x="T8" y="T9"/>
                </a:cxn>
                <a:cxn ang="0">
                  <a:pos x="T10" y="T11"/>
                </a:cxn>
                <a:cxn ang="0">
                  <a:pos x="T12" y="T13"/>
                </a:cxn>
              </a:cxnLst>
              <a:rect l="0" t="0" r="r" b="b"/>
              <a:pathLst>
                <a:path w="399" h="95">
                  <a:moveTo>
                    <a:pt x="399" y="23"/>
                  </a:moveTo>
                  <a:cubicBezTo>
                    <a:pt x="392" y="15"/>
                    <a:pt x="385" y="7"/>
                    <a:pt x="377" y="0"/>
                  </a:cubicBezTo>
                  <a:cubicBezTo>
                    <a:pt x="332" y="38"/>
                    <a:pt x="269" y="62"/>
                    <a:pt x="200" y="62"/>
                  </a:cubicBezTo>
                  <a:cubicBezTo>
                    <a:pt x="130" y="62"/>
                    <a:pt x="67" y="38"/>
                    <a:pt x="23" y="0"/>
                  </a:cubicBezTo>
                  <a:cubicBezTo>
                    <a:pt x="15" y="7"/>
                    <a:pt x="7" y="15"/>
                    <a:pt x="0" y="23"/>
                  </a:cubicBezTo>
                  <a:cubicBezTo>
                    <a:pt x="50" y="67"/>
                    <a:pt x="121" y="95"/>
                    <a:pt x="200" y="95"/>
                  </a:cubicBezTo>
                  <a:cubicBezTo>
                    <a:pt x="278" y="95"/>
                    <a:pt x="349" y="67"/>
                    <a:pt x="399" y="23"/>
                  </a:cubicBezTo>
                </a:path>
              </a:pathLst>
            </a:custGeom>
            <a:solidFill>
              <a:srgbClr val="001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4">
              <a:extLst>
                <a:ext uri="{FF2B5EF4-FFF2-40B4-BE49-F238E27FC236}">
                  <a16:creationId xmlns:a16="http://schemas.microsoft.com/office/drawing/2014/main" id="{761D05F5-8FB1-4469-8F45-83C072700606}"/>
                </a:ext>
              </a:extLst>
            </p:cNvPr>
            <p:cNvSpPr>
              <a:spLocks noChangeArrowheads="1"/>
            </p:cNvSpPr>
            <p:nvPr/>
          </p:nvSpPr>
          <p:spPr bwMode="auto">
            <a:xfrm>
              <a:off x="1667" y="2023"/>
              <a:ext cx="233" cy="1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5">
              <a:extLst>
                <a:ext uri="{FF2B5EF4-FFF2-40B4-BE49-F238E27FC236}">
                  <a16:creationId xmlns:a16="http://schemas.microsoft.com/office/drawing/2014/main" id="{BE2C86FF-D57C-47BE-BCE9-20CF839742BB}"/>
                </a:ext>
              </a:extLst>
            </p:cNvPr>
            <p:cNvSpPr>
              <a:spLocks noChangeArrowheads="1"/>
            </p:cNvSpPr>
            <p:nvPr/>
          </p:nvSpPr>
          <p:spPr bwMode="auto">
            <a:xfrm>
              <a:off x="1778" y="1913"/>
              <a:ext cx="18" cy="23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a:extLst>
                <a:ext uri="{FF2B5EF4-FFF2-40B4-BE49-F238E27FC236}">
                  <a16:creationId xmlns:a16="http://schemas.microsoft.com/office/drawing/2014/main" id="{F3D9DAB5-7B42-48C6-BE2E-548F58D1D776}"/>
                </a:ext>
              </a:extLst>
            </p:cNvPr>
            <p:cNvSpPr>
              <a:spLocks noEditPoints="1"/>
            </p:cNvSpPr>
            <p:nvPr/>
          </p:nvSpPr>
          <p:spPr bwMode="auto">
            <a:xfrm>
              <a:off x="1703" y="1913"/>
              <a:ext cx="167" cy="237"/>
            </a:xfrm>
            <a:custGeom>
              <a:avLst/>
              <a:gdLst>
                <a:gd name="T0" fmla="*/ 186 w 372"/>
                <a:gd name="T1" fmla="*/ 528 h 528"/>
                <a:gd name="T2" fmla="*/ 0 w 372"/>
                <a:gd name="T3" fmla="*/ 264 h 528"/>
                <a:gd name="T4" fmla="*/ 186 w 372"/>
                <a:gd name="T5" fmla="*/ 0 h 528"/>
                <a:gd name="T6" fmla="*/ 372 w 372"/>
                <a:gd name="T7" fmla="*/ 264 h 528"/>
                <a:gd name="T8" fmla="*/ 186 w 372"/>
                <a:gd name="T9" fmla="*/ 528 h 528"/>
                <a:gd name="T10" fmla="*/ 186 w 372"/>
                <a:gd name="T11" fmla="*/ 32 h 528"/>
                <a:gd name="T12" fmla="*/ 33 w 372"/>
                <a:gd name="T13" fmla="*/ 264 h 528"/>
                <a:gd name="T14" fmla="*/ 186 w 372"/>
                <a:gd name="T15" fmla="*/ 495 h 528"/>
                <a:gd name="T16" fmla="*/ 339 w 372"/>
                <a:gd name="T17" fmla="*/ 264 h 528"/>
                <a:gd name="T18" fmla="*/ 186 w 372"/>
                <a:gd name="T19" fmla="*/ 32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2" h="528">
                  <a:moveTo>
                    <a:pt x="186" y="528"/>
                  </a:moveTo>
                  <a:cubicBezTo>
                    <a:pt x="84" y="528"/>
                    <a:pt x="0" y="409"/>
                    <a:pt x="0" y="264"/>
                  </a:cubicBezTo>
                  <a:cubicBezTo>
                    <a:pt x="0" y="118"/>
                    <a:pt x="84" y="0"/>
                    <a:pt x="186" y="0"/>
                  </a:cubicBezTo>
                  <a:cubicBezTo>
                    <a:pt x="288" y="0"/>
                    <a:pt x="372" y="118"/>
                    <a:pt x="372" y="264"/>
                  </a:cubicBezTo>
                  <a:cubicBezTo>
                    <a:pt x="372" y="409"/>
                    <a:pt x="288" y="528"/>
                    <a:pt x="186" y="528"/>
                  </a:cubicBezTo>
                  <a:close/>
                  <a:moveTo>
                    <a:pt x="186" y="32"/>
                  </a:moveTo>
                  <a:cubicBezTo>
                    <a:pt x="102" y="32"/>
                    <a:pt x="33" y="136"/>
                    <a:pt x="33" y="264"/>
                  </a:cubicBezTo>
                  <a:cubicBezTo>
                    <a:pt x="33" y="391"/>
                    <a:pt x="102" y="495"/>
                    <a:pt x="186" y="495"/>
                  </a:cubicBezTo>
                  <a:cubicBezTo>
                    <a:pt x="270" y="495"/>
                    <a:pt x="339" y="391"/>
                    <a:pt x="339" y="264"/>
                  </a:cubicBezTo>
                  <a:cubicBezTo>
                    <a:pt x="339" y="136"/>
                    <a:pt x="270" y="32"/>
                    <a:pt x="186" y="32"/>
                  </a:cubicBezTo>
                  <a:close/>
                </a:path>
              </a:pathLst>
            </a:custGeom>
            <a:solidFill>
              <a:srgbClr val="001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7">
              <a:extLst>
                <a:ext uri="{FF2B5EF4-FFF2-40B4-BE49-F238E27FC236}">
                  <a16:creationId xmlns:a16="http://schemas.microsoft.com/office/drawing/2014/main" id="{228A20FD-3D5E-43F0-80BF-ADEE4D8986C2}"/>
                </a:ext>
              </a:extLst>
            </p:cNvPr>
            <p:cNvSpPr>
              <a:spLocks noChangeArrowheads="1"/>
            </p:cNvSpPr>
            <p:nvPr/>
          </p:nvSpPr>
          <p:spPr bwMode="auto">
            <a:xfrm>
              <a:off x="1722" y="2183"/>
              <a:ext cx="186"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188F"/>
                  </a:solidFill>
                  <a:effectLst/>
                  <a:latin typeface="Segoe UI" panose="020B0502040204020203" pitchFamily="34" charset="0"/>
                </a:rPr>
                <a:t>We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Line 28">
              <a:extLst>
                <a:ext uri="{FF2B5EF4-FFF2-40B4-BE49-F238E27FC236}">
                  <a16:creationId xmlns:a16="http://schemas.microsoft.com/office/drawing/2014/main" id="{ABD8B67B-38B9-4DAE-AAEA-DAAA13982C5E}"/>
                </a:ext>
              </a:extLst>
            </p:cNvPr>
            <p:cNvSpPr>
              <a:spLocks noChangeShapeType="1"/>
            </p:cNvSpPr>
            <p:nvPr/>
          </p:nvSpPr>
          <p:spPr bwMode="auto">
            <a:xfrm>
              <a:off x="1949" y="2267"/>
              <a:ext cx="183" cy="0"/>
            </a:xfrm>
            <a:prstGeom prst="line">
              <a:avLst/>
            </a:prstGeom>
            <a:noFill/>
            <a:ln w="317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a:extLst>
                <a:ext uri="{FF2B5EF4-FFF2-40B4-BE49-F238E27FC236}">
                  <a16:creationId xmlns:a16="http://schemas.microsoft.com/office/drawing/2014/main" id="{9E7311E7-D327-461B-86D6-F4DDE057DC18}"/>
                </a:ext>
              </a:extLst>
            </p:cNvPr>
            <p:cNvSpPr>
              <a:spLocks/>
            </p:cNvSpPr>
            <p:nvPr/>
          </p:nvSpPr>
          <p:spPr bwMode="auto">
            <a:xfrm>
              <a:off x="1903" y="2241"/>
              <a:ext cx="52" cy="53"/>
            </a:xfrm>
            <a:custGeom>
              <a:avLst/>
              <a:gdLst>
                <a:gd name="T0" fmla="*/ 52 w 52"/>
                <a:gd name="T1" fmla="*/ 53 h 53"/>
                <a:gd name="T2" fmla="*/ 0 w 52"/>
                <a:gd name="T3" fmla="*/ 26 h 53"/>
                <a:gd name="T4" fmla="*/ 52 w 52"/>
                <a:gd name="T5" fmla="*/ 0 h 53"/>
                <a:gd name="T6" fmla="*/ 52 w 52"/>
                <a:gd name="T7" fmla="*/ 53 h 53"/>
              </a:gdLst>
              <a:ahLst/>
              <a:cxnLst>
                <a:cxn ang="0">
                  <a:pos x="T0" y="T1"/>
                </a:cxn>
                <a:cxn ang="0">
                  <a:pos x="T2" y="T3"/>
                </a:cxn>
                <a:cxn ang="0">
                  <a:pos x="T4" y="T5"/>
                </a:cxn>
                <a:cxn ang="0">
                  <a:pos x="T6" y="T7"/>
                </a:cxn>
              </a:cxnLst>
              <a:rect l="0" t="0" r="r" b="b"/>
              <a:pathLst>
                <a:path w="52" h="53">
                  <a:moveTo>
                    <a:pt x="52" y="53"/>
                  </a:moveTo>
                  <a:lnTo>
                    <a:pt x="0" y="26"/>
                  </a:lnTo>
                  <a:lnTo>
                    <a:pt x="52" y="0"/>
                  </a:lnTo>
                  <a:lnTo>
                    <a:pt x="52"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a:extLst>
                <a:ext uri="{FF2B5EF4-FFF2-40B4-BE49-F238E27FC236}">
                  <a16:creationId xmlns:a16="http://schemas.microsoft.com/office/drawing/2014/main" id="{2727CFB2-DA6C-47B5-B8EF-91AEE0370995}"/>
                </a:ext>
              </a:extLst>
            </p:cNvPr>
            <p:cNvSpPr>
              <a:spLocks/>
            </p:cNvSpPr>
            <p:nvPr/>
          </p:nvSpPr>
          <p:spPr bwMode="auto">
            <a:xfrm>
              <a:off x="2125" y="2241"/>
              <a:ext cx="53" cy="53"/>
            </a:xfrm>
            <a:custGeom>
              <a:avLst/>
              <a:gdLst>
                <a:gd name="T0" fmla="*/ 0 w 53"/>
                <a:gd name="T1" fmla="*/ 0 h 53"/>
                <a:gd name="T2" fmla="*/ 53 w 53"/>
                <a:gd name="T3" fmla="*/ 26 h 53"/>
                <a:gd name="T4" fmla="*/ 0 w 53"/>
                <a:gd name="T5" fmla="*/ 53 h 53"/>
                <a:gd name="T6" fmla="*/ 0 w 53"/>
                <a:gd name="T7" fmla="*/ 0 h 53"/>
              </a:gdLst>
              <a:ahLst/>
              <a:cxnLst>
                <a:cxn ang="0">
                  <a:pos x="T0" y="T1"/>
                </a:cxn>
                <a:cxn ang="0">
                  <a:pos x="T2" y="T3"/>
                </a:cxn>
                <a:cxn ang="0">
                  <a:pos x="T4" y="T5"/>
                </a:cxn>
                <a:cxn ang="0">
                  <a:pos x="T6" y="T7"/>
                </a:cxn>
              </a:cxnLst>
              <a:rect l="0" t="0" r="r" b="b"/>
              <a:pathLst>
                <a:path w="53" h="53">
                  <a:moveTo>
                    <a:pt x="0" y="0"/>
                  </a:moveTo>
                  <a:lnTo>
                    <a:pt x="53" y="26"/>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1">
              <a:extLst>
                <a:ext uri="{FF2B5EF4-FFF2-40B4-BE49-F238E27FC236}">
                  <a16:creationId xmlns:a16="http://schemas.microsoft.com/office/drawing/2014/main" id="{4D1821BB-EEBA-4A03-BF7C-FF1D372BADAD}"/>
                </a:ext>
              </a:extLst>
            </p:cNvPr>
            <p:cNvSpPr>
              <a:spLocks noChangeArrowheads="1"/>
            </p:cNvSpPr>
            <p:nvPr/>
          </p:nvSpPr>
          <p:spPr bwMode="auto">
            <a:xfrm>
              <a:off x="3966" y="2799"/>
              <a:ext cx="926" cy="236"/>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2">
              <a:extLst>
                <a:ext uri="{FF2B5EF4-FFF2-40B4-BE49-F238E27FC236}">
                  <a16:creationId xmlns:a16="http://schemas.microsoft.com/office/drawing/2014/main" id="{92EED372-E1E8-4E26-B528-BAEE9AFF386F}"/>
                </a:ext>
              </a:extLst>
            </p:cNvPr>
            <p:cNvSpPr>
              <a:spLocks noChangeArrowheads="1"/>
            </p:cNvSpPr>
            <p:nvPr/>
          </p:nvSpPr>
          <p:spPr bwMode="auto">
            <a:xfrm>
              <a:off x="3966" y="2799"/>
              <a:ext cx="926" cy="236"/>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Rectangle 33">
              <a:extLst>
                <a:ext uri="{FF2B5EF4-FFF2-40B4-BE49-F238E27FC236}">
                  <a16:creationId xmlns:a16="http://schemas.microsoft.com/office/drawing/2014/main" id="{15D80DC1-2FB5-419A-9C64-9D4713E6A29A}"/>
                </a:ext>
              </a:extLst>
            </p:cNvPr>
            <p:cNvSpPr>
              <a:spLocks noChangeArrowheads="1"/>
            </p:cNvSpPr>
            <p:nvPr/>
          </p:nvSpPr>
          <p:spPr bwMode="auto">
            <a:xfrm>
              <a:off x="4283" y="2825"/>
              <a:ext cx="3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Inventor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34">
              <a:extLst>
                <a:ext uri="{FF2B5EF4-FFF2-40B4-BE49-F238E27FC236}">
                  <a16:creationId xmlns:a16="http://schemas.microsoft.com/office/drawing/2014/main" id="{6B0FD825-3295-45D4-A0ED-7A338078B854}"/>
                </a:ext>
              </a:extLst>
            </p:cNvPr>
            <p:cNvSpPr>
              <a:spLocks noChangeArrowheads="1"/>
            </p:cNvSpPr>
            <p:nvPr/>
          </p:nvSpPr>
          <p:spPr bwMode="auto">
            <a:xfrm>
              <a:off x="4233" y="2917"/>
              <a:ext cx="4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Microservi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7" name="Rectangle 35">
              <a:extLst>
                <a:ext uri="{FF2B5EF4-FFF2-40B4-BE49-F238E27FC236}">
                  <a16:creationId xmlns:a16="http://schemas.microsoft.com/office/drawing/2014/main" id="{311C89B1-CB72-492F-8055-FA31AFA98DB2}"/>
                </a:ext>
              </a:extLst>
            </p:cNvPr>
            <p:cNvSpPr>
              <a:spLocks noChangeArrowheads="1"/>
            </p:cNvSpPr>
            <p:nvPr/>
          </p:nvSpPr>
          <p:spPr bwMode="auto">
            <a:xfrm>
              <a:off x="3964" y="2067"/>
              <a:ext cx="927" cy="249"/>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6">
              <a:extLst>
                <a:ext uri="{FF2B5EF4-FFF2-40B4-BE49-F238E27FC236}">
                  <a16:creationId xmlns:a16="http://schemas.microsoft.com/office/drawing/2014/main" id="{AAC89E42-9806-40FC-9A04-099590DD8B56}"/>
                </a:ext>
              </a:extLst>
            </p:cNvPr>
            <p:cNvSpPr>
              <a:spLocks noChangeArrowheads="1"/>
            </p:cNvSpPr>
            <p:nvPr/>
          </p:nvSpPr>
          <p:spPr bwMode="auto">
            <a:xfrm>
              <a:off x="3964" y="2067"/>
              <a:ext cx="927" cy="249"/>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Rectangle 37">
              <a:extLst>
                <a:ext uri="{FF2B5EF4-FFF2-40B4-BE49-F238E27FC236}">
                  <a16:creationId xmlns:a16="http://schemas.microsoft.com/office/drawing/2014/main" id="{33E4DE0A-5078-4C37-84E3-42F279450E59}"/>
                </a:ext>
              </a:extLst>
            </p:cNvPr>
            <p:cNvSpPr>
              <a:spLocks noChangeArrowheads="1"/>
            </p:cNvSpPr>
            <p:nvPr/>
          </p:nvSpPr>
          <p:spPr bwMode="auto">
            <a:xfrm>
              <a:off x="4175" y="2100"/>
              <a:ext cx="57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Shopping Bask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Rectangle 38">
              <a:extLst>
                <a:ext uri="{FF2B5EF4-FFF2-40B4-BE49-F238E27FC236}">
                  <a16:creationId xmlns:a16="http://schemas.microsoft.com/office/drawing/2014/main" id="{66B1F31E-3C6E-45E8-A2E0-889A7C71D167}"/>
                </a:ext>
              </a:extLst>
            </p:cNvPr>
            <p:cNvSpPr>
              <a:spLocks noChangeArrowheads="1"/>
            </p:cNvSpPr>
            <p:nvPr/>
          </p:nvSpPr>
          <p:spPr bwMode="auto">
            <a:xfrm>
              <a:off x="4232" y="2193"/>
              <a:ext cx="451"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Microservi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 name="Freeform 39">
              <a:extLst>
                <a:ext uri="{FF2B5EF4-FFF2-40B4-BE49-F238E27FC236}">
                  <a16:creationId xmlns:a16="http://schemas.microsoft.com/office/drawing/2014/main" id="{966A4D7A-B867-435C-A873-BA091D55C023}"/>
                </a:ext>
              </a:extLst>
            </p:cNvPr>
            <p:cNvSpPr>
              <a:spLocks noEditPoints="1"/>
            </p:cNvSpPr>
            <p:nvPr/>
          </p:nvSpPr>
          <p:spPr bwMode="auto">
            <a:xfrm>
              <a:off x="4926" y="1420"/>
              <a:ext cx="987" cy="79"/>
            </a:xfrm>
            <a:custGeom>
              <a:avLst/>
              <a:gdLst>
                <a:gd name="T0" fmla="*/ 2205 w 2207"/>
                <a:gd name="T1" fmla="*/ 62 h 176"/>
                <a:gd name="T2" fmla="*/ 2105 w 2207"/>
                <a:gd name="T3" fmla="*/ 52 h 176"/>
                <a:gd name="T4" fmla="*/ 2082 w 2207"/>
                <a:gd name="T5" fmla="*/ 52 h 176"/>
                <a:gd name="T6" fmla="*/ 2085 w 2207"/>
                <a:gd name="T7" fmla="*/ 50 h 176"/>
                <a:gd name="T8" fmla="*/ 1986 w 2207"/>
                <a:gd name="T9" fmla="*/ 35 h 176"/>
                <a:gd name="T10" fmla="*/ 1928 w 2207"/>
                <a:gd name="T11" fmla="*/ 33 h 176"/>
                <a:gd name="T12" fmla="*/ 1961 w 2207"/>
                <a:gd name="T13" fmla="*/ 32 h 176"/>
                <a:gd name="T14" fmla="*/ 1861 w 2207"/>
                <a:gd name="T15" fmla="*/ 25 h 176"/>
                <a:gd name="T16" fmla="*/ 1838 w 2207"/>
                <a:gd name="T17" fmla="*/ 26 h 176"/>
                <a:gd name="T18" fmla="*/ 1841 w 2207"/>
                <a:gd name="T19" fmla="*/ 24 h 176"/>
                <a:gd name="T20" fmla="*/ 1741 w 2207"/>
                <a:gd name="T21" fmla="*/ 14 h 176"/>
                <a:gd name="T22" fmla="*/ 1680 w 2207"/>
                <a:gd name="T23" fmla="*/ 14 h 176"/>
                <a:gd name="T24" fmla="*/ 1716 w 2207"/>
                <a:gd name="T25" fmla="*/ 17 h 176"/>
                <a:gd name="T26" fmla="*/ 1619 w 2207"/>
                <a:gd name="T27" fmla="*/ 6 h 176"/>
                <a:gd name="T28" fmla="*/ 1593 w 2207"/>
                <a:gd name="T29" fmla="*/ 11 h 176"/>
                <a:gd name="T30" fmla="*/ 1596 w 2207"/>
                <a:gd name="T31" fmla="*/ 8 h 176"/>
                <a:gd name="T32" fmla="*/ 1496 w 2207"/>
                <a:gd name="T33" fmla="*/ 3 h 176"/>
                <a:gd name="T34" fmla="*/ 1434 w 2207"/>
                <a:gd name="T35" fmla="*/ 7 h 176"/>
                <a:gd name="T36" fmla="*/ 1470 w 2207"/>
                <a:gd name="T37" fmla="*/ 7 h 176"/>
                <a:gd name="T38" fmla="*/ 1373 w 2207"/>
                <a:gd name="T39" fmla="*/ 0 h 176"/>
                <a:gd name="T40" fmla="*/ 1347 w 2207"/>
                <a:gd name="T41" fmla="*/ 6 h 176"/>
                <a:gd name="T42" fmla="*/ 1350 w 2207"/>
                <a:gd name="T43" fmla="*/ 3 h 176"/>
                <a:gd name="T44" fmla="*/ 1250 w 2207"/>
                <a:gd name="T45" fmla="*/ 3 h 176"/>
                <a:gd name="T46" fmla="*/ 1189 w 2207"/>
                <a:gd name="T47" fmla="*/ 10 h 176"/>
                <a:gd name="T48" fmla="*/ 1225 w 2207"/>
                <a:gd name="T49" fmla="*/ 9 h 176"/>
                <a:gd name="T50" fmla="*/ 1163 w 2207"/>
                <a:gd name="T51" fmla="*/ 5 h 176"/>
                <a:gd name="T52" fmla="*/ 1066 w 2207"/>
                <a:gd name="T53" fmla="*/ 14 h 176"/>
                <a:gd name="T54" fmla="*/ 1104 w 2207"/>
                <a:gd name="T55" fmla="*/ 9 h 176"/>
                <a:gd name="T56" fmla="*/ 1005 w 2207"/>
                <a:gd name="T57" fmla="*/ 14 h 176"/>
                <a:gd name="T58" fmla="*/ 944 w 2207"/>
                <a:gd name="T59" fmla="*/ 24 h 176"/>
                <a:gd name="T60" fmla="*/ 979 w 2207"/>
                <a:gd name="T61" fmla="*/ 21 h 176"/>
                <a:gd name="T62" fmla="*/ 918 w 2207"/>
                <a:gd name="T63" fmla="*/ 21 h 176"/>
                <a:gd name="T64" fmla="*/ 821 w 2207"/>
                <a:gd name="T65" fmla="*/ 33 h 176"/>
                <a:gd name="T66" fmla="*/ 859 w 2207"/>
                <a:gd name="T67" fmla="*/ 28 h 176"/>
                <a:gd name="T68" fmla="*/ 760 w 2207"/>
                <a:gd name="T69" fmla="*/ 36 h 176"/>
                <a:gd name="T70" fmla="*/ 699 w 2207"/>
                <a:gd name="T71" fmla="*/ 48 h 176"/>
                <a:gd name="T72" fmla="*/ 735 w 2207"/>
                <a:gd name="T73" fmla="*/ 44 h 176"/>
                <a:gd name="T74" fmla="*/ 673 w 2207"/>
                <a:gd name="T75" fmla="*/ 46 h 176"/>
                <a:gd name="T76" fmla="*/ 575 w 2207"/>
                <a:gd name="T77" fmla="*/ 61 h 176"/>
                <a:gd name="T78" fmla="*/ 552 w 2207"/>
                <a:gd name="T79" fmla="*/ 66 h 176"/>
                <a:gd name="T80" fmla="*/ 546 w 2207"/>
                <a:gd name="T81" fmla="*/ 62 h 176"/>
                <a:gd name="T82" fmla="*/ 456 w 2207"/>
                <a:gd name="T83" fmla="*/ 83 h 176"/>
                <a:gd name="T84" fmla="*/ 492 w 2207"/>
                <a:gd name="T85" fmla="*/ 77 h 176"/>
                <a:gd name="T86" fmla="*/ 430 w 2207"/>
                <a:gd name="T87" fmla="*/ 82 h 176"/>
                <a:gd name="T88" fmla="*/ 332 w 2207"/>
                <a:gd name="T89" fmla="*/ 102 h 176"/>
                <a:gd name="T90" fmla="*/ 310 w 2207"/>
                <a:gd name="T91" fmla="*/ 109 h 176"/>
                <a:gd name="T92" fmla="*/ 312 w 2207"/>
                <a:gd name="T93" fmla="*/ 106 h 176"/>
                <a:gd name="T94" fmla="*/ 214 w 2207"/>
                <a:gd name="T95" fmla="*/ 123 h 176"/>
                <a:gd name="T96" fmla="*/ 155 w 2207"/>
                <a:gd name="T97" fmla="*/ 142 h 176"/>
                <a:gd name="T98" fmla="*/ 192 w 2207"/>
                <a:gd name="T99" fmla="*/ 131 h 176"/>
                <a:gd name="T100" fmla="*/ 94 w 2207"/>
                <a:gd name="T101" fmla="*/ 150 h 176"/>
                <a:gd name="T102" fmla="*/ 70 w 2207"/>
                <a:gd name="T103" fmla="*/ 161 h 176"/>
                <a:gd name="T104" fmla="*/ 72 w 2207"/>
                <a:gd name="T105" fmla="*/ 158 h 176"/>
                <a:gd name="T106" fmla="*/ 2 w 2207"/>
                <a:gd name="T107" fmla="*/ 17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07" h="176">
                  <a:moveTo>
                    <a:pt x="2204" y="67"/>
                  </a:moveTo>
                  <a:lnTo>
                    <a:pt x="2169" y="63"/>
                  </a:lnTo>
                  <a:cubicBezTo>
                    <a:pt x="2167" y="62"/>
                    <a:pt x="2166" y="61"/>
                    <a:pt x="2166" y="60"/>
                  </a:cubicBezTo>
                  <a:cubicBezTo>
                    <a:pt x="2167" y="58"/>
                    <a:pt x="2168" y="57"/>
                    <a:pt x="2169" y="58"/>
                  </a:cubicBezTo>
                  <a:lnTo>
                    <a:pt x="2205" y="62"/>
                  </a:lnTo>
                  <a:cubicBezTo>
                    <a:pt x="2206" y="62"/>
                    <a:pt x="2207" y="63"/>
                    <a:pt x="2207" y="65"/>
                  </a:cubicBezTo>
                  <a:cubicBezTo>
                    <a:pt x="2207" y="66"/>
                    <a:pt x="2206" y="67"/>
                    <a:pt x="2204" y="67"/>
                  </a:cubicBezTo>
                  <a:close/>
                  <a:moveTo>
                    <a:pt x="2143" y="59"/>
                  </a:moveTo>
                  <a:lnTo>
                    <a:pt x="2108" y="55"/>
                  </a:lnTo>
                  <a:cubicBezTo>
                    <a:pt x="2106" y="55"/>
                    <a:pt x="2105" y="54"/>
                    <a:pt x="2105" y="52"/>
                  </a:cubicBezTo>
                  <a:cubicBezTo>
                    <a:pt x="2106" y="51"/>
                    <a:pt x="2107" y="50"/>
                    <a:pt x="2108" y="50"/>
                  </a:cubicBezTo>
                  <a:lnTo>
                    <a:pt x="2144" y="54"/>
                  </a:lnTo>
                  <a:cubicBezTo>
                    <a:pt x="2145" y="55"/>
                    <a:pt x="2146" y="56"/>
                    <a:pt x="2146" y="57"/>
                  </a:cubicBezTo>
                  <a:cubicBezTo>
                    <a:pt x="2146" y="59"/>
                    <a:pt x="2145" y="60"/>
                    <a:pt x="2143" y="59"/>
                  </a:cubicBezTo>
                  <a:close/>
                  <a:moveTo>
                    <a:pt x="2082" y="52"/>
                  </a:moveTo>
                  <a:lnTo>
                    <a:pt x="2047" y="48"/>
                  </a:lnTo>
                  <a:cubicBezTo>
                    <a:pt x="2045" y="47"/>
                    <a:pt x="2044" y="46"/>
                    <a:pt x="2044" y="45"/>
                  </a:cubicBezTo>
                  <a:cubicBezTo>
                    <a:pt x="2045" y="43"/>
                    <a:pt x="2046" y="42"/>
                    <a:pt x="2047" y="43"/>
                  </a:cubicBezTo>
                  <a:lnTo>
                    <a:pt x="2083" y="47"/>
                  </a:lnTo>
                  <a:cubicBezTo>
                    <a:pt x="2084" y="47"/>
                    <a:pt x="2085" y="48"/>
                    <a:pt x="2085" y="50"/>
                  </a:cubicBezTo>
                  <a:cubicBezTo>
                    <a:pt x="2085" y="51"/>
                    <a:pt x="2084" y="52"/>
                    <a:pt x="2082" y="52"/>
                  </a:cubicBezTo>
                  <a:close/>
                  <a:moveTo>
                    <a:pt x="2021" y="44"/>
                  </a:moveTo>
                  <a:lnTo>
                    <a:pt x="1986" y="40"/>
                  </a:lnTo>
                  <a:cubicBezTo>
                    <a:pt x="1984" y="40"/>
                    <a:pt x="1983" y="39"/>
                    <a:pt x="1983" y="37"/>
                  </a:cubicBezTo>
                  <a:cubicBezTo>
                    <a:pt x="1984" y="36"/>
                    <a:pt x="1985" y="35"/>
                    <a:pt x="1986" y="35"/>
                  </a:cubicBezTo>
                  <a:lnTo>
                    <a:pt x="2022" y="39"/>
                  </a:lnTo>
                  <a:cubicBezTo>
                    <a:pt x="2023" y="40"/>
                    <a:pt x="2024" y="41"/>
                    <a:pt x="2024" y="42"/>
                  </a:cubicBezTo>
                  <a:cubicBezTo>
                    <a:pt x="2024" y="44"/>
                    <a:pt x="2023" y="45"/>
                    <a:pt x="2021" y="44"/>
                  </a:cubicBezTo>
                  <a:close/>
                  <a:moveTo>
                    <a:pt x="1960" y="37"/>
                  </a:moveTo>
                  <a:lnTo>
                    <a:pt x="1928" y="33"/>
                  </a:lnTo>
                  <a:lnTo>
                    <a:pt x="1925" y="33"/>
                  </a:lnTo>
                  <a:cubicBezTo>
                    <a:pt x="1923" y="33"/>
                    <a:pt x="1922" y="31"/>
                    <a:pt x="1922" y="30"/>
                  </a:cubicBezTo>
                  <a:cubicBezTo>
                    <a:pt x="1923" y="29"/>
                    <a:pt x="1924" y="28"/>
                    <a:pt x="1925" y="28"/>
                  </a:cubicBezTo>
                  <a:lnTo>
                    <a:pt x="1929" y="28"/>
                  </a:lnTo>
                  <a:lnTo>
                    <a:pt x="1961" y="32"/>
                  </a:lnTo>
                  <a:cubicBezTo>
                    <a:pt x="1962" y="32"/>
                    <a:pt x="1963" y="33"/>
                    <a:pt x="1963" y="35"/>
                  </a:cubicBezTo>
                  <a:cubicBezTo>
                    <a:pt x="1963" y="36"/>
                    <a:pt x="1962" y="37"/>
                    <a:pt x="1960" y="37"/>
                  </a:cubicBezTo>
                  <a:close/>
                  <a:moveTo>
                    <a:pt x="1899" y="31"/>
                  </a:moveTo>
                  <a:lnTo>
                    <a:pt x="1864" y="28"/>
                  </a:lnTo>
                  <a:cubicBezTo>
                    <a:pt x="1862" y="28"/>
                    <a:pt x="1861" y="27"/>
                    <a:pt x="1861" y="25"/>
                  </a:cubicBezTo>
                  <a:cubicBezTo>
                    <a:pt x="1861" y="24"/>
                    <a:pt x="1863" y="23"/>
                    <a:pt x="1864" y="23"/>
                  </a:cubicBezTo>
                  <a:lnTo>
                    <a:pt x="1900" y="26"/>
                  </a:lnTo>
                  <a:cubicBezTo>
                    <a:pt x="1901" y="26"/>
                    <a:pt x="1902" y="27"/>
                    <a:pt x="1902" y="28"/>
                  </a:cubicBezTo>
                  <a:cubicBezTo>
                    <a:pt x="1902" y="30"/>
                    <a:pt x="1901" y="31"/>
                    <a:pt x="1899" y="31"/>
                  </a:cubicBezTo>
                  <a:close/>
                  <a:moveTo>
                    <a:pt x="1838" y="26"/>
                  </a:moveTo>
                  <a:lnTo>
                    <a:pt x="1802" y="23"/>
                  </a:lnTo>
                  <a:cubicBezTo>
                    <a:pt x="1801" y="23"/>
                    <a:pt x="1800" y="22"/>
                    <a:pt x="1800" y="21"/>
                  </a:cubicBezTo>
                  <a:cubicBezTo>
                    <a:pt x="1800" y="19"/>
                    <a:pt x="1801" y="18"/>
                    <a:pt x="1803" y="18"/>
                  </a:cubicBezTo>
                  <a:lnTo>
                    <a:pt x="1838" y="21"/>
                  </a:lnTo>
                  <a:cubicBezTo>
                    <a:pt x="1840" y="21"/>
                    <a:pt x="1841" y="22"/>
                    <a:pt x="1841" y="24"/>
                  </a:cubicBezTo>
                  <a:cubicBezTo>
                    <a:pt x="1841" y="25"/>
                    <a:pt x="1839" y="26"/>
                    <a:pt x="1838" y="26"/>
                  </a:cubicBezTo>
                  <a:close/>
                  <a:moveTo>
                    <a:pt x="1777" y="22"/>
                  </a:moveTo>
                  <a:lnTo>
                    <a:pt x="1741" y="19"/>
                  </a:lnTo>
                  <a:cubicBezTo>
                    <a:pt x="1740" y="19"/>
                    <a:pt x="1739" y="17"/>
                    <a:pt x="1739" y="16"/>
                  </a:cubicBezTo>
                  <a:cubicBezTo>
                    <a:pt x="1739" y="15"/>
                    <a:pt x="1740" y="14"/>
                    <a:pt x="1741" y="14"/>
                  </a:cubicBezTo>
                  <a:lnTo>
                    <a:pt x="1777" y="16"/>
                  </a:lnTo>
                  <a:cubicBezTo>
                    <a:pt x="1779" y="17"/>
                    <a:pt x="1780" y="18"/>
                    <a:pt x="1780" y="19"/>
                  </a:cubicBezTo>
                  <a:cubicBezTo>
                    <a:pt x="1779" y="21"/>
                    <a:pt x="1778" y="22"/>
                    <a:pt x="1777" y="22"/>
                  </a:cubicBezTo>
                  <a:close/>
                  <a:moveTo>
                    <a:pt x="1716" y="17"/>
                  </a:moveTo>
                  <a:lnTo>
                    <a:pt x="1680" y="14"/>
                  </a:lnTo>
                  <a:cubicBezTo>
                    <a:pt x="1678" y="14"/>
                    <a:pt x="1677" y="13"/>
                    <a:pt x="1677" y="11"/>
                  </a:cubicBezTo>
                  <a:cubicBezTo>
                    <a:pt x="1678" y="10"/>
                    <a:pt x="1679" y="9"/>
                    <a:pt x="1680" y="9"/>
                  </a:cubicBezTo>
                  <a:lnTo>
                    <a:pt x="1716" y="12"/>
                  </a:lnTo>
                  <a:cubicBezTo>
                    <a:pt x="1717" y="12"/>
                    <a:pt x="1718" y="13"/>
                    <a:pt x="1718" y="15"/>
                  </a:cubicBezTo>
                  <a:cubicBezTo>
                    <a:pt x="1718" y="16"/>
                    <a:pt x="1717" y="17"/>
                    <a:pt x="1716" y="17"/>
                  </a:cubicBezTo>
                  <a:close/>
                  <a:moveTo>
                    <a:pt x="1654" y="12"/>
                  </a:moveTo>
                  <a:lnTo>
                    <a:pt x="1651" y="12"/>
                  </a:lnTo>
                  <a:lnTo>
                    <a:pt x="1619" y="11"/>
                  </a:lnTo>
                  <a:cubicBezTo>
                    <a:pt x="1617" y="11"/>
                    <a:pt x="1616" y="10"/>
                    <a:pt x="1616" y="9"/>
                  </a:cubicBezTo>
                  <a:cubicBezTo>
                    <a:pt x="1616" y="7"/>
                    <a:pt x="1617" y="6"/>
                    <a:pt x="1619" y="6"/>
                  </a:cubicBezTo>
                  <a:lnTo>
                    <a:pt x="1652" y="7"/>
                  </a:lnTo>
                  <a:lnTo>
                    <a:pt x="1655" y="7"/>
                  </a:lnTo>
                  <a:cubicBezTo>
                    <a:pt x="1656" y="7"/>
                    <a:pt x="1657" y="8"/>
                    <a:pt x="1657" y="10"/>
                  </a:cubicBezTo>
                  <a:cubicBezTo>
                    <a:pt x="1657" y="11"/>
                    <a:pt x="1656" y="12"/>
                    <a:pt x="1654" y="12"/>
                  </a:cubicBezTo>
                  <a:close/>
                  <a:moveTo>
                    <a:pt x="1593" y="11"/>
                  </a:moveTo>
                  <a:lnTo>
                    <a:pt x="1557" y="10"/>
                  </a:lnTo>
                  <a:cubicBezTo>
                    <a:pt x="1556" y="10"/>
                    <a:pt x="1555" y="8"/>
                    <a:pt x="1555" y="7"/>
                  </a:cubicBezTo>
                  <a:cubicBezTo>
                    <a:pt x="1555" y="6"/>
                    <a:pt x="1556" y="4"/>
                    <a:pt x="1557" y="5"/>
                  </a:cubicBezTo>
                  <a:lnTo>
                    <a:pt x="1593" y="5"/>
                  </a:lnTo>
                  <a:cubicBezTo>
                    <a:pt x="1595" y="5"/>
                    <a:pt x="1596" y="7"/>
                    <a:pt x="1596" y="8"/>
                  </a:cubicBezTo>
                  <a:cubicBezTo>
                    <a:pt x="1596" y="9"/>
                    <a:pt x="1594" y="11"/>
                    <a:pt x="1593" y="11"/>
                  </a:cubicBezTo>
                  <a:close/>
                  <a:moveTo>
                    <a:pt x="1532" y="9"/>
                  </a:moveTo>
                  <a:lnTo>
                    <a:pt x="1496" y="8"/>
                  </a:lnTo>
                  <a:cubicBezTo>
                    <a:pt x="1494" y="8"/>
                    <a:pt x="1493" y="7"/>
                    <a:pt x="1493" y="5"/>
                  </a:cubicBezTo>
                  <a:cubicBezTo>
                    <a:pt x="1493" y="4"/>
                    <a:pt x="1494" y="3"/>
                    <a:pt x="1496" y="3"/>
                  </a:cubicBezTo>
                  <a:lnTo>
                    <a:pt x="1532" y="4"/>
                  </a:lnTo>
                  <a:cubicBezTo>
                    <a:pt x="1533" y="4"/>
                    <a:pt x="1534" y="5"/>
                    <a:pt x="1534" y="7"/>
                  </a:cubicBezTo>
                  <a:cubicBezTo>
                    <a:pt x="1534" y="8"/>
                    <a:pt x="1533" y="9"/>
                    <a:pt x="1532" y="9"/>
                  </a:cubicBezTo>
                  <a:close/>
                  <a:moveTo>
                    <a:pt x="1470" y="7"/>
                  </a:moveTo>
                  <a:lnTo>
                    <a:pt x="1434" y="7"/>
                  </a:lnTo>
                  <a:cubicBezTo>
                    <a:pt x="1433" y="7"/>
                    <a:pt x="1432" y="5"/>
                    <a:pt x="1432" y="4"/>
                  </a:cubicBezTo>
                  <a:cubicBezTo>
                    <a:pt x="1432" y="3"/>
                    <a:pt x="1433" y="1"/>
                    <a:pt x="1434" y="1"/>
                  </a:cubicBezTo>
                  <a:lnTo>
                    <a:pt x="1470" y="2"/>
                  </a:lnTo>
                  <a:cubicBezTo>
                    <a:pt x="1472" y="2"/>
                    <a:pt x="1473" y="4"/>
                    <a:pt x="1473" y="5"/>
                  </a:cubicBezTo>
                  <a:cubicBezTo>
                    <a:pt x="1473" y="6"/>
                    <a:pt x="1472" y="7"/>
                    <a:pt x="1470" y="7"/>
                  </a:cubicBezTo>
                  <a:close/>
                  <a:moveTo>
                    <a:pt x="1409" y="6"/>
                  </a:moveTo>
                  <a:lnTo>
                    <a:pt x="1374" y="5"/>
                  </a:lnTo>
                  <a:lnTo>
                    <a:pt x="1373" y="5"/>
                  </a:lnTo>
                  <a:cubicBezTo>
                    <a:pt x="1372" y="5"/>
                    <a:pt x="1370" y="4"/>
                    <a:pt x="1370" y="3"/>
                  </a:cubicBezTo>
                  <a:cubicBezTo>
                    <a:pt x="1370" y="1"/>
                    <a:pt x="1371" y="0"/>
                    <a:pt x="1373" y="0"/>
                  </a:cubicBezTo>
                  <a:lnTo>
                    <a:pt x="1375" y="0"/>
                  </a:lnTo>
                  <a:lnTo>
                    <a:pt x="1409" y="1"/>
                  </a:lnTo>
                  <a:cubicBezTo>
                    <a:pt x="1410" y="1"/>
                    <a:pt x="1411" y="2"/>
                    <a:pt x="1411" y="3"/>
                  </a:cubicBezTo>
                  <a:cubicBezTo>
                    <a:pt x="1411" y="5"/>
                    <a:pt x="1410" y="6"/>
                    <a:pt x="1409" y="6"/>
                  </a:cubicBezTo>
                  <a:close/>
                  <a:moveTo>
                    <a:pt x="1347" y="6"/>
                  </a:moveTo>
                  <a:lnTo>
                    <a:pt x="1312" y="7"/>
                  </a:lnTo>
                  <a:cubicBezTo>
                    <a:pt x="1310" y="7"/>
                    <a:pt x="1309" y="6"/>
                    <a:pt x="1309" y="4"/>
                  </a:cubicBezTo>
                  <a:cubicBezTo>
                    <a:pt x="1309" y="3"/>
                    <a:pt x="1310" y="2"/>
                    <a:pt x="1311" y="1"/>
                  </a:cubicBezTo>
                  <a:lnTo>
                    <a:pt x="1347" y="1"/>
                  </a:lnTo>
                  <a:cubicBezTo>
                    <a:pt x="1349" y="1"/>
                    <a:pt x="1350" y="2"/>
                    <a:pt x="1350" y="3"/>
                  </a:cubicBezTo>
                  <a:cubicBezTo>
                    <a:pt x="1350" y="5"/>
                    <a:pt x="1349" y="6"/>
                    <a:pt x="1347" y="6"/>
                  </a:cubicBezTo>
                  <a:close/>
                  <a:moveTo>
                    <a:pt x="1286" y="7"/>
                  </a:moveTo>
                  <a:lnTo>
                    <a:pt x="1250" y="8"/>
                  </a:lnTo>
                  <a:cubicBezTo>
                    <a:pt x="1249" y="8"/>
                    <a:pt x="1248" y="7"/>
                    <a:pt x="1248" y="6"/>
                  </a:cubicBezTo>
                  <a:cubicBezTo>
                    <a:pt x="1248" y="4"/>
                    <a:pt x="1249" y="3"/>
                    <a:pt x="1250" y="3"/>
                  </a:cubicBezTo>
                  <a:lnTo>
                    <a:pt x="1286" y="2"/>
                  </a:lnTo>
                  <a:cubicBezTo>
                    <a:pt x="1287" y="2"/>
                    <a:pt x="1288" y="3"/>
                    <a:pt x="1289" y="5"/>
                  </a:cubicBezTo>
                  <a:cubicBezTo>
                    <a:pt x="1289" y="6"/>
                    <a:pt x="1287" y="7"/>
                    <a:pt x="1286" y="7"/>
                  </a:cubicBezTo>
                  <a:close/>
                  <a:moveTo>
                    <a:pt x="1225" y="9"/>
                  </a:moveTo>
                  <a:lnTo>
                    <a:pt x="1189" y="10"/>
                  </a:lnTo>
                  <a:cubicBezTo>
                    <a:pt x="1187" y="10"/>
                    <a:pt x="1186" y="9"/>
                    <a:pt x="1186" y="7"/>
                  </a:cubicBezTo>
                  <a:cubicBezTo>
                    <a:pt x="1186" y="6"/>
                    <a:pt x="1187" y="5"/>
                    <a:pt x="1189" y="5"/>
                  </a:cubicBezTo>
                  <a:lnTo>
                    <a:pt x="1224" y="4"/>
                  </a:lnTo>
                  <a:cubicBezTo>
                    <a:pt x="1226" y="4"/>
                    <a:pt x="1227" y="5"/>
                    <a:pt x="1227" y="6"/>
                  </a:cubicBezTo>
                  <a:cubicBezTo>
                    <a:pt x="1227" y="8"/>
                    <a:pt x="1226" y="9"/>
                    <a:pt x="1225" y="9"/>
                  </a:cubicBezTo>
                  <a:close/>
                  <a:moveTo>
                    <a:pt x="1163" y="10"/>
                  </a:moveTo>
                  <a:lnTo>
                    <a:pt x="1127" y="11"/>
                  </a:lnTo>
                  <a:cubicBezTo>
                    <a:pt x="1126" y="11"/>
                    <a:pt x="1125" y="10"/>
                    <a:pt x="1125" y="9"/>
                  </a:cubicBezTo>
                  <a:cubicBezTo>
                    <a:pt x="1125" y="7"/>
                    <a:pt x="1126" y="6"/>
                    <a:pt x="1127" y="6"/>
                  </a:cubicBezTo>
                  <a:lnTo>
                    <a:pt x="1163" y="5"/>
                  </a:lnTo>
                  <a:cubicBezTo>
                    <a:pt x="1164" y="5"/>
                    <a:pt x="1166" y="6"/>
                    <a:pt x="1166" y="8"/>
                  </a:cubicBezTo>
                  <a:cubicBezTo>
                    <a:pt x="1166" y="9"/>
                    <a:pt x="1165" y="10"/>
                    <a:pt x="1163" y="10"/>
                  </a:cubicBezTo>
                  <a:close/>
                  <a:moveTo>
                    <a:pt x="1102" y="12"/>
                  </a:moveTo>
                  <a:lnTo>
                    <a:pt x="1098" y="12"/>
                  </a:lnTo>
                  <a:lnTo>
                    <a:pt x="1066" y="14"/>
                  </a:lnTo>
                  <a:cubicBezTo>
                    <a:pt x="1065" y="15"/>
                    <a:pt x="1064" y="13"/>
                    <a:pt x="1063" y="12"/>
                  </a:cubicBezTo>
                  <a:cubicBezTo>
                    <a:pt x="1063" y="11"/>
                    <a:pt x="1064" y="9"/>
                    <a:pt x="1066" y="9"/>
                  </a:cubicBezTo>
                  <a:lnTo>
                    <a:pt x="1097" y="7"/>
                  </a:lnTo>
                  <a:lnTo>
                    <a:pt x="1102" y="7"/>
                  </a:lnTo>
                  <a:cubicBezTo>
                    <a:pt x="1103" y="7"/>
                    <a:pt x="1104" y="8"/>
                    <a:pt x="1104" y="9"/>
                  </a:cubicBezTo>
                  <a:cubicBezTo>
                    <a:pt x="1104" y="11"/>
                    <a:pt x="1103" y="12"/>
                    <a:pt x="1102" y="12"/>
                  </a:cubicBezTo>
                  <a:close/>
                  <a:moveTo>
                    <a:pt x="1041" y="16"/>
                  </a:moveTo>
                  <a:lnTo>
                    <a:pt x="1005" y="19"/>
                  </a:lnTo>
                  <a:cubicBezTo>
                    <a:pt x="1004" y="19"/>
                    <a:pt x="1002" y="18"/>
                    <a:pt x="1002" y="17"/>
                  </a:cubicBezTo>
                  <a:cubicBezTo>
                    <a:pt x="1002" y="15"/>
                    <a:pt x="1003" y="14"/>
                    <a:pt x="1005" y="14"/>
                  </a:cubicBezTo>
                  <a:lnTo>
                    <a:pt x="1040" y="11"/>
                  </a:lnTo>
                  <a:cubicBezTo>
                    <a:pt x="1042" y="11"/>
                    <a:pt x="1043" y="12"/>
                    <a:pt x="1043" y="14"/>
                  </a:cubicBezTo>
                  <a:cubicBezTo>
                    <a:pt x="1043" y="15"/>
                    <a:pt x="1042" y="16"/>
                    <a:pt x="1041" y="16"/>
                  </a:cubicBezTo>
                  <a:close/>
                  <a:moveTo>
                    <a:pt x="979" y="21"/>
                  </a:moveTo>
                  <a:lnTo>
                    <a:pt x="944" y="24"/>
                  </a:lnTo>
                  <a:cubicBezTo>
                    <a:pt x="942" y="24"/>
                    <a:pt x="941" y="23"/>
                    <a:pt x="941" y="21"/>
                  </a:cubicBezTo>
                  <a:cubicBezTo>
                    <a:pt x="941" y="20"/>
                    <a:pt x="942" y="19"/>
                    <a:pt x="943" y="19"/>
                  </a:cubicBezTo>
                  <a:lnTo>
                    <a:pt x="979" y="16"/>
                  </a:lnTo>
                  <a:cubicBezTo>
                    <a:pt x="980" y="16"/>
                    <a:pt x="982" y="17"/>
                    <a:pt x="982" y="18"/>
                  </a:cubicBezTo>
                  <a:cubicBezTo>
                    <a:pt x="982" y="20"/>
                    <a:pt x="981" y="21"/>
                    <a:pt x="979" y="21"/>
                  </a:cubicBezTo>
                  <a:close/>
                  <a:moveTo>
                    <a:pt x="918" y="26"/>
                  </a:moveTo>
                  <a:lnTo>
                    <a:pt x="882" y="28"/>
                  </a:lnTo>
                  <a:cubicBezTo>
                    <a:pt x="881" y="29"/>
                    <a:pt x="880" y="27"/>
                    <a:pt x="880" y="26"/>
                  </a:cubicBezTo>
                  <a:cubicBezTo>
                    <a:pt x="880" y="25"/>
                    <a:pt x="881" y="23"/>
                    <a:pt x="882" y="23"/>
                  </a:cubicBezTo>
                  <a:lnTo>
                    <a:pt x="918" y="21"/>
                  </a:lnTo>
                  <a:cubicBezTo>
                    <a:pt x="919" y="20"/>
                    <a:pt x="920" y="22"/>
                    <a:pt x="920" y="23"/>
                  </a:cubicBezTo>
                  <a:cubicBezTo>
                    <a:pt x="921" y="24"/>
                    <a:pt x="920" y="26"/>
                    <a:pt x="918" y="26"/>
                  </a:cubicBezTo>
                  <a:close/>
                  <a:moveTo>
                    <a:pt x="857" y="30"/>
                  </a:moveTo>
                  <a:lnTo>
                    <a:pt x="822" y="33"/>
                  </a:lnTo>
                  <a:lnTo>
                    <a:pt x="821" y="33"/>
                  </a:lnTo>
                  <a:cubicBezTo>
                    <a:pt x="820" y="33"/>
                    <a:pt x="819" y="32"/>
                    <a:pt x="818" y="31"/>
                  </a:cubicBezTo>
                  <a:cubicBezTo>
                    <a:pt x="818" y="29"/>
                    <a:pt x="819" y="28"/>
                    <a:pt x="821" y="28"/>
                  </a:cubicBezTo>
                  <a:lnTo>
                    <a:pt x="821" y="28"/>
                  </a:lnTo>
                  <a:lnTo>
                    <a:pt x="856" y="25"/>
                  </a:lnTo>
                  <a:cubicBezTo>
                    <a:pt x="858" y="25"/>
                    <a:pt x="859" y="26"/>
                    <a:pt x="859" y="28"/>
                  </a:cubicBezTo>
                  <a:cubicBezTo>
                    <a:pt x="859" y="29"/>
                    <a:pt x="858" y="30"/>
                    <a:pt x="857" y="30"/>
                  </a:cubicBezTo>
                  <a:close/>
                  <a:moveTo>
                    <a:pt x="796" y="36"/>
                  </a:moveTo>
                  <a:lnTo>
                    <a:pt x="760" y="41"/>
                  </a:lnTo>
                  <a:cubicBezTo>
                    <a:pt x="759" y="41"/>
                    <a:pt x="758" y="40"/>
                    <a:pt x="757" y="38"/>
                  </a:cubicBezTo>
                  <a:cubicBezTo>
                    <a:pt x="757" y="37"/>
                    <a:pt x="758" y="36"/>
                    <a:pt x="760" y="36"/>
                  </a:cubicBezTo>
                  <a:lnTo>
                    <a:pt x="795" y="31"/>
                  </a:lnTo>
                  <a:cubicBezTo>
                    <a:pt x="797" y="31"/>
                    <a:pt x="798" y="32"/>
                    <a:pt x="798" y="33"/>
                  </a:cubicBezTo>
                  <a:cubicBezTo>
                    <a:pt x="798" y="35"/>
                    <a:pt x="797" y="36"/>
                    <a:pt x="796" y="36"/>
                  </a:cubicBezTo>
                  <a:close/>
                  <a:moveTo>
                    <a:pt x="735" y="44"/>
                  </a:moveTo>
                  <a:lnTo>
                    <a:pt x="699" y="48"/>
                  </a:lnTo>
                  <a:cubicBezTo>
                    <a:pt x="698" y="48"/>
                    <a:pt x="697" y="47"/>
                    <a:pt x="696" y="46"/>
                  </a:cubicBezTo>
                  <a:cubicBezTo>
                    <a:pt x="696" y="45"/>
                    <a:pt x="697" y="43"/>
                    <a:pt x="699" y="43"/>
                  </a:cubicBezTo>
                  <a:lnTo>
                    <a:pt x="734" y="39"/>
                  </a:lnTo>
                  <a:cubicBezTo>
                    <a:pt x="736" y="38"/>
                    <a:pt x="737" y="39"/>
                    <a:pt x="737" y="41"/>
                  </a:cubicBezTo>
                  <a:cubicBezTo>
                    <a:pt x="737" y="42"/>
                    <a:pt x="736" y="44"/>
                    <a:pt x="735" y="44"/>
                  </a:cubicBezTo>
                  <a:close/>
                  <a:moveTo>
                    <a:pt x="674" y="51"/>
                  </a:moveTo>
                  <a:lnTo>
                    <a:pt x="638" y="56"/>
                  </a:lnTo>
                  <a:cubicBezTo>
                    <a:pt x="637" y="56"/>
                    <a:pt x="636" y="55"/>
                    <a:pt x="635" y="53"/>
                  </a:cubicBezTo>
                  <a:cubicBezTo>
                    <a:pt x="635" y="52"/>
                    <a:pt x="636" y="51"/>
                    <a:pt x="638" y="51"/>
                  </a:cubicBezTo>
                  <a:lnTo>
                    <a:pt x="673" y="46"/>
                  </a:lnTo>
                  <a:cubicBezTo>
                    <a:pt x="675" y="46"/>
                    <a:pt x="676" y="47"/>
                    <a:pt x="676" y="48"/>
                  </a:cubicBezTo>
                  <a:cubicBezTo>
                    <a:pt x="676" y="50"/>
                    <a:pt x="675" y="51"/>
                    <a:pt x="674" y="51"/>
                  </a:cubicBezTo>
                  <a:close/>
                  <a:moveTo>
                    <a:pt x="613" y="59"/>
                  </a:moveTo>
                  <a:lnTo>
                    <a:pt x="577" y="63"/>
                  </a:lnTo>
                  <a:cubicBezTo>
                    <a:pt x="576" y="63"/>
                    <a:pt x="575" y="62"/>
                    <a:pt x="575" y="61"/>
                  </a:cubicBezTo>
                  <a:cubicBezTo>
                    <a:pt x="574" y="60"/>
                    <a:pt x="575" y="58"/>
                    <a:pt x="577" y="58"/>
                  </a:cubicBezTo>
                  <a:lnTo>
                    <a:pt x="612" y="54"/>
                  </a:lnTo>
                  <a:cubicBezTo>
                    <a:pt x="614" y="54"/>
                    <a:pt x="615" y="55"/>
                    <a:pt x="615" y="56"/>
                  </a:cubicBezTo>
                  <a:cubicBezTo>
                    <a:pt x="615" y="57"/>
                    <a:pt x="614" y="59"/>
                    <a:pt x="613" y="59"/>
                  </a:cubicBezTo>
                  <a:close/>
                  <a:moveTo>
                    <a:pt x="552" y="66"/>
                  </a:moveTo>
                  <a:lnTo>
                    <a:pt x="547" y="67"/>
                  </a:lnTo>
                  <a:lnTo>
                    <a:pt x="517" y="72"/>
                  </a:lnTo>
                  <a:cubicBezTo>
                    <a:pt x="515" y="73"/>
                    <a:pt x="514" y="72"/>
                    <a:pt x="514" y="70"/>
                  </a:cubicBezTo>
                  <a:cubicBezTo>
                    <a:pt x="514" y="69"/>
                    <a:pt x="514" y="67"/>
                    <a:pt x="516" y="67"/>
                  </a:cubicBezTo>
                  <a:lnTo>
                    <a:pt x="546" y="62"/>
                  </a:lnTo>
                  <a:lnTo>
                    <a:pt x="551" y="61"/>
                  </a:lnTo>
                  <a:cubicBezTo>
                    <a:pt x="553" y="61"/>
                    <a:pt x="554" y="62"/>
                    <a:pt x="554" y="64"/>
                  </a:cubicBezTo>
                  <a:cubicBezTo>
                    <a:pt x="554" y="65"/>
                    <a:pt x="553" y="66"/>
                    <a:pt x="552" y="66"/>
                  </a:cubicBezTo>
                  <a:close/>
                  <a:moveTo>
                    <a:pt x="492" y="77"/>
                  </a:moveTo>
                  <a:lnTo>
                    <a:pt x="456" y="83"/>
                  </a:lnTo>
                  <a:cubicBezTo>
                    <a:pt x="455" y="83"/>
                    <a:pt x="454" y="82"/>
                    <a:pt x="453" y="81"/>
                  </a:cubicBezTo>
                  <a:cubicBezTo>
                    <a:pt x="453" y="79"/>
                    <a:pt x="454" y="78"/>
                    <a:pt x="455" y="78"/>
                  </a:cubicBezTo>
                  <a:lnTo>
                    <a:pt x="491" y="72"/>
                  </a:lnTo>
                  <a:cubicBezTo>
                    <a:pt x="492" y="71"/>
                    <a:pt x="493" y="72"/>
                    <a:pt x="494" y="74"/>
                  </a:cubicBezTo>
                  <a:cubicBezTo>
                    <a:pt x="494" y="75"/>
                    <a:pt x="493" y="76"/>
                    <a:pt x="492" y="77"/>
                  </a:cubicBezTo>
                  <a:close/>
                  <a:moveTo>
                    <a:pt x="431" y="87"/>
                  </a:moveTo>
                  <a:lnTo>
                    <a:pt x="396" y="94"/>
                  </a:lnTo>
                  <a:cubicBezTo>
                    <a:pt x="394" y="94"/>
                    <a:pt x="393" y="93"/>
                    <a:pt x="393" y="91"/>
                  </a:cubicBezTo>
                  <a:cubicBezTo>
                    <a:pt x="393" y="90"/>
                    <a:pt x="393" y="89"/>
                    <a:pt x="395" y="89"/>
                  </a:cubicBezTo>
                  <a:lnTo>
                    <a:pt x="430" y="82"/>
                  </a:lnTo>
                  <a:cubicBezTo>
                    <a:pt x="432" y="82"/>
                    <a:pt x="433" y="83"/>
                    <a:pt x="433" y="84"/>
                  </a:cubicBezTo>
                  <a:cubicBezTo>
                    <a:pt x="433" y="86"/>
                    <a:pt x="432" y="87"/>
                    <a:pt x="431" y="87"/>
                  </a:cubicBezTo>
                  <a:close/>
                  <a:moveTo>
                    <a:pt x="371" y="98"/>
                  </a:moveTo>
                  <a:lnTo>
                    <a:pt x="335" y="104"/>
                  </a:lnTo>
                  <a:cubicBezTo>
                    <a:pt x="334" y="104"/>
                    <a:pt x="333" y="104"/>
                    <a:pt x="332" y="102"/>
                  </a:cubicBezTo>
                  <a:cubicBezTo>
                    <a:pt x="332" y="101"/>
                    <a:pt x="333" y="99"/>
                    <a:pt x="334" y="99"/>
                  </a:cubicBezTo>
                  <a:lnTo>
                    <a:pt x="370" y="93"/>
                  </a:lnTo>
                  <a:cubicBezTo>
                    <a:pt x="371" y="93"/>
                    <a:pt x="372" y="94"/>
                    <a:pt x="373" y="95"/>
                  </a:cubicBezTo>
                  <a:cubicBezTo>
                    <a:pt x="373" y="96"/>
                    <a:pt x="372" y="98"/>
                    <a:pt x="371" y="98"/>
                  </a:cubicBezTo>
                  <a:close/>
                  <a:moveTo>
                    <a:pt x="310" y="109"/>
                  </a:moveTo>
                  <a:lnTo>
                    <a:pt x="275" y="115"/>
                  </a:lnTo>
                  <a:cubicBezTo>
                    <a:pt x="273" y="115"/>
                    <a:pt x="272" y="114"/>
                    <a:pt x="272" y="113"/>
                  </a:cubicBezTo>
                  <a:cubicBezTo>
                    <a:pt x="272" y="111"/>
                    <a:pt x="272" y="110"/>
                    <a:pt x="274" y="110"/>
                  </a:cubicBezTo>
                  <a:lnTo>
                    <a:pt x="309" y="104"/>
                  </a:lnTo>
                  <a:cubicBezTo>
                    <a:pt x="311" y="103"/>
                    <a:pt x="312" y="104"/>
                    <a:pt x="312" y="106"/>
                  </a:cubicBezTo>
                  <a:cubicBezTo>
                    <a:pt x="312" y="107"/>
                    <a:pt x="311" y="108"/>
                    <a:pt x="310" y="109"/>
                  </a:cubicBezTo>
                  <a:close/>
                  <a:moveTo>
                    <a:pt x="250" y="120"/>
                  </a:moveTo>
                  <a:lnTo>
                    <a:pt x="215" y="128"/>
                  </a:lnTo>
                  <a:cubicBezTo>
                    <a:pt x="214" y="129"/>
                    <a:pt x="212" y="128"/>
                    <a:pt x="212" y="126"/>
                  </a:cubicBezTo>
                  <a:cubicBezTo>
                    <a:pt x="212" y="125"/>
                    <a:pt x="212" y="124"/>
                    <a:pt x="214" y="123"/>
                  </a:cubicBezTo>
                  <a:lnTo>
                    <a:pt x="249" y="115"/>
                  </a:lnTo>
                  <a:cubicBezTo>
                    <a:pt x="250" y="115"/>
                    <a:pt x="252" y="116"/>
                    <a:pt x="252" y="117"/>
                  </a:cubicBezTo>
                  <a:cubicBezTo>
                    <a:pt x="252" y="119"/>
                    <a:pt x="251" y="120"/>
                    <a:pt x="250" y="120"/>
                  </a:cubicBezTo>
                  <a:close/>
                  <a:moveTo>
                    <a:pt x="190" y="134"/>
                  </a:moveTo>
                  <a:lnTo>
                    <a:pt x="155" y="142"/>
                  </a:lnTo>
                  <a:cubicBezTo>
                    <a:pt x="154" y="142"/>
                    <a:pt x="152" y="141"/>
                    <a:pt x="152" y="140"/>
                  </a:cubicBezTo>
                  <a:cubicBezTo>
                    <a:pt x="152" y="138"/>
                    <a:pt x="152" y="137"/>
                    <a:pt x="154" y="137"/>
                  </a:cubicBezTo>
                  <a:lnTo>
                    <a:pt x="154" y="137"/>
                  </a:lnTo>
                  <a:lnTo>
                    <a:pt x="189" y="129"/>
                  </a:lnTo>
                  <a:cubicBezTo>
                    <a:pt x="190" y="129"/>
                    <a:pt x="192" y="129"/>
                    <a:pt x="192" y="131"/>
                  </a:cubicBezTo>
                  <a:cubicBezTo>
                    <a:pt x="192" y="132"/>
                    <a:pt x="191" y="134"/>
                    <a:pt x="190" y="134"/>
                  </a:cubicBezTo>
                  <a:close/>
                  <a:moveTo>
                    <a:pt x="130" y="147"/>
                  </a:moveTo>
                  <a:lnTo>
                    <a:pt x="95" y="155"/>
                  </a:lnTo>
                  <a:cubicBezTo>
                    <a:pt x="94" y="156"/>
                    <a:pt x="92" y="155"/>
                    <a:pt x="92" y="153"/>
                  </a:cubicBezTo>
                  <a:cubicBezTo>
                    <a:pt x="92" y="152"/>
                    <a:pt x="93" y="151"/>
                    <a:pt x="94" y="150"/>
                  </a:cubicBezTo>
                  <a:lnTo>
                    <a:pt x="94" y="150"/>
                  </a:lnTo>
                  <a:lnTo>
                    <a:pt x="129" y="142"/>
                  </a:lnTo>
                  <a:cubicBezTo>
                    <a:pt x="130" y="142"/>
                    <a:pt x="132" y="143"/>
                    <a:pt x="132" y="144"/>
                  </a:cubicBezTo>
                  <a:cubicBezTo>
                    <a:pt x="132" y="146"/>
                    <a:pt x="131" y="147"/>
                    <a:pt x="130" y="147"/>
                  </a:cubicBezTo>
                  <a:close/>
                  <a:moveTo>
                    <a:pt x="70" y="161"/>
                  </a:moveTo>
                  <a:lnTo>
                    <a:pt x="35" y="169"/>
                  </a:lnTo>
                  <a:cubicBezTo>
                    <a:pt x="34" y="169"/>
                    <a:pt x="32" y="168"/>
                    <a:pt x="32" y="167"/>
                  </a:cubicBezTo>
                  <a:cubicBezTo>
                    <a:pt x="32" y="165"/>
                    <a:pt x="33" y="164"/>
                    <a:pt x="34" y="164"/>
                  </a:cubicBezTo>
                  <a:lnTo>
                    <a:pt x="69" y="156"/>
                  </a:lnTo>
                  <a:cubicBezTo>
                    <a:pt x="70" y="156"/>
                    <a:pt x="72" y="156"/>
                    <a:pt x="72" y="158"/>
                  </a:cubicBezTo>
                  <a:cubicBezTo>
                    <a:pt x="72" y="159"/>
                    <a:pt x="71" y="161"/>
                    <a:pt x="70" y="161"/>
                  </a:cubicBezTo>
                  <a:close/>
                  <a:moveTo>
                    <a:pt x="10" y="174"/>
                  </a:moveTo>
                  <a:lnTo>
                    <a:pt x="3" y="176"/>
                  </a:lnTo>
                  <a:cubicBezTo>
                    <a:pt x="2" y="176"/>
                    <a:pt x="0" y="175"/>
                    <a:pt x="0" y="174"/>
                  </a:cubicBezTo>
                  <a:cubicBezTo>
                    <a:pt x="0" y="173"/>
                    <a:pt x="1" y="171"/>
                    <a:pt x="2" y="171"/>
                  </a:cubicBezTo>
                  <a:lnTo>
                    <a:pt x="9" y="169"/>
                  </a:lnTo>
                  <a:cubicBezTo>
                    <a:pt x="10" y="169"/>
                    <a:pt x="12" y="170"/>
                    <a:pt x="12" y="171"/>
                  </a:cubicBezTo>
                  <a:cubicBezTo>
                    <a:pt x="12" y="173"/>
                    <a:pt x="12" y="174"/>
                    <a:pt x="10" y="174"/>
                  </a:cubicBezTo>
                  <a:close/>
                </a:path>
              </a:pathLst>
            </a:custGeom>
            <a:solidFill>
              <a:srgbClr val="0C0C0C"/>
            </a:solidFill>
            <a:ln w="0" cap="flat">
              <a:solidFill>
                <a:srgbClr val="0C0C0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0">
              <a:extLst>
                <a:ext uri="{FF2B5EF4-FFF2-40B4-BE49-F238E27FC236}">
                  <a16:creationId xmlns:a16="http://schemas.microsoft.com/office/drawing/2014/main" id="{B6A1A8E4-463E-44D2-BAD3-1D9A94FCE4A7}"/>
                </a:ext>
              </a:extLst>
            </p:cNvPr>
            <p:cNvSpPr>
              <a:spLocks/>
            </p:cNvSpPr>
            <p:nvPr/>
          </p:nvSpPr>
          <p:spPr bwMode="auto">
            <a:xfrm>
              <a:off x="5901" y="1422"/>
              <a:ext cx="57" cy="52"/>
            </a:xfrm>
            <a:custGeom>
              <a:avLst/>
              <a:gdLst>
                <a:gd name="T0" fmla="*/ 9 w 57"/>
                <a:gd name="T1" fmla="*/ 0 h 52"/>
                <a:gd name="T2" fmla="*/ 57 w 57"/>
                <a:gd name="T3" fmla="*/ 34 h 52"/>
                <a:gd name="T4" fmla="*/ 0 w 57"/>
                <a:gd name="T5" fmla="*/ 52 h 52"/>
                <a:gd name="T6" fmla="*/ 9 w 57"/>
                <a:gd name="T7" fmla="*/ 0 h 52"/>
              </a:gdLst>
              <a:ahLst/>
              <a:cxnLst>
                <a:cxn ang="0">
                  <a:pos x="T0" y="T1"/>
                </a:cxn>
                <a:cxn ang="0">
                  <a:pos x="T2" y="T3"/>
                </a:cxn>
                <a:cxn ang="0">
                  <a:pos x="T4" y="T5"/>
                </a:cxn>
                <a:cxn ang="0">
                  <a:pos x="T6" y="T7"/>
                </a:cxn>
              </a:cxnLst>
              <a:rect l="0" t="0" r="r" b="b"/>
              <a:pathLst>
                <a:path w="57" h="52">
                  <a:moveTo>
                    <a:pt x="9" y="0"/>
                  </a:moveTo>
                  <a:lnTo>
                    <a:pt x="57" y="34"/>
                  </a:lnTo>
                  <a:lnTo>
                    <a:pt x="0" y="52"/>
                  </a:lnTo>
                  <a:lnTo>
                    <a:pt x="9" y="0"/>
                  </a:lnTo>
                  <a:close/>
                </a:path>
              </a:pathLst>
            </a:custGeom>
            <a:solidFill>
              <a:srgbClr val="0C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1">
              <a:extLst>
                <a:ext uri="{FF2B5EF4-FFF2-40B4-BE49-F238E27FC236}">
                  <a16:creationId xmlns:a16="http://schemas.microsoft.com/office/drawing/2014/main" id="{0E91E892-BF25-42EC-9726-AF136441691A}"/>
                </a:ext>
              </a:extLst>
            </p:cNvPr>
            <p:cNvSpPr>
              <a:spLocks noChangeArrowheads="1"/>
            </p:cNvSpPr>
            <p:nvPr/>
          </p:nvSpPr>
          <p:spPr bwMode="auto">
            <a:xfrm>
              <a:off x="5281" y="1355"/>
              <a:ext cx="318"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
              <a:extLst>
                <a:ext uri="{FF2B5EF4-FFF2-40B4-BE49-F238E27FC236}">
                  <a16:creationId xmlns:a16="http://schemas.microsoft.com/office/drawing/2014/main" id="{1D54E9EB-3392-453E-80B6-E56F7C4A9298}"/>
                </a:ext>
              </a:extLst>
            </p:cNvPr>
            <p:cNvSpPr>
              <a:spLocks noEditPoints="1"/>
            </p:cNvSpPr>
            <p:nvPr/>
          </p:nvSpPr>
          <p:spPr bwMode="auto">
            <a:xfrm>
              <a:off x="5285" y="1368"/>
              <a:ext cx="313" cy="39"/>
            </a:xfrm>
            <a:custGeom>
              <a:avLst/>
              <a:gdLst>
                <a:gd name="T0" fmla="*/ 43 w 700"/>
                <a:gd name="T1" fmla="*/ 84 h 88"/>
                <a:gd name="T2" fmla="*/ 10 w 700"/>
                <a:gd name="T3" fmla="*/ 86 h 88"/>
                <a:gd name="T4" fmla="*/ 4 w 700"/>
                <a:gd name="T5" fmla="*/ 5 h 88"/>
                <a:gd name="T6" fmla="*/ 45 w 700"/>
                <a:gd name="T7" fmla="*/ 40 h 88"/>
                <a:gd name="T8" fmla="*/ 54 w 700"/>
                <a:gd name="T9" fmla="*/ 85 h 88"/>
                <a:gd name="T10" fmla="*/ 29 w 700"/>
                <a:gd name="T11" fmla="*/ 41 h 88"/>
                <a:gd name="T12" fmla="*/ 97 w 700"/>
                <a:gd name="T13" fmla="*/ 86 h 88"/>
                <a:gd name="T14" fmla="*/ 61 w 700"/>
                <a:gd name="T15" fmla="*/ 62 h 88"/>
                <a:gd name="T16" fmla="*/ 82 w 700"/>
                <a:gd name="T17" fmla="*/ 34 h 88"/>
                <a:gd name="T18" fmla="*/ 62 w 700"/>
                <a:gd name="T19" fmla="*/ 33 h 88"/>
                <a:gd name="T20" fmla="*/ 105 w 700"/>
                <a:gd name="T21" fmla="*/ 47 h 88"/>
                <a:gd name="T22" fmla="*/ 80 w 700"/>
                <a:gd name="T23" fmla="*/ 79 h 88"/>
                <a:gd name="T24" fmla="*/ 130 w 700"/>
                <a:gd name="T25" fmla="*/ 87 h 88"/>
                <a:gd name="T26" fmla="*/ 135 w 700"/>
                <a:gd name="T27" fmla="*/ 27 h 88"/>
                <a:gd name="T28" fmla="*/ 126 w 700"/>
                <a:gd name="T29" fmla="*/ 10 h 88"/>
                <a:gd name="T30" fmla="*/ 172 w 700"/>
                <a:gd name="T31" fmla="*/ 88 h 88"/>
                <a:gd name="T32" fmla="*/ 156 w 700"/>
                <a:gd name="T33" fmla="*/ 74 h 88"/>
                <a:gd name="T34" fmla="*/ 184 w 700"/>
                <a:gd name="T35" fmla="*/ 70 h 88"/>
                <a:gd name="T36" fmla="*/ 157 w 700"/>
                <a:gd name="T37" fmla="*/ 36 h 88"/>
                <a:gd name="T38" fmla="*/ 191 w 700"/>
                <a:gd name="T39" fmla="*/ 31 h 88"/>
                <a:gd name="T40" fmla="*/ 182 w 700"/>
                <a:gd name="T41" fmla="*/ 34 h 88"/>
                <a:gd name="T42" fmla="*/ 180 w 700"/>
                <a:gd name="T43" fmla="*/ 53 h 88"/>
                <a:gd name="T44" fmla="*/ 215 w 700"/>
                <a:gd name="T45" fmla="*/ 67 h 88"/>
                <a:gd name="T46" fmla="*/ 252 w 700"/>
                <a:gd name="T47" fmla="*/ 76 h 88"/>
                <a:gd name="T48" fmla="*/ 239 w 700"/>
                <a:gd name="T49" fmla="*/ 87 h 88"/>
                <a:gd name="T50" fmla="*/ 230 w 700"/>
                <a:gd name="T51" fmla="*/ 26 h 88"/>
                <a:gd name="T52" fmla="*/ 223 w 700"/>
                <a:gd name="T53" fmla="*/ 35 h 88"/>
                <a:gd name="T54" fmla="*/ 324 w 700"/>
                <a:gd name="T55" fmla="*/ 56 h 88"/>
                <a:gd name="T56" fmla="*/ 305 w 700"/>
                <a:gd name="T57" fmla="*/ 86 h 88"/>
                <a:gd name="T58" fmla="*/ 349 w 700"/>
                <a:gd name="T59" fmla="*/ 14 h 88"/>
                <a:gd name="T60" fmla="*/ 315 w 700"/>
                <a:gd name="T61" fmla="*/ 47 h 88"/>
                <a:gd name="T62" fmla="*/ 399 w 700"/>
                <a:gd name="T63" fmla="*/ 37 h 88"/>
                <a:gd name="T64" fmla="*/ 377 w 700"/>
                <a:gd name="T65" fmla="*/ 48 h 88"/>
                <a:gd name="T66" fmla="*/ 367 w 700"/>
                <a:gd name="T67" fmla="*/ 85 h 88"/>
                <a:gd name="T68" fmla="*/ 376 w 700"/>
                <a:gd name="T69" fmla="*/ 29 h 88"/>
                <a:gd name="T70" fmla="*/ 399 w 700"/>
                <a:gd name="T71" fmla="*/ 27 h 88"/>
                <a:gd name="T72" fmla="*/ 439 w 700"/>
                <a:gd name="T73" fmla="*/ 88 h 88"/>
                <a:gd name="T74" fmla="*/ 452 w 700"/>
                <a:gd name="T75" fmla="*/ 28 h 88"/>
                <a:gd name="T76" fmla="*/ 432 w 700"/>
                <a:gd name="T77" fmla="*/ 36 h 88"/>
                <a:gd name="T78" fmla="*/ 453 w 700"/>
                <a:gd name="T79" fmla="*/ 73 h 88"/>
                <a:gd name="T80" fmla="*/ 519 w 700"/>
                <a:gd name="T81" fmla="*/ 86 h 88"/>
                <a:gd name="T82" fmla="*/ 476 w 700"/>
                <a:gd name="T83" fmla="*/ 57 h 88"/>
                <a:gd name="T84" fmla="*/ 518 w 700"/>
                <a:gd name="T85" fmla="*/ 0 h 88"/>
                <a:gd name="T86" fmla="*/ 509 w 700"/>
                <a:gd name="T87" fmla="*/ 37 h 88"/>
                <a:gd name="T88" fmla="*/ 500 w 700"/>
                <a:gd name="T89" fmla="*/ 79 h 88"/>
                <a:gd name="T90" fmla="*/ 589 w 700"/>
                <a:gd name="T91" fmla="*/ 87 h 88"/>
                <a:gd name="T92" fmla="*/ 553 w 700"/>
                <a:gd name="T93" fmla="*/ 86 h 88"/>
                <a:gd name="T94" fmla="*/ 550 w 700"/>
                <a:gd name="T95" fmla="*/ 27 h 88"/>
                <a:gd name="T96" fmla="*/ 573 w 700"/>
                <a:gd name="T97" fmla="*/ 76 h 88"/>
                <a:gd name="T98" fmla="*/ 591 w 700"/>
                <a:gd name="T99" fmla="*/ 28 h 88"/>
                <a:gd name="T100" fmla="*/ 639 w 700"/>
                <a:gd name="T101" fmla="*/ 86 h 88"/>
                <a:gd name="T102" fmla="*/ 619 w 700"/>
                <a:gd name="T103" fmla="*/ 28 h 88"/>
                <a:gd name="T104" fmla="*/ 647 w 700"/>
                <a:gd name="T105" fmla="*/ 37 h 88"/>
                <a:gd name="T106" fmla="*/ 615 w 700"/>
                <a:gd name="T107" fmla="*/ 66 h 88"/>
                <a:gd name="T108" fmla="*/ 647 w 700"/>
                <a:gd name="T109" fmla="*/ 73 h 88"/>
                <a:gd name="T110" fmla="*/ 690 w 700"/>
                <a:gd name="T111" fmla="*/ 87 h 88"/>
                <a:gd name="T112" fmla="*/ 664 w 700"/>
                <a:gd name="T113" fmla="*/ 29 h 88"/>
                <a:gd name="T114" fmla="*/ 679 w 700"/>
                <a:gd name="T115" fmla="*/ 12 h 88"/>
                <a:gd name="T116" fmla="*/ 700 w 700"/>
                <a:gd name="T117" fmla="*/ 29 h 88"/>
                <a:gd name="T118" fmla="*/ 696 w 700"/>
                <a:gd name="T1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 h="88">
                  <a:moveTo>
                    <a:pt x="54" y="85"/>
                  </a:moveTo>
                  <a:cubicBezTo>
                    <a:pt x="54" y="85"/>
                    <a:pt x="54" y="85"/>
                    <a:pt x="54" y="86"/>
                  </a:cubicBezTo>
                  <a:cubicBezTo>
                    <a:pt x="54" y="86"/>
                    <a:pt x="54" y="86"/>
                    <a:pt x="53" y="86"/>
                  </a:cubicBezTo>
                  <a:cubicBezTo>
                    <a:pt x="53" y="86"/>
                    <a:pt x="52" y="87"/>
                    <a:pt x="51" y="87"/>
                  </a:cubicBezTo>
                  <a:cubicBezTo>
                    <a:pt x="51" y="87"/>
                    <a:pt x="50" y="87"/>
                    <a:pt x="48" y="87"/>
                  </a:cubicBezTo>
                  <a:cubicBezTo>
                    <a:pt x="47" y="87"/>
                    <a:pt x="46" y="87"/>
                    <a:pt x="46" y="87"/>
                  </a:cubicBezTo>
                  <a:cubicBezTo>
                    <a:pt x="45" y="87"/>
                    <a:pt x="45" y="86"/>
                    <a:pt x="44" y="86"/>
                  </a:cubicBezTo>
                  <a:cubicBezTo>
                    <a:pt x="44" y="86"/>
                    <a:pt x="43" y="86"/>
                    <a:pt x="43" y="85"/>
                  </a:cubicBezTo>
                  <a:cubicBezTo>
                    <a:pt x="43" y="85"/>
                    <a:pt x="43" y="85"/>
                    <a:pt x="43" y="84"/>
                  </a:cubicBezTo>
                  <a:lnTo>
                    <a:pt x="35" y="65"/>
                  </a:lnTo>
                  <a:cubicBezTo>
                    <a:pt x="34" y="63"/>
                    <a:pt x="33" y="61"/>
                    <a:pt x="32" y="59"/>
                  </a:cubicBezTo>
                  <a:cubicBezTo>
                    <a:pt x="31" y="57"/>
                    <a:pt x="30" y="56"/>
                    <a:pt x="29" y="54"/>
                  </a:cubicBezTo>
                  <a:cubicBezTo>
                    <a:pt x="28" y="53"/>
                    <a:pt x="26" y="52"/>
                    <a:pt x="25" y="51"/>
                  </a:cubicBezTo>
                  <a:cubicBezTo>
                    <a:pt x="23" y="51"/>
                    <a:pt x="21" y="50"/>
                    <a:pt x="18" y="50"/>
                  </a:cubicBezTo>
                  <a:lnTo>
                    <a:pt x="11" y="50"/>
                  </a:lnTo>
                  <a:lnTo>
                    <a:pt x="11" y="85"/>
                  </a:lnTo>
                  <a:cubicBezTo>
                    <a:pt x="11" y="85"/>
                    <a:pt x="11" y="85"/>
                    <a:pt x="11" y="86"/>
                  </a:cubicBezTo>
                  <a:cubicBezTo>
                    <a:pt x="11" y="86"/>
                    <a:pt x="10" y="86"/>
                    <a:pt x="10" y="86"/>
                  </a:cubicBezTo>
                  <a:cubicBezTo>
                    <a:pt x="9" y="86"/>
                    <a:pt x="9" y="86"/>
                    <a:pt x="8" y="87"/>
                  </a:cubicBezTo>
                  <a:cubicBezTo>
                    <a:pt x="8" y="87"/>
                    <a:pt x="7" y="87"/>
                    <a:pt x="6" y="87"/>
                  </a:cubicBezTo>
                  <a:cubicBezTo>
                    <a:pt x="5" y="87"/>
                    <a:pt x="4" y="87"/>
                    <a:pt x="3" y="87"/>
                  </a:cubicBezTo>
                  <a:cubicBezTo>
                    <a:pt x="2" y="86"/>
                    <a:pt x="2" y="86"/>
                    <a:pt x="1" y="86"/>
                  </a:cubicBezTo>
                  <a:cubicBezTo>
                    <a:pt x="1" y="86"/>
                    <a:pt x="1" y="86"/>
                    <a:pt x="1" y="86"/>
                  </a:cubicBezTo>
                  <a:cubicBezTo>
                    <a:pt x="0" y="85"/>
                    <a:pt x="0" y="85"/>
                    <a:pt x="0" y="85"/>
                  </a:cubicBezTo>
                  <a:lnTo>
                    <a:pt x="0" y="10"/>
                  </a:lnTo>
                  <a:cubicBezTo>
                    <a:pt x="0" y="8"/>
                    <a:pt x="1" y="7"/>
                    <a:pt x="2" y="6"/>
                  </a:cubicBezTo>
                  <a:cubicBezTo>
                    <a:pt x="2" y="6"/>
                    <a:pt x="3" y="5"/>
                    <a:pt x="4" y="5"/>
                  </a:cubicBezTo>
                  <a:lnTo>
                    <a:pt x="21" y="5"/>
                  </a:lnTo>
                  <a:cubicBezTo>
                    <a:pt x="24" y="5"/>
                    <a:pt x="25" y="6"/>
                    <a:pt x="27" y="6"/>
                  </a:cubicBezTo>
                  <a:cubicBezTo>
                    <a:pt x="28" y="6"/>
                    <a:pt x="29" y="6"/>
                    <a:pt x="30" y="6"/>
                  </a:cubicBezTo>
                  <a:cubicBezTo>
                    <a:pt x="33" y="7"/>
                    <a:pt x="36" y="7"/>
                    <a:pt x="38" y="9"/>
                  </a:cubicBezTo>
                  <a:cubicBezTo>
                    <a:pt x="41" y="10"/>
                    <a:pt x="43" y="11"/>
                    <a:pt x="45" y="13"/>
                  </a:cubicBezTo>
                  <a:cubicBezTo>
                    <a:pt x="46" y="15"/>
                    <a:pt x="47" y="17"/>
                    <a:pt x="48" y="19"/>
                  </a:cubicBezTo>
                  <a:cubicBezTo>
                    <a:pt x="49" y="21"/>
                    <a:pt x="49" y="24"/>
                    <a:pt x="49" y="27"/>
                  </a:cubicBezTo>
                  <a:cubicBezTo>
                    <a:pt x="49" y="30"/>
                    <a:pt x="49" y="32"/>
                    <a:pt x="48" y="34"/>
                  </a:cubicBezTo>
                  <a:cubicBezTo>
                    <a:pt x="48" y="36"/>
                    <a:pt x="47" y="38"/>
                    <a:pt x="45" y="40"/>
                  </a:cubicBezTo>
                  <a:cubicBezTo>
                    <a:pt x="44" y="41"/>
                    <a:pt x="42" y="43"/>
                    <a:pt x="40" y="44"/>
                  </a:cubicBezTo>
                  <a:cubicBezTo>
                    <a:pt x="38" y="45"/>
                    <a:pt x="36" y="46"/>
                    <a:pt x="34" y="47"/>
                  </a:cubicBezTo>
                  <a:cubicBezTo>
                    <a:pt x="35" y="48"/>
                    <a:pt x="36" y="48"/>
                    <a:pt x="37" y="49"/>
                  </a:cubicBezTo>
                  <a:cubicBezTo>
                    <a:pt x="38" y="50"/>
                    <a:pt x="39" y="51"/>
                    <a:pt x="40" y="53"/>
                  </a:cubicBezTo>
                  <a:cubicBezTo>
                    <a:pt x="41" y="54"/>
                    <a:pt x="42" y="55"/>
                    <a:pt x="43" y="57"/>
                  </a:cubicBezTo>
                  <a:cubicBezTo>
                    <a:pt x="44" y="58"/>
                    <a:pt x="45" y="60"/>
                    <a:pt x="46" y="62"/>
                  </a:cubicBezTo>
                  <a:lnTo>
                    <a:pt x="53" y="80"/>
                  </a:lnTo>
                  <a:cubicBezTo>
                    <a:pt x="53" y="82"/>
                    <a:pt x="54" y="83"/>
                    <a:pt x="54" y="83"/>
                  </a:cubicBezTo>
                  <a:cubicBezTo>
                    <a:pt x="54" y="84"/>
                    <a:pt x="54" y="84"/>
                    <a:pt x="54" y="85"/>
                  </a:cubicBezTo>
                  <a:close/>
                  <a:moveTo>
                    <a:pt x="38" y="28"/>
                  </a:moveTo>
                  <a:cubicBezTo>
                    <a:pt x="38" y="25"/>
                    <a:pt x="37" y="22"/>
                    <a:pt x="36" y="20"/>
                  </a:cubicBezTo>
                  <a:cubicBezTo>
                    <a:pt x="34" y="18"/>
                    <a:pt x="32" y="16"/>
                    <a:pt x="29" y="15"/>
                  </a:cubicBezTo>
                  <a:cubicBezTo>
                    <a:pt x="28" y="15"/>
                    <a:pt x="27" y="15"/>
                    <a:pt x="25" y="15"/>
                  </a:cubicBezTo>
                  <a:cubicBezTo>
                    <a:pt x="24" y="14"/>
                    <a:pt x="22" y="14"/>
                    <a:pt x="20" y="14"/>
                  </a:cubicBezTo>
                  <a:lnTo>
                    <a:pt x="11" y="14"/>
                  </a:lnTo>
                  <a:lnTo>
                    <a:pt x="11" y="42"/>
                  </a:lnTo>
                  <a:lnTo>
                    <a:pt x="22" y="42"/>
                  </a:lnTo>
                  <a:cubicBezTo>
                    <a:pt x="24" y="42"/>
                    <a:pt x="27" y="41"/>
                    <a:pt x="29" y="41"/>
                  </a:cubicBezTo>
                  <a:cubicBezTo>
                    <a:pt x="31" y="40"/>
                    <a:pt x="33" y="39"/>
                    <a:pt x="34" y="38"/>
                  </a:cubicBezTo>
                  <a:cubicBezTo>
                    <a:pt x="35" y="36"/>
                    <a:pt x="36" y="35"/>
                    <a:pt x="37" y="33"/>
                  </a:cubicBezTo>
                  <a:cubicBezTo>
                    <a:pt x="38" y="32"/>
                    <a:pt x="38" y="30"/>
                    <a:pt x="38" y="28"/>
                  </a:cubicBezTo>
                  <a:close/>
                  <a:moveTo>
                    <a:pt x="105" y="85"/>
                  </a:moveTo>
                  <a:cubicBezTo>
                    <a:pt x="105" y="85"/>
                    <a:pt x="105" y="86"/>
                    <a:pt x="105" y="86"/>
                  </a:cubicBezTo>
                  <a:cubicBezTo>
                    <a:pt x="105" y="86"/>
                    <a:pt x="104" y="86"/>
                    <a:pt x="104" y="87"/>
                  </a:cubicBezTo>
                  <a:cubicBezTo>
                    <a:pt x="103" y="87"/>
                    <a:pt x="102" y="87"/>
                    <a:pt x="101" y="87"/>
                  </a:cubicBezTo>
                  <a:cubicBezTo>
                    <a:pt x="100" y="87"/>
                    <a:pt x="99" y="87"/>
                    <a:pt x="98" y="87"/>
                  </a:cubicBezTo>
                  <a:cubicBezTo>
                    <a:pt x="98" y="86"/>
                    <a:pt x="97" y="86"/>
                    <a:pt x="97" y="86"/>
                  </a:cubicBezTo>
                  <a:cubicBezTo>
                    <a:pt x="97" y="86"/>
                    <a:pt x="97" y="85"/>
                    <a:pt x="97" y="85"/>
                  </a:cubicBezTo>
                  <a:lnTo>
                    <a:pt x="97" y="79"/>
                  </a:lnTo>
                  <a:cubicBezTo>
                    <a:pt x="94" y="82"/>
                    <a:pt x="91" y="84"/>
                    <a:pt x="88" y="85"/>
                  </a:cubicBezTo>
                  <a:cubicBezTo>
                    <a:pt x="85" y="87"/>
                    <a:pt x="82" y="88"/>
                    <a:pt x="79" y="88"/>
                  </a:cubicBezTo>
                  <a:cubicBezTo>
                    <a:pt x="76" y="88"/>
                    <a:pt x="73" y="87"/>
                    <a:pt x="71" y="86"/>
                  </a:cubicBezTo>
                  <a:cubicBezTo>
                    <a:pt x="68" y="86"/>
                    <a:pt x="66" y="85"/>
                    <a:pt x="65" y="83"/>
                  </a:cubicBezTo>
                  <a:cubicBezTo>
                    <a:pt x="63" y="82"/>
                    <a:pt x="62" y="80"/>
                    <a:pt x="61" y="78"/>
                  </a:cubicBezTo>
                  <a:cubicBezTo>
                    <a:pt x="60" y="76"/>
                    <a:pt x="59" y="73"/>
                    <a:pt x="59" y="70"/>
                  </a:cubicBezTo>
                  <a:cubicBezTo>
                    <a:pt x="59" y="67"/>
                    <a:pt x="60" y="65"/>
                    <a:pt x="61" y="62"/>
                  </a:cubicBezTo>
                  <a:cubicBezTo>
                    <a:pt x="63" y="60"/>
                    <a:pt x="64" y="58"/>
                    <a:pt x="67" y="56"/>
                  </a:cubicBezTo>
                  <a:cubicBezTo>
                    <a:pt x="69" y="55"/>
                    <a:pt x="72" y="54"/>
                    <a:pt x="76" y="53"/>
                  </a:cubicBezTo>
                  <a:cubicBezTo>
                    <a:pt x="79" y="52"/>
                    <a:pt x="83" y="52"/>
                    <a:pt x="87" y="52"/>
                  </a:cubicBezTo>
                  <a:lnTo>
                    <a:pt x="95" y="52"/>
                  </a:lnTo>
                  <a:lnTo>
                    <a:pt x="95" y="47"/>
                  </a:lnTo>
                  <a:cubicBezTo>
                    <a:pt x="95" y="45"/>
                    <a:pt x="95" y="43"/>
                    <a:pt x="95" y="42"/>
                  </a:cubicBezTo>
                  <a:cubicBezTo>
                    <a:pt x="94" y="40"/>
                    <a:pt x="93" y="39"/>
                    <a:pt x="92" y="37"/>
                  </a:cubicBezTo>
                  <a:cubicBezTo>
                    <a:pt x="91" y="36"/>
                    <a:pt x="90" y="36"/>
                    <a:pt x="88" y="35"/>
                  </a:cubicBezTo>
                  <a:cubicBezTo>
                    <a:pt x="87" y="34"/>
                    <a:pt x="85" y="34"/>
                    <a:pt x="82" y="34"/>
                  </a:cubicBezTo>
                  <a:cubicBezTo>
                    <a:pt x="80" y="34"/>
                    <a:pt x="78" y="34"/>
                    <a:pt x="75" y="35"/>
                  </a:cubicBezTo>
                  <a:cubicBezTo>
                    <a:pt x="73" y="36"/>
                    <a:pt x="72" y="36"/>
                    <a:pt x="70" y="37"/>
                  </a:cubicBezTo>
                  <a:cubicBezTo>
                    <a:pt x="69" y="38"/>
                    <a:pt x="67" y="38"/>
                    <a:pt x="66" y="39"/>
                  </a:cubicBezTo>
                  <a:cubicBezTo>
                    <a:pt x="65" y="40"/>
                    <a:pt x="65" y="40"/>
                    <a:pt x="64" y="40"/>
                  </a:cubicBezTo>
                  <a:cubicBezTo>
                    <a:pt x="64" y="40"/>
                    <a:pt x="63" y="40"/>
                    <a:pt x="63" y="40"/>
                  </a:cubicBezTo>
                  <a:cubicBezTo>
                    <a:pt x="63" y="40"/>
                    <a:pt x="63" y="39"/>
                    <a:pt x="63" y="39"/>
                  </a:cubicBezTo>
                  <a:cubicBezTo>
                    <a:pt x="62" y="39"/>
                    <a:pt x="62" y="38"/>
                    <a:pt x="62" y="38"/>
                  </a:cubicBezTo>
                  <a:cubicBezTo>
                    <a:pt x="62" y="37"/>
                    <a:pt x="62" y="37"/>
                    <a:pt x="62" y="36"/>
                  </a:cubicBezTo>
                  <a:cubicBezTo>
                    <a:pt x="62" y="35"/>
                    <a:pt x="62" y="34"/>
                    <a:pt x="62" y="33"/>
                  </a:cubicBezTo>
                  <a:cubicBezTo>
                    <a:pt x="62" y="33"/>
                    <a:pt x="63" y="32"/>
                    <a:pt x="63" y="32"/>
                  </a:cubicBezTo>
                  <a:cubicBezTo>
                    <a:pt x="64" y="31"/>
                    <a:pt x="65" y="31"/>
                    <a:pt x="66" y="30"/>
                  </a:cubicBezTo>
                  <a:cubicBezTo>
                    <a:pt x="68" y="29"/>
                    <a:pt x="69" y="28"/>
                    <a:pt x="71" y="28"/>
                  </a:cubicBezTo>
                  <a:cubicBezTo>
                    <a:pt x="73" y="27"/>
                    <a:pt x="75" y="27"/>
                    <a:pt x="77" y="26"/>
                  </a:cubicBezTo>
                  <a:cubicBezTo>
                    <a:pt x="79" y="26"/>
                    <a:pt x="81" y="26"/>
                    <a:pt x="83" y="26"/>
                  </a:cubicBezTo>
                  <a:cubicBezTo>
                    <a:pt x="87" y="26"/>
                    <a:pt x="91" y="26"/>
                    <a:pt x="94" y="27"/>
                  </a:cubicBezTo>
                  <a:cubicBezTo>
                    <a:pt x="96" y="28"/>
                    <a:pt x="99" y="29"/>
                    <a:pt x="100" y="31"/>
                  </a:cubicBezTo>
                  <a:cubicBezTo>
                    <a:pt x="102" y="33"/>
                    <a:pt x="103" y="35"/>
                    <a:pt x="104" y="38"/>
                  </a:cubicBezTo>
                  <a:cubicBezTo>
                    <a:pt x="105" y="40"/>
                    <a:pt x="105" y="43"/>
                    <a:pt x="105" y="47"/>
                  </a:cubicBezTo>
                  <a:lnTo>
                    <a:pt x="105" y="85"/>
                  </a:lnTo>
                  <a:close/>
                  <a:moveTo>
                    <a:pt x="95" y="59"/>
                  </a:moveTo>
                  <a:lnTo>
                    <a:pt x="86" y="59"/>
                  </a:lnTo>
                  <a:cubicBezTo>
                    <a:pt x="84" y="59"/>
                    <a:pt x="81" y="59"/>
                    <a:pt x="79" y="60"/>
                  </a:cubicBezTo>
                  <a:cubicBezTo>
                    <a:pt x="77" y="60"/>
                    <a:pt x="75" y="61"/>
                    <a:pt x="74" y="62"/>
                  </a:cubicBezTo>
                  <a:cubicBezTo>
                    <a:pt x="72" y="63"/>
                    <a:pt x="71" y="64"/>
                    <a:pt x="71" y="65"/>
                  </a:cubicBezTo>
                  <a:cubicBezTo>
                    <a:pt x="70" y="67"/>
                    <a:pt x="70" y="68"/>
                    <a:pt x="70" y="70"/>
                  </a:cubicBezTo>
                  <a:cubicBezTo>
                    <a:pt x="70" y="73"/>
                    <a:pt x="71" y="75"/>
                    <a:pt x="73" y="77"/>
                  </a:cubicBezTo>
                  <a:cubicBezTo>
                    <a:pt x="74" y="79"/>
                    <a:pt x="77" y="79"/>
                    <a:pt x="80" y="79"/>
                  </a:cubicBezTo>
                  <a:cubicBezTo>
                    <a:pt x="83" y="79"/>
                    <a:pt x="86" y="79"/>
                    <a:pt x="88" y="77"/>
                  </a:cubicBezTo>
                  <a:cubicBezTo>
                    <a:pt x="90" y="76"/>
                    <a:pt x="93" y="74"/>
                    <a:pt x="95" y="71"/>
                  </a:cubicBezTo>
                  <a:lnTo>
                    <a:pt x="95" y="59"/>
                  </a:lnTo>
                  <a:close/>
                  <a:moveTo>
                    <a:pt x="137" y="85"/>
                  </a:moveTo>
                  <a:cubicBezTo>
                    <a:pt x="137" y="85"/>
                    <a:pt x="137" y="85"/>
                    <a:pt x="137" y="86"/>
                  </a:cubicBezTo>
                  <a:cubicBezTo>
                    <a:pt x="137" y="86"/>
                    <a:pt x="137" y="86"/>
                    <a:pt x="136" y="86"/>
                  </a:cubicBezTo>
                  <a:cubicBezTo>
                    <a:pt x="136" y="86"/>
                    <a:pt x="135" y="87"/>
                    <a:pt x="135" y="87"/>
                  </a:cubicBezTo>
                  <a:cubicBezTo>
                    <a:pt x="134" y="87"/>
                    <a:pt x="133" y="87"/>
                    <a:pt x="132" y="87"/>
                  </a:cubicBezTo>
                  <a:cubicBezTo>
                    <a:pt x="131" y="87"/>
                    <a:pt x="130" y="87"/>
                    <a:pt x="130" y="87"/>
                  </a:cubicBezTo>
                  <a:cubicBezTo>
                    <a:pt x="129" y="87"/>
                    <a:pt x="129" y="86"/>
                    <a:pt x="128" y="86"/>
                  </a:cubicBezTo>
                  <a:cubicBezTo>
                    <a:pt x="128" y="86"/>
                    <a:pt x="127" y="86"/>
                    <a:pt x="127" y="86"/>
                  </a:cubicBezTo>
                  <a:cubicBezTo>
                    <a:pt x="127" y="85"/>
                    <a:pt x="127" y="85"/>
                    <a:pt x="127" y="85"/>
                  </a:cubicBezTo>
                  <a:lnTo>
                    <a:pt x="127" y="29"/>
                  </a:lnTo>
                  <a:cubicBezTo>
                    <a:pt x="127" y="28"/>
                    <a:pt x="127" y="28"/>
                    <a:pt x="127" y="28"/>
                  </a:cubicBezTo>
                  <a:cubicBezTo>
                    <a:pt x="127" y="27"/>
                    <a:pt x="128" y="27"/>
                    <a:pt x="128" y="27"/>
                  </a:cubicBezTo>
                  <a:cubicBezTo>
                    <a:pt x="129" y="27"/>
                    <a:pt x="129" y="27"/>
                    <a:pt x="130" y="27"/>
                  </a:cubicBezTo>
                  <a:cubicBezTo>
                    <a:pt x="130" y="27"/>
                    <a:pt x="131" y="27"/>
                    <a:pt x="132" y="27"/>
                  </a:cubicBezTo>
                  <a:cubicBezTo>
                    <a:pt x="133" y="27"/>
                    <a:pt x="134" y="27"/>
                    <a:pt x="135" y="27"/>
                  </a:cubicBezTo>
                  <a:cubicBezTo>
                    <a:pt x="135" y="27"/>
                    <a:pt x="136" y="27"/>
                    <a:pt x="136" y="27"/>
                  </a:cubicBezTo>
                  <a:cubicBezTo>
                    <a:pt x="137" y="27"/>
                    <a:pt x="137" y="27"/>
                    <a:pt x="137" y="28"/>
                  </a:cubicBezTo>
                  <a:cubicBezTo>
                    <a:pt x="137" y="28"/>
                    <a:pt x="137" y="28"/>
                    <a:pt x="137" y="29"/>
                  </a:cubicBezTo>
                  <a:lnTo>
                    <a:pt x="137" y="85"/>
                  </a:lnTo>
                  <a:close/>
                  <a:moveTo>
                    <a:pt x="139" y="10"/>
                  </a:moveTo>
                  <a:cubicBezTo>
                    <a:pt x="139" y="12"/>
                    <a:pt x="138" y="14"/>
                    <a:pt x="137" y="14"/>
                  </a:cubicBezTo>
                  <a:cubicBezTo>
                    <a:pt x="136" y="15"/>
                    <a:pt x="135" y="16"/>
                    <a:pt x="132" y="16"/>
                  </a:cubicBezTo>
                  <a:cubicBezTo>
                    <a:pt x="130" y="16"/>
                    <a:pt x="128" y="15"/>
                    <a:pt x="127" y="15"/>
                  </a:cubicBezTo>
                  <a:cubicBezTo>
                    <a:pt x="126" y="14"/>
                    <a:pt x="126" y="12"/>
                    <a:pt x="126" y="10"/>
                  </a:cubicBezTo>
                  <a:cubicBezTo>
                    <a:pt x="126" y="7"/>
                    <a:pt x="126" y="6"/>
                    <a:pt x="127" y="5"/>
                  </a:cubicBezTo>
                  <a:cubicBezTo>
                    <a:pt x="128" y="4"/>
                    <a:pt x="130" y="3"/>
                    <a:pt x="132" y="3"/>
                  </a:cubicBezTo>
                  <a:cubicBezTo>
                    <a:pt x="135" y="3"/>
                    <a:pt x="136" y="4"/>
                    <a:pt x="137" y="5"/>
                  </a:cubicBezTo>
                  <a:cubicBezTo>
                    <a:pt x="138" y="6"/>
                    <a:pt x="139" y="7"/>
                    <a:pt x="139" y="10"/>
                  </a:cubicBezTo>
                  <a:close/>
                  <a:moveTo>
                    <a:pt x="194" y="69"/>
                  </a:moveTo>
                  <a:cubicBezTo>
                    <a:pt x="194" y="72"/>
                    <a:pt x="194" y="75"/>
                    <a:pt x="193" y="77"/>
                  </a:cubicBezTo>
                  <a:cubicBezTo>
                    <a:pt x="192" y="79"/>
                    <a:pt x="190" y="81"/>
                    <a:pt x="188" y="83"/>
                  </a:cubicBezTo>
                  <a:cubicBezTo>
                    <a:pt x="186" y="84"/>
                    <a:pt x="184" y="86"/>
                    <a:pt x="181" y="86"/>
                  </a:cubicBezTo>
                  <a:cubicBezTo>
                    <a:pt x="179" y="87"/>
                    <a:pt x="176" y="88"/>
                    <a:pt x="172" y="88"/>
                  </a:cubicBezTo>
                  <a:cubicBezTo>
                    <a:pt x="170" y="88"/>
                    <a:pt x="168" y="87"/>
                    <a:pt x="167" y="87"/>
                  </a:cubicBezTo>
                  <a:cubicBezTo>
                    <a:pt x="165" y="87"/>
                    <a:pt x="163" y="86"/>
                    <a:pt x="162" y="86"/>
                  </a:cubicBezTo>
                  <a:cubicBezTo>
                    <a:pt x="160" y="85"/>
                    <a:pt x="159" y="85"/>
                    <a:pt x="158" y="84"/>
                  </a:cubicBezTo>
                  <a:cubicBezTo>
                    <a:pt x="157" y="84"/>
                    <a:pt x="156" y="83"/>
                    <a:pt x="156" y="83"/>
                  </a:cubicBezTo>
                  <a:cubicBezTo>
                    <a:pt x="155" y="83"/>
                    <a:pt x="155" y="82"/>
                    <a:pt x="155" y="81"/>
                  </a:cubicBezTo>
                  <a:cubicBezTo>
                    <a:pt x="155" y="80"/>
                    <a:pt x="155" y="79"/>
                    <a:pt x="155" y="78"/>
                  </a:cubicBezTo>
                  <a:cubicBezTo>
                    <a:pt x="155" y="77"/>
                    <a:pt x="155" y="77"/>
                    <a:pt x="155" y="76"/>
                  </a:cubicBezTo>
                  <a:cubicBezTo>
                    <a:pt x="155" y="76"/>
                    <a:pt x="155" y="75"/>
                    <a:pt x="155" y="75"/>
                  </a:cubicBezTo>
                  <a:cubicBezTo>
                    <a:pt x="155" y="75"/>
                    <a:pt x="155" y="74"/>
                    <a:pt x="156" y="74"/>
                  </a:cubicBezTo>
                  <a:cubicBezTo>
                    <a:pt x="156" y="74"/>
                    <a:pt x="156" y="74"/>
                    <a:pt x="156" y="74"/>
                  </a:cubicBezTo>
                  <a:cubicBezTo>
                    <a:pt x="157" y="74"/>
                    <a:pt x="157" y="74"/>
                    <a:pt x="158" y="75"/>
                  </a:cubicBezTo>
                  <a:cubicBezTo>
                    <a:pt x="159" y="75"/>
                    <a:pt x="160" y="76"/>
                    <a:pt x="162" y="77"/>
                  </a:cubicBezTo>
                  <a:cubicBezTo>
                    <a:pt x="163" y="77"/>
                    <a:pt x="165" y="78"/>
                    <a:pt x="166" y="78"/>
                  </a:cubicBezTo>
                  <a:cubicBezTo>
                    <a:pt x="168" y="79"/>
                    <a:pt x="170" y="79"/>
                    <a:pt x="173" y="79"/>
                  </a:cubicBezTo>
                  <a:cubicBezTo>
                    <a:pt x="174" y="79"/>
                    <a:pt x="176" y="79"/>
                    <a:pt x="177" y="79"/>
                  </a:cubicBezTo>
                  <a:cubicBezTo>
                    <a:pt x="179" y="78"/>
                    <a:pt x="180" y="78"/>
                    <a:pt x="181" y="77"/>
                  </a:cubicBezTo>
                  <a:cubicBezTo>
                    <a:pt x="182" y="76"/>
                    <a:pt x="183" y="75"/>
                    <a:pt x="183" y="74"/>
                  </a:cubicBezTo>
                  <a:cubicBezTo>
                    <a:pt x="184" y="73"/>
                    <a:pt x="184" y="72"/>
                    <a:pt x="184" y="70"/>
                  </a:cubicBezTo>
                  <a:cubicBezTo>
                    <a:pt x="184" y="69"/>
                    <a:pt x="184" y="67"/>
                    <a:pt x="183" y="66"/>
                  </a:cubicBezTo>
                  <a:cubicBezTo>
                    <a:pt x="182" y="65"/>
                    <a:pt x="181" y="64"/>
                    <a:pt x="180" y="63"/>
                  </a:cubicBezTo>
                  <a:cubicBezTo>
                    <a:pt x="178" y="63"/>
                    <a:pt x="177" y="62"/>
                    <a:pt x="175" y="61"/>
                  </a:cubicBezTo>
                  <a:cubicBezTo>
                    <a:pt x="174" y="61"/>
                    <a:pt x="172" y="60"/>
                    <a:pt x="170" y="59"/>
                  </a:cubicBezTo>
                  <a:cubicBezTo>
                    <a:pt x="168" y="58"/>
                    <a:pt x="167" y="58"/>
                    <a:pt x="165" y="57"/>
                  </a:cubicBezTo>
                  <a:cubicBezTo>
                    <a:pt x="163" y="56"/>
                    <a:pt x="162" y="55"/>
                    <a:pt x="160" y="53"/>
                  </a:cubicBezTo>
                  <a:cubicBezTo>
                    <a:pt x="159" y="52"/>
                    <a:pt x="158" y="51"/>
                    <a:pt x="157" y="49"/>
                  </a:cubicBezTo>
                  <a:cubicBezTo>
                    <a:pt x="156" y="47"/>
                    <a:pt x="156" y="45"/>
                    <a:pt x="156" y="42"/>
                  </a:cubicBezTo>
                  <a:cubicBezTo>
                    <a:pt x="156" y="40"/>
                    <a:pt x="156" y="38"/>
                    <a:pt x="157" y="36"/>
                  </a:cubicBezTo>
                  <a:cubicBezTo>
                    <a:pt x="158" y="34"/>
                    <a:pt x="159" y="32"/>
                    <a:pt x="161" y="31"/>
                  </a:cubicBezTo>
                  <a:cubicBezTo>
                    <a:pt x="163" y="29"/>
                    <a:pt x="165" y="28"/>
                    <a:pt x="167" y="27"/>
                  </a:cubicBezTo>
                  <a:cubicBezTo>
                    <a:pt x="170" y="26"/>
                    <a:pt x="173" y="26"/>
                    <a:pt x="176" y="26"/>
                  </a:cubicBezTo>
                  <a:cubicBezTo>
                    <a:pt x="178" y="26"/>
                    <a:pt x="179" y="26"/>
                    <a:pt x="181" y="26"/>
                  </a:cubicBezTo>
                  <a:cubicBezTo>
                    <a:pt x="182" y="26"/>
                    <a:pt x="184" y="27"/>
                    <a:pt x="185" y="27"/>
                  </a:cubicBezTo>
                  <a:cubicBezTo>
                    <a:pt x="186" y="27"/>
                    <a:pt x="187" y="28"/>
                    <a:pt x="188" y="28"/>
                  </a:cubicBezTo>
                  <a:cubicBezTo>
                    <a:pt x="189" y="29"/>
                    <a:pt x="190" y="29"/>
                    <a:pt x="190" y="29"/>
                  </a:cubicBezTo>
                  <a:cubicBezTo>
                    <a:pt x="190" y="30"/>
                    <a:pt x="191" y="30"/>
                    <a:pt x="191" y="30"/>
                  </a:cubicBezTo>
                  <a:cubicBezTo>
                    <a:pt x="191" y="31"/>
                    <a:pt x="191" y="31"/>
                    <a:pt x="191" y="31"/>
                  </a:cubicBezTo>
                  <a:cubicBezTo>
                    <a:pt x="191" y="31"/>
                    <a:pt x="191" y="32"/>
                    <a:pt x="191" y="32"/>
                  </a:cubicBezTo>
                  <a:cubicBezTo>
                    <a:pt x="191" y="33"/>
                    <a:pt x="192" y="33"/>
                    <a:pt x="192" y="34"/>
                  </a:cubicBezTo>
                  <a:cubicBezTo>
                    <a:pt x="192" y="35"/>
                    <a:pt x="191" y="35"/>
                    <a:pt x="191" y="36"/>
                  </a:cubicBezTo>
                  <a:cubicBezTo>
                    <a:pt x="191" y="36"/>
                    <a:pt x="191" y="37"/>
                    <a:pt x="191" y="37"/>
                  </a:cubicBezTo>
                  <a:cubicBezTo>
                    <a:pt x="191" y="37"/>
                    <a:pt x="191" y="38"/>
                    <a:pt x="191" y="38"/>
                  </a:cubicBezTo>
                  <a:cubicBezTo>
                    <a:pt x="190" y="38"/>
                    <a:pt x="190" y="38"/>
                    <a:pt x="190" y="38"/>
                  </a:cubicBezTo>
                  <a:cubicBezTo>
                    <a:pt x="190" y="38"/>
                    <a:pt x="189" y="38"/>
                    <a:pt x="188" y="37"/>
                  </a:cubicBezTo>
                  <a:cubicBezTo>
                    <a:pt x="188" y="37"/>
                    <a:pt x="187" y="36"/>
                    <a:pt x="186" y="36"/>
                  </a:cubicBezTo>
                  <a:cubicBezTo>
                    <a:pt x="184" y="35"/>
                    <a:pt x="183" y="35"/>
                    <a:pt x="182" y="34"/>
                  </a:cubicBezTo>
                  <a:cubicBezTo>
                    <a:pt x="180" y="34"/>
                    <a:pt x="178" y="34"/>
                    <a:pt x="176" y="34"/>
                  </a:cubicBezTo>
                  <a:cubicBezTo>
                    <a:pt x="175" y="34"/>
                    <a:pt x="173" y="34"/>
                    <a:pt x="172" y="34"/>
                  </a:cubicBezTo>
                  <a:cubicBezTo>
                    <a:pt x="170" y="35"/>
                    <a:pt x="169" y="35"/>
                    <a:pt x="168" y="36"/>
                  </a:cubicBezTo>
                  <a:cubicBezTo>
                    <a:pt x="168" y="37"/>
                    <a:pt x="167" y="38"/>
                    <a:pt x="166" y="39"/>
                  </a:cubicBezTo>
                  <a:cubicBezTo>
                    <a:pt x="166" y="40"/>
                    <a:pt x="166" y="41"/>
                    <a:pt x="166" y="42"/>
                  </a:cubicBezTo>
                  <a:cubicBezTo>
                    <a:pt x="166" y="43"/>
                    <a:pt x="166" y="45"/>
                    <a:pt x="167" y="46"/>
                  </a:cubicBezTo>
                  <a:cubicBezTo>
                    <a:pt x="168" y="47"/>
                    <a:pt x="169" y="48"/>
                    <a:pt x="170" y="49"/>
                  </a:cubicBezTo>
                  <a:cubicBezTo>
                    <a:pt x="172" y="50"/>
                    <a:pt x="173" y="50"/>
                    <a:pt x="175" y="51"/>
                  </a:cubicBezTo>
                  <a:cubicBezTo>
                    <a:pt x="177" y="52"/>
                    <a:pt x="178" y="52"/>
                    <a:pt x="180" y="53"/>
                  </a:cubicBezTo>
                  <a:cubicBezTo>
                    <a:pt x="182" y="54"/>
                    <a:pt x="184" y="55"/>
                    <a:pt x="185" y="56"/>
                  </a:cubicBezTo>
                  <a:cubicBezTo>
                    <a:pt x="187" y="56"/>
                    <a:pt x="189" y="57"/>
                    <a:pt x="190" y="59"/>
                  </a:cubicBezTo>
                  <a:cubicBezTo>
                    <a:pt x="191" y="60"/>
                    <a:pt x="192" y="61"/>
                    <a:pt x="193" y="63"/>
                  </a:cubicBezTo>
                  <a:cubicBezTo>
                    <a:pt x="194" y="65"/>
                    <a:pt x="194" y="67"/>
                    <a:pt x="194" y="69"/>
                  </a:cubicBezTo>
                  <a:close/>
                  <a:moveTo>
                    <a:pt x="255" y="54"/>
                  </a:moveTo>
                  <a:cubicBezTo>
                    <a:pt x="255" y="56"/>
                    <a:pt x="255" y="57"/>
                    <a:pt x="254" y="58"/>
                  </a:cubicBezTo>
                  <a:cubicBezTo>
                    <a:pt x="253" y="58"/>
                    <a:pt x="252" y="59"/>
                    <a:pt x="251" y="59"/>
                  </a:cubicBezTo>
                  <a:lnTo>
                    <a:pt x="214" y="59"/>
                  </a:lnTo>
                  <a:cubicBezTo>
                    <a:pt x="214" y="62"/>
                    <a:pt x="214" y="65"/>
                    <a:pt x="215" y="67"/>
                  </a:cubicBezTo>
                  <a:cubicBezTo>
                    <a:pt x="216" y="70"/>
                    <a:pt x="217" y="72"/>
                    <a:pt x="218" y="74"/>
                  </a:cubicBezTo>
                  <a:cubicBezTo>
                    <a:pt x="220" y="75"/>
                    <a:pt x="221" y="77"/>
                    <a:pt x="224" y="78"/>
                  </a:cubicBezTo>
                  <a:cubicBezTo>
                    <a:pt x="226" y="79"/>
                    <a:pt x="229" y="79"/>
                    <a:pt x="232" y="79"/>
                  </a:cubicBezTo>
                  <a:cubicBezTo>
                    <a:pt x="235" y="79"/>
                    <a:pt x="237" y="79"/>
                    <a:pt x="240" y="79"/>
                  </a:cubicBezTo>
                  <a:cubicBezTo>
                    <a:pt x="242" y="78"/>
                    <a:pt x="243" y="78"/>
                    <a:pt x="245" y="77"/>
                  </a:cubicBezTo>
                  <a:cubicBezTo>
                    <a:pt x="247" y="77"/>
                    <a:pt x="248" y="76"/>
                    <a:pt x="249" y="76"/>
                  </a:cubicBezTo>
                  <a:cubicBezTo>
                    <a:pt x="250" y="75"/>
                    <a:pt x="251" y="75"/>
                    <a:pt x="251" y="75"/>
                  </a:cubicBezTo>
                  <a:cubicBezTo>
                    <a:pt x="251" y="75"/>
                    <a:pt x="252" y="75"/>
                    <a:pt x="252" y="75"/>
                  </a:cubicBezTo>
                  <a:cubicBezTo>
                    <a:pt x="252" y="75"/>
                    <a:pt x="252" y="76"/>
                    <a:pt x="252" y="76"/>
                  </a:cubicBezTo>
                  <a:cubicBezTo>
                    <a:pt x="252" y="76"/>
                    <a:pt x="253" y="77"/>
                    <a:pt x="253" y="77"/>
                  </a:cubicBezTo>
                  <a:cubicBezTo>
                    <a:pt x="253" y="78"/>
                    <a:pt x="253" y="78"/>
                    <a:pt x="253" y="79"/>
                  </a:cubicBezTo>
                  <a:cubicBezTo>
                    <a:pt x="253" y="79"/>
                    <a:pt x="253" y="80"/>
                    <a:pt x="253" y="80"/>
                  </a:cubicBezTo>
                  <a:cubicBezTo>
                    <a:pt x="253" y="81"/>
                    <a:pt x="253" y="81"/>
                    <a:pt x="252" y="81"/>
                  </a:cubicBezTo>
                  <a:cubicBezTo>
                    <a:pt x="252" y="82"/>
                    <a:pt x="252" y="82"/>
                    <a:pt x="252" y="82"/>
                  </a:cubicBezTo>
                  <a:cubicBezTo>
                    <a:pt x="252" y="82"/>
                    <a:pt x="252" y="83"/>
                    <a:pt x="252" y="83"/>
                  </a:cubicBezTo>
                  <a:cubicBezTo>
                    <a:pt x="251" y="83"/>
                    <a:pt x="251" y="84"/>
                    <a:pt x="250" y="84"/>
                  </a:cubicBezTo>
                  <a:cubicBezTo>
                    <a:pt x="248" y="85"/>
                    <a:pt x="247" y="85"/>
                    <a:pt x="245" y="86"/>
                  </a:cubicBezTo>
                  <a:cubicBezTo>
                    <a:pt x="243" y="86"/>
                    <a:pt x="241" y="87"/>
                    <a:pt x="239" y="87"/>
                  </a:cubicBezTo>
                  <a:cubicBezTo>
                    <a:pt x="237" y="87"/>
                    <a:pt x="234" y="88"/>
                    <a:pt x="231" y="88"/>
                  </a:cubicBezTo>
                  <a:cubicBezTo>
                    <a:pt x="227" y="88"/>
                    <a:pt x="223" y="87"/>
                    <a:pt x="219" y="86"/>
                  </a:cubicBezTo>
                  <a:cubicBezTo>
                    <a:pt x="216" y="84"/>
                    <a:pt x="213" y="82"/>
                    <a:pt x="211" y="80"/>
                  </a:cubicBezTo>
                  <a:cubicBezTo>
                    <a:pt x="208" y="77"/>
                    <a:pt x="206" y="74"/>
                    <a:pt x="205" y="70"/>
                  </a:cubicBezTo>
                  <a:cubicBezTo>
                    <a:pt x="204" y="66"/>
                    <a:pt x="203" y="62"/>
                    <a:pt x="203" y="57"/>
                  </a:cubicBezTo>
                  <a:cubicBezTo>
                    <a:pt x="203" y="52"/>
                    <a:pt x="204" y="48"/>
                    <a:pt x="205" y="44"/>
                  </a:cubicBezTo>
                  <a:cubicBezTo>
                    <a:pt x="206" y="40"/>
                    <a:pt x="208" y="37"/>
                    <a:pt x="211" y="34"/>
                  </a:cubicBezTo>
                  <a:cubicBezTo>
                    <a:pt x="213" y="31"/>
                    <a:pt x="216" y="29"/>
                    <a:pt x="219" y="28"/>
                  </a:cubicBezTo>
                  <a:cubicBezTo>
                    <a:pt x="222" y="26"/>
                    <a:pt x="226" y="26"/>
                    <a:pt x="230" y="26"/>
                  </a:cubicBezTo>
                  <a:cubicBezTo>
                    <a:pt x="235" y="26"/>
                    <a:pt x="239" y="26"/>
                    <a:pt x="242" y="28"/>
                  </a:cubicBezTo>
                  <a:cubicBezTo>
                    <a:pt x="245" y="29"/>
                    <a:pt x="247" y="31"/>
                    <a:pt x="249" y="34"/>
                  </a:cubicBezTo>
                  <a:cubicBezTo>
                    <a:pt x="251" y="36"/>
                    <a:pt x="253" y="39"/>
                    <a:pt x="254" y="42"/>
                  </a:cubicBezTo>
                  <a:cubicBezTo>
                    <a:pt x="255" y="45"/>
                    <a:pt x="255" y="49"/>
                    <a:pt x="255" y="52"/>
                  </a:cubicBezTo>
                  <a:lnTo>
                    <a:pt x="255" y="54"/>
                  </a:lnTo>
                  <a:close/>
                  <a:moveTo>
                    <a:pt x="245" y="51"/>
                  </a:moveTo>
                  <a:cubicBezTo>
                    <a:pt x="245" y="46"/>
                    <a:pt x="244" y="42"/>
                    <a:pt x="241" y="38"/>
                  </a:cubicBezTo>
                  <a:cubicBezTo>
                    <a:pt x="239" y="35"/>
                    <a:pt x="235" y="34"/>
                    <a:pt x="230" y="34"/>
                  </a:cubicBezTo>
                  <a:cubicBezTo>
                    <a:pt x="227" y="34"/>
                    <a:pt x="225" y="34"/>
                    <a:pt x="223" y="35"/>
                  </a:cubicBezTo>
                  <a:cubicBezTo>
                    <a:pt x="221" y="36"/>
                    <a:pt x="220" y="37"/>
                    <a:pt x="218" y="39"/>
                  </a:cubicBezTo>
                  <a:cubicBezTo>
                    <a:pt x="217" y="41"/>
                    <a:pt x="216" y="42"/>
                    <a:pt x="215" y="45"/>
                  </a:cubicBezTo>
                  <a:cubicBezTo>
                    <a:pt x="215" y="47"/>
                    <a:pt x="214" y="49"/>
                    <a:pt x="214" y="51"/>
                  </a:cubicBezTo>
                  <a:lnTo>
                    <a:pt x="245" y="51"/>
                  </a:lnTo>
                  <a:close/>
                  <a:moveTo>
                    <a:pt x="354" y="29"/>
                  </a:moveTo>
                  <a:cubicBezTo>
                    <a:pt x="354" y="33"/>
                    <a:pt x="353" y="37"/>
                    <a:pt x="352" y="40"/>
                  </a:cubicBezTo>
                  <a:cubicBezTo>
                    <a:pt x="351" y="43"/>
                    <a:pt x="349" y="46"/>
                    <a:pt x="346" y="48"/>
                  </a:cubicBezTo>
                  <a:cubicBezTo>
                    <a:pt x="344" y="51"/>
                    <a:pt x="341" y="52"/>
                    <a:pt x="337" y="54"/>
                  </a:cubicBezTo>
                  <a:cubicBezTo>
                    <a:pt x="334" y="55"/>
                    <a:pt x="329" y="56"/>
                    <a:pt x="324" y="56"/>
                  </a:cubicBezTo>
                  <a:lnTo>
                    <a:pt x="315" y="56"/>
                  </a:lnTo>
                  <a:lnTo>
                    <a:pt x="315" y="85"/>
                  </a:lnTo>
                  <a:cubicBezTo>
                    <a:pt x="315" y="85"/>
                    <a:pt x="315" y="85"/>
                    <a:pt x="315" y="86"/>
                  </a:cubicBezTo>
                  <a:cubicBezTo>
                    <a:pt x="315" y="86"/>
                    <a:pt x="314" y="86"/>
                    <a:pt x="314" y="86"/>
                  </a:cubicBezTo>
                  <a:cubicBezTo>
                    <a:pt x="313" y="86"/>
                    <a:pt x="313" y="86"/>
                    <a:pt x="312" y="87"/>
                  </a:cubicBezTo>
                  <a:cubicBezTo>
                    <a:pt x="312" y="87"/>
                    <a:pt x="311" y="87"/>
                    <a:pt x="310" y="87"/>
                  </a:cubicBezTo>
                  <a:cubicBezTo>
                    <a:pt x="309" y="87"/>
                    <a:pt x="308" y="87"/>
                    <a:pt x="307" y="87"/>
                  </a:cubicBezTo>
                  <a:cubicBezTo>
                    <a:pt x="306" y="86"/>
                    <a:pt x="306" y="86"/>
                    <a:pt x="305" y="86"/>
                  </a:cubicBezTo>
                  <a:cubicBezTo>
                    <a:pt x="305" y="86"/>
                    <a:pt x="305" y="86"/>
                    <a:pt x="305" y="86"/>
                  </a:cubicBezTo>
                  <a:cubicBezTo>
                    <a:pt x="304" y="85"/>
                    <a:pt x="304" y="85"/>
                    <a:pt x="304" y="85"/>
                  </a:cubicBezTo>
                  <a:lnTo>
                    <a:pt x="304" y="10"/>
                  </a:lnTo>
                  <a:cubicBezTo>
                    <a:pt x="304" y="8"/>
                    <a:pt x="305" y="7"/>
                    <a:pt x="306" y="7"/>
                  </a:cubicBezTo>
                  <a:cubicBezTo>
                    <a:pt x="306" y="6"/>
                    <a:pt x="307" y="5"/>
                    <a:pt x="309" y="5"/>
                  </a:cubicBezTo>
                  <a:lnTo>
                    <a:pt x="326" y="5"/>
                  </a:lnTo>
                  <a:cubicBezTo>
                    <a:pt x="328" y="5"/>
                    <a:pt x="329" y="6"/>
                    <a:pt x="331" y="6"/>
                  </a:cubicBezTo>
                  <a:cubicBezTo>
                    <a:pt x="332" y="6"/>
                    <a:pt x="334" y="6"/>
                    <a:pt x="337" y="7"/>
                  </a:cubicBezTo>
                  <a:cubicBezTo>
                    <a:pt x="339" y="7"/>
                    <a:pt x="341" y="8"/>
                    <a:pt x="343" y="9"/>
                  </a:cubicBezTo>
                  <a:cubicBezTo>
                    <a:pt x="346" y="11"/>
                    <a:pt x="347" y="12"/>
                    <a:pt x="349" y="14"/>
                  </a:cubicBezTo>
                  <a:cubicBezTo>
                    <a:pt x="351" y="16"/>
                    <a:pt x="352" y="18"/>
                    <a:pt x="353" y="21"/>
                  </a:cubicBezTo>
                  <a:cubicBezTo>
                    <a:pt x="354" y="23"/>
                    <a:pt x="354" y="26"/>
                    <a:pt x="354" y="29"/>
                  </a:cubicBezTo>
                  <a:close/>
                  <a:moveTo>
                    <a:pt x="343" y="30"/>
                  </a:moveTo>
                  <a:cubicBezTo>
                    <a:pt x="343" y="27"/>
                    <a:pt x="342" y="24"/>
                    <a:pt x="341" y="22"/>
                  </a:cubicBezTo>
                  <a:cubicBezTo>
                    <a:pt x="340" y="20"/>
                    <a:pt x="338" y="18"/>
                    <a:pt x="336" y="17"/>
                  </a:cubicBezTo>
                  <a:cubicBezTo>
                    <a:pt x="334" y="16"/>
                    <a:pt x="333" y="15"/>
                    <a:pt x="331" y="15"/>
                  </a:cubicBezTo>
                  <a:cubicBezTo>
                    <a:pt x="329" y="15"/>
                    <a:pt x="327" y="14"/>
                    <a:pt x="325" y="14"/>
                  </a:cubicBezTo>
                  <a:lnTo>
                    <a:pt x="315" y="14"/>
                  </a:lnTo>
                  <a:lnTo>
                    <a:pt x="315" y="47"/>
                  </a:lnTo>
                  <a:lnTo>
                    <a:pt x="325" y="47"/>
                  </a:lnTo>
                  <a:cubicBezTo>
                    <a:pt x="328" y="47"/>
                    <a:pt x="331" y="46"/>
                    <a:pt x="333" y="46"/>
                  </a:cubicBezTo>
                  <a:cubicBezTo>
                    <a:pt x="335" y="45"/>
                    <a:pt x="337" y="44"/>
                    <a:pt x="338" y="42"/>
                  </a:cubicBezTo>
                  <a:cubicBezTo>
                    <a:pt x="340" y="41"/>
                    <a:pt x="341" y="39"/>
                    <a:pt x="342" y="37"/>
                  </a:cubicBezTo>
                  <a:cubicBezTo>
                    <a:pt x="342" y="35"/>
                    <a:pt x="343" y="32"/>
                    <a:pt x="343" y="30"/>
                  </a:cubicBezTo>
                  <a:close/>
                  <a:moveTo>
                    <a:pt x="400" y="32"/>
                  </a:moveTo>
                  <a:cubicBezTo>
                    <a:pt x="400" y="33"/>
                    <a:pt x="400" y="34"/>
                    <a:pt x="400" y="35"/>
                  </a:cubicBezTo>
                  <a:cubicBezTo>
                    <a:pt x="400" y="35"/>
                    <a:pt x="400" y="36"/>
                    <a:pt x="400" y="36"/>
                  </a:cubicBezTo>
                  <a:cubicBezTo>
                    <a:pt x="400" y="36"/>
                    <a:pt x="399" y="37"/>
                    <a:pt x="399" y="37"/>
                  </a:cubicBezTo>
                  <a:cubicBezTo>
                    <a:pt x="399" y="37"/>
                    <a:pt x="399" y="37"/>
                    <a:pt x="398" y="37"/>
                  </a:cubicBezTo>
                  <a:cubicBezTo>
                    <a:pt x="398" y="37"/>
                    <a:pt x="398" y="37"/>
                    <a:pt x="397" y="37"/>
                  </a:cubicBezTo>
                  <a:cubicBezTo>
                    <a:pt x="397" y="37"/>
                    <a:pt x="396" y="36"/>
                    <a:pt x="396" y="36"/>
                  </a:cubicBezTo>
                  <a:cubicBezTo>
                    <a:pt x="395" y="36"/>
                    <a:pt x="394" y="36"/>
                    <a:pt x="394" y="36"/>
                  </a:cubicBezTo>
                  <a:cubicBezTo>
                    <a:pt x="393" y="36"/>
                    <a:pt x="392" y="35"/>
                    <a:pt x="391" y="35"/>
                  </a:cubicBezTo>
                  <a:cubicBezTo>
                    <a:pt x="390" y="35"/>
                    <a:pt x="389" y="36"/>
                    <a:pt x="388" y="36"/>
                  </a:cubicBezTo>
                  <a:cubicBezTo>
                    <a:pt x="387" y="37"/>
                    <a:pt x="386" y="37"/>
                    <a:pt x="385" y="38"/>
                  </a:cubicBezTo>
                  <a:cubicBezTo>
                    <a:pt x="384" y="39"/>
                    <a:pt x="383" y="40"/>
                    <a:pt x="381" y="42"/>
                  </a:cubicBezTo>
                  <a:cubicBezTo>
                    <a:pt x="380" y="44"/>
                    <a:pt x="379" y="46"/>
                    <a:pt x="377" y="48"/>
                  </a:cubicBezTo>
                  <a:lnTo>
                    <a:pt x="377" y="85"/>
                  </a:lnTo>
                  <a:cubicBezTo>
                    <a:pt x="377" y="85"/>
                    <a:pt x="377" y="85"/>
                    <a:pt x="377" y="86"/>
                  </a:cubicBezTo>
                  <a:cubicBezTo>
                    <a:pt x="377" y="86"/>
                    <a:pt x="377" y="86"/>
                    <a:pt x="376" y="86"/>
                  </a:cubicBezTo>
                  <a:cubicBezTo>
                    <a:pt x="376" y="86"/>
                    <a:pt x="375" y="87"/>
                    <a:pt x="375" y="87"/>
                  </a:cubicBezTo>
                  <a:cubicBezTo>
                    <a:pt x="374" y="87"/>
                    <a:pt x="373" y="87"/>
                    <a:pt x="372" y="87"/>
                  </a:cubicBezTo>
                  <a:cubicBezTo>
                    <a:pt x="371" y="87"/>
                    <a:pt x="370" y="87"/>
                    <a:pt x="370" y="87"/>
                  </a:cubicBezTo>
                  <a:cubicBezTo>
                    <a:pt x="369" y="87"/>
                    <a:pt x="369" y="86"/>
                    <a:pt x="368" y="86"/>
                  </a:cubicBezTo>
                  <a:cubicBezTo>
                    <a:pt x="368" y="86"/>
                    <a:pt x="367" y="86"/>
                    <a:pt x="367" y="86"/>
                  </a:cubicBezTo>
                  <a:cubicBezTo>
                    <a:pt x="367" y="85"/>
                    <a:pt x="367" y="85"/>
                    <a:pt x="367" y="85"/>
                  </a:cubicBezTo>
                  <a:lnTo>
                    <a:pt x="367" y="29"/>
                  </a:lnTo>
                  <a:cubicBezTo>
                    <a:pt x="367" y="28"/>
                    <a:pt x="367" y="28"/>
                    <a:pt x="367" y="28"/>
                  </a:cubicBezTo>
                  <a:cubicBezTo>
                    <a:pt x="367" y="27"/>
                    <a:pt x="368" y="27"/>
                    <a:pt x="368" y="27"/>
                  </a:cubicBezTo>
                  <a:cubicBezTo>
                    <a:pt x="368" y="27"/>
                    <a:pt x="369" y="27"/>
                    <a:pt x="369" y="27"/>
                  </a:cubicBezTo>
                  <a:cubicBezTo>
                    <a:pt x="370" y="27"/>
                    <a:pt x="371" y="27"/>
                    <a:pt x="372" y="27"/>
                  </a:cubicBezTo>
                  <a:cubicBezTo>
                    <a:pt x="373" y="27"/>
                    <a:pt x="373" y="27"/>
                    <a:pt x="374" y="27"/>
                  </a:cubicBezTo>
                  <a:cubicBezTo>
                    <a:pt x="375" y="27"/>
                    <a:pt x="375" y="27"/>
                    <a:pt x="375" y="27"/>
                  </a:cubicBezTo>
                  <a:cubicBezTo>
                    <a:pt x="376" y="27"/>
                    <a:pt x="376" y="27"/>
                    <a:pt x="376" y="28"/>
                  </a:cubicBezTo>
                  <a:cubicBezTo>
                    <a:pt x="376" y="28"/>
                    <a:pt x="376" y="28"/>
                    <a:pt x="376" y="29"/>
                  </a:cubicBezTo>
                  <a:lnTo>
                    <a:pt x="376" y="37"/>
                  </a:lnTo>
                  <a:cubicBezTo>
                    <a:pt x="378" y="34"/>
                    <a:pt x="379" y="33"/>
                    <a:pt x="381" y="31"/>
                  </a:cubicBezTo>
                  <a:cubicBezTo>
                    <a:pt x="382" y="30"/>
                    <a:pt x="383" y="29"/>
                    <a:pt x="385" y="28"/>
                  </a:cubicBezTo>
                  <a:cubicBezTo>
                    <a:pt x="386" y="27"/>
                    <a:pt x="387" y="27"/>
                    <a:pt x="388" y="26"/>
                  </a:cubicBezTo>
                  <a:cubicBezTo>
                    <a:pt x="389" y="26"/>
                    <a:pt x="391" y="26"/>
                    <a:pt x="392" y="26"/>
                  </a:cubicBezTo>
                  <a:cubicBezTo>
                    <a:pt x="392" y="26"/>
                    <a:pt x="393" y="26"/>
                    <a:pt x="394" y="26"/>
                  </a:cubicBezTo>
                  <a:cubicBezTo>
                    <a:pt x="394" y="26"/>
                    <a:pt x="395" y="26"/>
                    <a:pt x="396" y="26"/>
                  </a:cubicBezTo>
                  <a:cubicBezTo>
                    <a:pt x="397" y="26"/>
                    <a:pt x="397" y="27"/>
                    <a:pt x="398" y="27"/>
                  </a:cubicBezTo>
                  <a:cubicBezTo>
                    <a:pt x="398" y="27"/>
                    <a:pt x="399" y="27"/>
                    <a:pt x="399" y="27"/>
                  </a:cubicBezTo>
                  <a:cubicBezTo>
                    <a:pt x="399" y="28"/>
                    <a:pt x="400" y="28"/>
                    <a:pt x="400" y="28"/>
                  </a:cubicBezTo>
                  <a:cubicBezTo>
                    <a:pt x="400" y="28"/>
                    <a:pt x="400" y="28"/>
                    <a:pt x="400" y="29"/>
                  </a:cubicBezTo>
                  <a:cubicBezTo>
                    <a:pt x="400" y="29"/>
                    <a:pt x="400" y="29"/>
                    <a:pt x="400" y="30"/>
                  </a:cubicBezTo>
                  <a:cubicBezTo>
                    <a:pt x="400" y="31"/>
                    <a:pt x="400" y="31"/>
                    <a:pt x="400" y="32"/>
                  </a:cubicBezTo>
                  <a:close/>
                  <a:moveTo>
                    <a:pt x="467" y="56"/>
                  </a:moveTo>
                  <a:cubicBezTo>
                    <a:pt x="467" y="61"/>
                    <a:pt x="467" y="65"/>
                    <a:pt x="466" y="69"/>
                  </a:cubicBezTo>
                  <a:cubicBezTo>
                    <a:pt x="464" y="73"/>
                    <a:pt x="463" y="76"/>
                    <a:pt x="460" y="79"/>
                  </a:cubicBezTo>
                  <a:cubicBezTo>
                    <a:pt x="458" y="81"/>
                    <a:pt x="455" y="84"/>
                    <a:pt x="451" y="85"/>
                  </a:cubicBezTo>
                  <a:cubicBezTo>
                    <a:pt x="448" y="87"/>
                    <a:pt x="443" y="88"/>
                    <a:pt x="439" y="88"/>
                  </a:cubicBezTo>
                  <a:cubicBezTo>
                    <a:pt x="434" y="88"/>
                    <a:pt x="430" y="87"/>
                    <a:pt x="427" y="85"/>
                  </a:cubicBezTo>
                  <a:cubicBezTo>
                    <a:pt x="423" y="84"/>
                    <a:pt x="420" y="82"/>
                    <a:pt x="418" y="79"/>
                  </a:cubicBezTo>
                  <a:cubicBezTo>
                    <a:pt x="416" y="77"/>
                    <a:pt x="414" y="74"/>
                    <a:pt x="413" y="70"/>
                  </a:cubicBezTo>
                  <a:cubicBezTo>
                    <a:pt x="412" y="66"/>
                    <a:pt x="411" y="62"/>
                    <a:pt x="411" y="57"/>
                  </a:cubicBezTo>
                  <a:cubicBezTo>
                    <a:pt x="411" y="53"/>
                    <a:pt x="412" y="48"/>
                    <a:pt x="413" y="45"/>
                  </a:cubicBezTo>
                  <a:cubicBezTo>
                    <a:pt x="414" y="41"/>
                    <a:pt x="416" y="37"/>
                    <a:pt x="418" y="35"/>
                  </a:cubicBezTo>
                  <a:cubicBezTo>
                    <a:pt x="421" y="32"/>
                    <a:pt x="424" y="30"/>
                    <a:pt x="427" y="28"/>
                  </a:cubicBezTo>
                  <a:cubicBezTo>
                    <a:pt x="431" y="27"/>
                    <a:pt x="435" y="26"/>
                    <a:pt x="440" y="26"/>
                  </a:cubicBezTo>
                  <a:cubicBezTo>
                    <a:pt x="444" y="26"/>
                    <a:pt x="448" y="26"/>
                    <a:pt x="452" y="28"/>
                  </a:cubicBezTo>
                  <a:cubicBezTo>
                    <a:pt x="455" y="29"/>
                    <a:pt x="458" y="31"/>
                    <a:pt x="461" y="34"/>
                  </a:cubicBezTo>
                  <a:cubicBezTo>
                    <a:pt x="463" y="36"/>
                    <a:pt x="465" y="40"/>
                    <a:pt x="466" y="43"/>
                  </a:cubicBezTo>
                  <a:cubicBezTo>
                    <a:pt x="467" y="47"/>
                    <a:pt x="467" y="51"/>
                    <a:pt x="467" y="56"/>
                  </a:cubicBezTo>
                  <a:close/>
                  <a:moveTo>
                    <a:pt x="457" y="57"/>
                  </a:moveTo>
                  <a:cubicBezTo>
                    <a:pt x="457" y="54"/>
                    <a:pt x="456" y="51"/>
                    <a:pt x="456" y="48"/>
                  </a:cubicBezTo>
                  <a:cubicBezTo>
                    <a:pt x="455" y="45"/>
                    <a:pt x="454" y="43"/>
                    <a:pt x="453" y="41"/>
                  </a:cubicBezTo>
                  <a:cubicBezTo>
                    <a:pt x="452" y="39"/>
                    <a:pt x="450" y="37"/>
                    <a:pt x="448" y="36"/>
                  </a:cubicBezTo>
                  <a:cubicBezTo>
                    <a:pt x="446" y="35"/>
                    <a:pt x="443" y="34"/>
                    <a:pt x="439" y="34"/>
                  </a:cubicBezTo>
                  <a:cubicBezTo>
                    <a:pt x="436" y="34"/>
                    <a:pt x="434" y="35"/>
                    <a:pt x="432" y="36"/>
                  </a:cubicBezTo>
                  <a:cubicBezTo>
                    <a:pt x="429" y="37"/>
                    <a:pt x="427" y="39"/>
                    <a:pt x="426" y="41"/>
                  </a:cubicBezTo>
                  <a:cubicBezTo>
                    <a:pt x="425" y="43"/>
                    <a:pt x="424" y="45"/>
                    <a:pt x="423" y="48"/>
                  </a:cubicBezTo>
                  <a:cubicBezTo>
                    <a:pt x="422" y="50"/>
                    <a:pt x="422" y="53"/>
                    <a:pt x="422" y="56"/>
                  </a:cubicBezTo>
                  <a:cubicBezTo>
                    <a:pt x="422" y="60"/>
                    <a:pt x="422" y="62"/>
                    <a:pt x="423" y="65"/>
                  </a:cubicBezTo>
                  <a:cubicBezTo>
                    <a:pt x="423" y="68"/>
                    <a:pt x="424" y="70"/>
                    <a:pt x="426" y="72"/>
                  </a:cubicBezTo>
                  <a:cubicBezTo>
                    <a:pt x="427" y="74"/>
                    <a:pt x="429" y="76"/>
                    <a:pt x="431" y="77"/>
                  </a:cubicBezTo>
                  <a:cubicBezTo>
                    <a:pt x="433" y="78"/>
                    <a:pt x="436" y="79"/>
                    <a:pt x="439" y="79"/>
                  </a:cubicBezTo>
                  <a:cubicBezTo>
                    <a:pt x="442" y="79"/>
                    <a:pt x="445" y="78"/>
                    <a:pt x="447" y="77"/>
                  </a:cubicBezTo>
                  <a:cubicBezTo>
                    <a:pt x="449" y="76"/>
                    <a:pt x="451" y="75"/>
                    <a:pt x="453" y="73"/>
                  </a:cubicBezTo>
                  <a:cubicBezTo>
                    <a:pt x="454" y="71"/>
                    <a:pt x="455" y="68"/>
                    <a:pt x="456" y="66"/>
                  </a:cubicBezTo>
                  <a:cubicBezTo>
                    <a:pt x="456" y="63"/>
                    <a:pt x="457" y="60"/>
                    <a:pt x="457" y="57"/>
                  </a:cubicBezTo>
                  <a:close/>
                  <a:moveTo>
                    <a:pt x="527" y="85"/>
                  </a:moveTo>
                  <a:cubicBezTo>
                    <a:pt x="527" y="85"/>
                    <a:pt x="527" y="85"/>
                    <a:pt x="527" y="86"/>
                  </a:cubicBezTo>
                  <a:cubicBezTo>
                    <a:pt x="527" y="86"/>
                    <a:pt x="527" y="86"/>
                    <a:pt x="526" y="86"/>
                  </a:cubicBezTo>
                  <a:cubicBezTo>
                    <a:pt x="526" y="86"/>
                    <a:pt x="525" y="87"/>
                    <a:pt x="525" y="87"/>
                  </a:cubicBezTo>
                  <a:cubicBezTo>
                    <a:pt x="524" y="87"/>
                    <a:pt x="524" y="87"/>
                    <a:pt x="523" y="87"/>
                  </a:cubicBezTo>
                  <a:cubicBezTo>
                    <a:pt x="522" y="87"/>
                    <a:pt x="521" y="87"/>
                    <a:pt x="521" y="87"/>
                  </a:cubicBezTo>
                  <a:cubicBezTo>
                    <a:pt x="520" y="87"/>
                    <a:pt x="520" y="86"/>
                    <a:pt x="519" y="86"/>
                  </a:cubicBezTo>
                  <a:cubicBezTo>
                    <a:pt x="519" y="86"/>
                    <a:pt x="519" y="86"/>
                    <a:pt x="518" y="86"/>
                  </a:cubicBezTo>
                  <a:cubicBezTo>
                    <a:pt x="518" y="85"/>
                    <a:pt x="518" y="85"/>
                    <a:pt x="518" y="85"/>
                  </a:cubicBezTo>
                  <a:lnTo>
                    <a:pt x="518" y="77"/>
                  </a:lnTo>
                  <a:cubicBezTo>
                    <a:pt x="515" y="81"/>
                    <a:pt x="512" y="83"/>
                    <a:pt x="509" y="85"/>
                  </a:cubicBezTo>
                  <a:cubicBezTo>
                    <a:pt x="506" y="87"/>
                    <a:pt x="502" y="88"/>
                    <a:pt x="498" y="88"/>
                  </a:cubicBezTo>
                  <a:cubicBezTo>
                    <a:pt x="494" y="88"/>
                    <a:pt x="491" y="87"/>
                    <a:pt x="488" y="85"/>
                  </a:cubicBezTo>
                  <a:cubicBezTo>
                    <a:pt x="485" y="84"/>
                    <a:pt x="483" y="81"/>
                    <a:pt x="481" y="79"/>
                  </a:cubicBezTo>
                  <a:cubicBezTo>
                    <a:pt x="479" y="76"/>
                    <a:pt x="478" y="73"/>
                    <a:pt x="477" y="69"/>
                  </a:cubicBezTo>
                  <a:cubicBezTo>
                    <a:pt x="476" y="65"/>
                    <a:pt x="476" y="61"/>
                    <a:pt x="476" y="57"/>
                  </a:cubicBezTo>
                  <a:cubicBezTo>
                    <a:pt x="476" y="53"/>
                    <a:pt x="476" y="48"/>
                    <a:pt x="477" y="44"/>
                  </a:cubicBezTo>
                  <a:cubicBezTo>
                    <a:pt x="478" y="40"/>
                    <a:pt x="480" y="37"/>
                    <a:pt x="482" y="34"/>
                  </a:cubicBezTo>
                  <a:cubicBezTo>
                    <a:pt x="484" y="32"/>
                    <a:pt x="486" y="29"/>
                    <a:pt x="489" y="28"/>
                  </a:cubicBezTo>
                  <a:cubicBezTo>
                    <a:pt x="492" y="26"/>
                    <a:pt x="496" y="26"/>
                    <a:pt x="500" y="26"/>
                  </a:cubicBezTo>
                  <a:cubicBezTo>
                    <a:pt x="503" y="26"/>
                    <a:pt x="506" y="26"/>
                    <a:pt x="509" y="28"/>
                  </a:cubicBezTo>
                  <a:cubicBezTo>
                    <a:pt x="512" y="29"/>
                    <a:pt x="514" y="31"/>
                    <a:pt x="517" y="34"/>
                  </a:cubicBezTo>
                  <a:lnTo>
                    <a:pt x="517" y="2"/>
                  </a:lnTo>
                  <a:cubicBezTo>
                    <a:pt x="517" y="1"/>
                    <a:pt x="517" y="1"/>
                    <a:pt x="517" y="1"/>
                  </a:cubicBezTo>
                  <a:cubicBezTo>
                    <a:pt x="517" y="0"/>
                    <a:pt x="518" y="0"/>
                    <a:pt x="518" y="0"/>
                  </a:cubicBezTo>
                  <a:cubicBezTo>
                    <a:pt x="518" y="0"/>
                    <a:pt x="519" y="0"/>
                    <a:pt x="520" y="0"/>
                  </a:cubicBezTo>
                  <a:cubicBezTo>
                    <a:pt x="520" y="0"/>
                    <a:pt x="521" y="0"/>
                    <a:pt x="522" y="0"/>
                  </a:cubicBezTo>
                  <a:cubicBezTo>
                    <a:pt x="523" y="0"/>
                    <a:pt x="524" y="0"/>
                    <a:pt x="525" y="0"/>
                  </a:cubicBezTo>
                  <a:cubicBezTo>
                    <a:pt x="525" y="0"/>
                    <a:pt x="526" y="0"/>
                    <a:pt x="526" y="0"/>
                  </a:cubicBezTo>
                  <a:cubicBezTo>
                    <a:pt x="527" y="0"/>
                    <a:pt x="527" y="0"/>
                    <a:pt x="527" y="1"/>
                  </a:cubicBezTo>
                  <a:cubicBezTo>
                    <a:pt x="527" y="1"/>
                    <a:pt x="527" y="1"/>
                    <a:pt x="527" y="2"/>
                  </a:cubicBezTo>
                  <a:lnTo>
                    <a:pt x="527" y="85"/>
                  </a:lnTo>
                  <a:close/>
                  <a:moveTo>
                    <a:pt x="517" y="45"/>
                  </a:moveTo>
                  <a:cubicBezTo>
                    <a:pt x="514" y="42"/>
                    <a:pt x="511" y="39"/>
                    <a:pt x="509" y="37"/>
                  </a:cubicBezTo>
                  <a:cubicBezTo>
                    <a:pt x="506" y="36"/>
                    <a:pt x="503" y="35"/>
                    <a:pt x="501" y="35"/>
                  </a:cubicBezTo>
                  <a:cubicBezTo>
                    <a:pt x="498" y="35"/>
                    <a:pt x="496" y="35"/>
                    <a:pt x="494" y="36"/>
                  </a:cubicBezTo>
                  <a:cubicBezTo>
                    <a:pt x="492" y="38"/>
                    <a:pt x="491" y="39"/>
                    <a:pt x="489" y="41"/>
                  </a:cubicBezTo>
                  <a:cubicBezTo>
                    <a:pt x="488" y="43"/>
                    <a:pt x="488" y="46"/>
                    <a:pt x="487" y="48"/>
                  </a:cubicBezTo>
                  <a:cubicBezTo>
                    <a:pt x="486" y="51"/>
                    <a:pt x="486" y="54"/>
                    <a:pt x="486" y="56"/>
                  </a:cubicBezTo>
                  <a:cubicBezTo>
                    <a:pt x="486" y="59"/>
                    <a:pt x="486" y="62"/>
                    <a:pt x="487" y="65"/>
                  </a:cubicBezTo>
                  <a:cubicBezTo>
                    <a:pt x="487" y="67"/>
                    <a:pt x="488" y="70"/>
                    <a:pt x="489" y="72"/>
                  </a:cubicBezTo>
                  <a:cubicBezTo>
                    <a:pt x="490" y="74"/>
                    <a:pt x="492" y="76"/>
                    <a:pt x="493" y="77"/>
                  </a:cubicBezTo>
                  <a:cubicBezTo>
                    <a:pt x="495" y="78"/>
                    <a:pt x="498" y="79"/>
                    <a:pt x="500" y="79"/>
                  </a:cubicBezTo>
                  <a:cubicBezTo>
                    <a:pt x="502" y="79"/>
                    <a:pt x="503" y="79"/>
                    <a:pt x="504" y="78"/>
                  </a:cubicBezTo>
                  <a:cubicBezTo>
                    <a:pt x="505" y="78"/>
                    <a:pt x="507" y="77"/>
                    <a:pt x="508" y="76"/>
                  </a:cubicBezTo>
                  <a:cubicBezTo>
                    <a:pt x="509" y="75"/>
                    <a:pt x="511" y="74"/>
                    <a:pt x="512" y="73"/>
                  </a:cubicBezTo>
                  <a:cubicBezTo>
                    <a:pt x="514" y="72"/>
                    <a:pt x="515" y="70"/>
                    <a:pt x="517" y="68"/>
                  </a:cubicBezTo>
                  <a:lnTo>
                    <a:pt x="517" y="45"/>
                  </a:lnTo>
                  <a:close/>
                  <a:moveTo>
                    <a:pt x="591" y="85"/>
                  </a:moveTo>
                  <a:cubicBezTo>
                    <a:pt x="591" y="85"/>
                    <a:pt x="591" y="85"/>
                    <a:pt x="591" y="86"/>
                  </a:cubicBezTo>
                  <a:cubicBezTo>
                    <a:pt x="591" y="86"/>
                    <a:pt x="591" y="86"/>
                    <a:pt x="590" y="86"/>
                  </a:cubicBezTo>
                  <a:cubicBezTo>
                    <a:pt x="590" y="86"/>
                    <a:pt x="589" y="87"/>
                    <a:pt x="589" y="87"/>
                  </a:cubicBezTo>
                  <a:cubicBezTo>
                    <a:pt x="588" y="87"/>
                    <a:pt x="587" y="87"/>
                    <a:pt x="587" y="87"/>
                  </a:cubicBezTo>
                  <a:cubicBezTo>
                    <a:pt x="586" y="87"/>
                    <a:pt x="585" y="87"/>
                    <a:pt x="584" y="87"/>
                  </a:cubicBezTo>
                  <a:cubicBezTo>
                    <a:pt x="584" y="87"/>
                    <a:pt x="583" y="86"/>
                    <a:pt x="583" y="86"/>
                  </a:cubicBezTo>
                  <a:cubicBezTo>
                    <a:pt x="582" y="86"/>
                    <a:pt x="582" y="86"/>
                    <a:pt x="582" y="86"/>
                  </a:cubicBezTo>
                  <a:cubicBezTo>
                    <a:pt x="582" y="85"/>
                    <a:pt x="582" y="85"/>
                    <a:pt x="582" y="85"/>
                  </a:cubicBezTo>
                  <a:lnTo>
                    <a:pt x="582" y="77"/>
                  </a:lnTo>
                  <a:cubicBezTo>
                    <a:pt x="579" y="81"/>
                    <a:pt x="576" y="83"/>
                    <a:pt x="572" y="85"/>
                  </a:cubicBezTo>
                  <a:cubicBezTo>
                    <a:pt x="569" y="87"/>
                    <a:pt x="566" y="88"/>
                    <a:pt x="563" y="88"/>
                  </a:cubicBezTo>
                  <a:cubicBezTo>
                    <a:pt x="559" y="88"/>
                    <a:pt x="556" y="87"/>
                    <a:pt x="553" y="86"/>
                  </a:cubicBezTo>
                  <a:cubicBezTo>
                    <a:pt x="551" y="84"/>
                    <a:pt x="549" y="83"/>
                    <a:pt x="547" y="81"/>
                  </a:cubicBezTo>
                  <a:cubicBezTo>
                    <a:pt x="546" y="78"/>
                    <a:pt x="544" y="76"/>
                    <a:pt x="544" y="73"/>
                  </a:cubicBezTo>
                  <a:cubicBezTo>
                    <a:pt x="543" y="70"/>
                    <a:pt x="543" y="67"/>
                    <a:pt x="543" y="63"/>
                  </a:cubicBezTo>
                  <a:lnTo>
                    <a:pt x="543" y="29"/>
                  </a:lnTo>
                  <a:cubicBezTo>
                    <a:pt x="543" y="28"/>
                    <a:pt x="543" y="28"/>
                    <a:pt x="543" y="28"/>
                  </a:cubicBezTo>
                  <a:cubicBezTo>
                    <a:pt x="543" y="27"/>
                    <a:pt x="543" y="27"/>
                    <a:pt x="544" y="27"/>
                  </a:cubicBezTo>
                  <a:cubicBezTo>
                    <a:pt x="544" y="27"/>
                    <a:pt x="545" y="27"/>
                    <a:pt x="545" y="27"/>
                  </a:cubicBezTo>
                  <a:cubicBezTo>
                    <a:pt x="546" y="27"/>
                    <a:pt x="547" y="27"/>
                    <a:pt x="548" y="27"/>
                  </a:cubicBezTo>
                  <a:cubicBezTo>
                    <a:pt x="549" y="27"/>
                    <a:pt x="550" y="27"/>
                    <a:pt x="550" y="27"/>
                  </a:cubicBezTo>
                  <a:cubicBezTo>
                    <a:pt x="551" y="27"/>
                    <a:pt x="552" y="27"/>
                    <a:pt x="552" y="27"/>
                  </a:cubicBezTo>
                  <a:cubicBezTo>
                    <a:pt x="552" y="27"/>
                    <a:pt x="553" y="27"/>
                    <a:pt x="553" y="28"/>
                  </a:cubicBezTo>
                  <a:cubicBezTo>
                    <a:pt x="553" y="28"/>
                    <a:pt x="553" y="28"/>
                    <a:pt x="553" y="29"/>
                  </a:cubicBezTo>
                  <a:lnTo>
                    <a:pt x="553" y="61"/>
                  </a:lnTo>
                  <a:cubicBezTo>
                    <a:pt x="553" y="65"/>
                    <a:pt x="553" y="67"/>
                    <a:pt x="554" y="69"/>
                  </a:cubicBezTo>
                  <a:cubicBezTo>
                    <a:pt x="554" y="71"/>
                    <a:pt x="555" y="73"/>
                    <a:pt x="556" y="74"/>
                  </a:cubicBezTo>
                  <a:cubicBezTo>
                    <a:pt x="557" y="76"/>
                    <a:pt x="558" y="77"/>
                    <a:pt x="560" y="78"/>
                  </a:cubicBezTo>
                  <a:cubicBezTo>
                    <a:pt x="561" y="78"/>
                    <a:pt x="563" y="79"/>
                    <a:pt x="565" y="79"/>
                  </a:cubicBezTo>
                  <a:cubicBezTo>
                    <a:pt x="568" y="79"/>
                    <a:pt x="570" y="78"/>
                    <a:pt x="573" y="76"/>
                  </a:cubicBezTo>
                  <a:cubicBezTo>
                    <a:pt x="575" y="74"/>
                    <a:pt x="578" y="71"/>
                    <a:pt x="581" y="68"/>
                  </a:cubicBezTo>
                  <a:lnTo>
                    <a:pt x="581" y="29"/>
                  </a:lnTo>
                  <a:cubicBezTo>
                    <a:pt x="581" y="28"/>
                    <a:pt x="581" y="28"/>
                    <a:pt x="581" y="28"/>
                  </a:cubicBezTo>
                  <a:cubicBezTo>
                    <a:pt x="581" y="27"/>
                    <a:pt x="582" y="27"/>
                    <a:pt x="582" y="27"/>
                  </a:cubicBezTo>
                  <a:cubicBezTo>
                    <a:pt x="582" y="27"/>
                    <a:pt x="583" y="27"/>
                    <a:pt x="584" y="27"/>
                  </a:cubicBezTo>
                  <a:cubicBezTo>
                    <a:pt x="584" y="27"/>
                    <a:pt x="585" y="27"/>
                    <a:pt x="586" y="27"/>
                  </a:cubicBezTo>
                  <a:cubicBezTo>
                    <a:pt x="587" y="27"/>
                    <a:pt x="588" y="27"/>
                    <a:pt x="589" y="27"/>
                  </a:cubicBezTo>
                  <a:cubicBezTo>
                    <a:pt x="589" y="27"/>
                    <a:pt x="590" y="27"/>
                    <a:pt x="590" y="27"/>
                  </a:cubicBezTo>
                  <a:cubicBezTo>
                    <a:pt x="591" y="27"/>
                    <a:pt x="591" y="27"/>
                    <a:pt x="591" y="28"/>
                  </a:cubicBezTo>
                  <a:cubicBezTo>
                    <a:pt x="591" y="28"/>
                    <a:pt x="591" y="28"/>
                    <a:pt x="591" y="29"/>
                  </a:cubicBezTo>
                  <a:lnTo>
                    <a:pt x="591" y="85"/>
                  </a:lnTo>
                  <a:close/>
                  <a:moveTo>
                    <a:pt x="648" y="76"/>
                  </a:moveTo>
                  <a:cubicBezTo>
                    <a:pt x="648" y="77"/>
                    <a:pt x="648" y="78"/>
                    <a:pt x="647" y="78"/>
                  </a:cubicBezTo>
                  <a:cubicBezTo>
                    <a:pt x="647" y="79"/>
                    <a:pt x="647" y="79"/>
                    <a:pt x="647" y="79"/>
                  </a:cubicBezTo>
                  <a:cubicBezTo>
                    <a:pt x="647" y="80"/>
                    <a:pt x="647" y="80"/>
                    <a:pt x="647" y="80"/>
                  </a:cubicBezTo>
                  <a:cubicBezTo>
                    <a:pt x="647" y="81"/>
                    <a:pt x="646" y="81"/>
                    <a:pt x="646" y="82"/>
                  </a:cubicBezTo>
                  <a:cubicBezTo>
                    <a:pt x="645" y="82"/>
                    <a:pt x="644" y="83"/>
                    <a:pt x="643" y="83"/>
                  </a:cubicBezTo>
                  <a:cubicBezTo>
                    <a:pt x="642" y="84"/>
                    <a:pt x="641" y="85"/>
                    <a:pt x="639" y="86"/>
                  </a:cubicBezTo>
                  <a:cubicBezTo>
                    <a:pt x="637" y="86"/>
                    <a:pt x="636" y="87"/>
                    <a:pt x="634" y="87"/>
                  </a:cubicBezTo>
                  <a:cubicBezTo>
                    <a:pt x="632" y="87"/>
                    <a:pt x="630" y="88"/>
                    <a:pt x="628" y="88"/>
                  </a:cubicBezTo>
                  <a:cubicBezTo>
                    <a:pt x="624" y="88"/>
                    <a:pt x="621" y="87"/>
                    <a:pt x="617" y="86"/>
                  </a:cubicBezTo>
                  <a:cubicBezTo>
                    <a:pt x="614" y="84"/>
                    <a:pt x="612" y="82"/>
                    <a:pt x="610" y="80"/>
                  </a:cubicBezTo>
                  <a:cubicBezTo>
                    <a:pt x="608" y="77"/>
                    <a:pt x="606" y="74"/>
                    <a:pt x="605" y="70"/>
                  </a:cubicBezTo>
                  <a:cubicBezTo>
                    <a:pt x="604" y="67"/>
                    <a:pt x="603" y="62"/>
                    <a:pt x="603" y="57"/>
                  </a:cubicBezTo>
                  <a:cubicBezTo>
                    <a:pt x="603" y="52"/>
                    <a:pt x="604" y="47"/>
                    <a:pt x="605" y="43"/>
                  </a:cubicBezTo>
                  <a:cubicBezTo>
                    <a:pt x="607" y="39"/>
                    <a:pt x="608" y="36"/>
                    <a:pt x="611" y="33"/>
                  </a:cubicBezTo>
                  <a:cubicBezTo>
                    <a:pt x="613" y="31"/>
                    <a:pt x="616" y="29"/>
                    <a:pt x="619" y="28"/>
                  </a:cubicBezTo>
                  <a:cubicBezTo>
                    <a:pt x="622" y="26"/>
                    <a:pt x="626" y="26"/>
                    <a:pt x="629" y="26"/>
                  </a:cubicBezTo>
                  <a:cubicBezTo>
                    <a:pt x="631" y="26"/>
                    <a:pt x="633" y="26"/>
                    <a:pt x="635" y="26"/>
                  </a:cubicBezTo>
                  <a:cubicBezTo>
                    <a:pt x="636" y="27"/>
                    <a:pt x="638" y="27"/>
                    <a:pt x="639" y="28"/>
                  </a:cubicBezTo>
                  <a:cubicBezTo>
                    <a:pt x="641" y="28"/>
                    <a:pt x="642" y="29"/>
                    <a:pt x="643" y="29"/>
                  </a:cubicBezTo>
                  <a:cubicBezTo>
                    <a:pt x="644" y="30"/>
                    <a:pt x="645" y="31"/>
                    <a:pt x="645" y="31"/>
                  </a:cubicBezTo>
                  <a:cubicBezTo>
                    <a:pt x="646" y="32"/>
                    <a:pt x="646" y="32"/>
                    <a:pt x="646" y="32"/>
                  </a:cubicBezTo>
                  <a:cubicBezTo>
                    <a:pt x="647" y="33"/>
                    <a:pt x="647" y="33"/>
                    <a:pt x="647" y="34"/>
                  </a:cubicBezTo>
                  <a:cubicBezTo>
                    <a:pt x="647" y="34"/>
                    <a:pt x="647" y="34"/>
                    <a:pt x="647" y="35"/>
                  </a:cubicBezTo>
                  <a:cubicBezTo>
                    <a:pt x="647" y="35"/>
                    <a:pt x="647" y="36"/>
                    <a:pt x="647" y="37"/>
                  </a:cubicBezTo>
                  <a:cubicBezTo>
                    <a:pt x="647" y="38"/>
                    <a:pt x="647" y="40"/>
                    <a:pt x="647" y="40"/>
                  </a:cubicBezTo>
                  <a:cubicBezTo>
                    <a:pt x="646" y="41"/>
                    <a:pt x="646" y="41"/>
                    <a:pt x="645" y="41"/>
                  </a:cubicBezTo>
                  <a:cubicBezTo>
                    <a:pt x="645" y="41"/>
                    <a:pt x="644" y="41"/>
                    <a:pt x="643" y="40"/>
                  </a:cubicBezTo>
                  <a:cubicBezTo>
                    <a:pt x="642" y="39"/>
                    <a:pt x="641" y="39"/>
                    <a:pt x="640" y="38"/>
                  </a:cubicBezTo>
                  <a:cubicBezTo>
                    <a:pt x="639" y="37"/>
                    <a:pt x="637" y="36"/>
                    <a:pt x="636" y="36"/>
                  </a:cubicBezTo>
                  <a:cubicBezTo>
                    <a:pt x="634" y="35"/>
                    <a:pt x="632" y="34"/>
                    <a:pt x="629" y="34"/>
                  </a:cubicBezTo>
                  <a:cubicBezTo>
                    <a:pt x="624" y="34"/>
                    <a:pt x="621" y="36"/>
                    <a:pt x="618" y="40"/>
                  </a:cubicBezTo>
                  <a:cubicBezTo>
                    <a:pt x="615" y="44"/>
                    <a:pt x="614" y="50"/>
                    <a:pt x="614" y="57"/>
                  </a:cubicBezTo>
                  <a:cubicBezTo>
                    <a:pt x="614" y="60"/>
                    <a:pt x="614" y="64"/>
                    <a:pt x="615" y="66"/>
                  </a:cubicBezTo>
                  <a:cubicBezTo>
                    <a:pt x="616" y="69"/>
                    <a:pt x="617" y="71"/>
                    <a:pt x="618" y="73"/>
                  </a:cubicBezTo>
                  <a:cubicBezTo>
                    <a:pt x="619" y="75"/>
                    <a:pt x="621" y="76"/>
                    <a:pt x="623" y="77"/>
                  </a:cubicBezTo>
                  <a:cubicBezTo>
                    <a:pt x="625" y="78"/>
                    <a:pt x="627" y="79"/>
                    <a:pt x="630" y="79"/>
                  </a:cubicBezTo>
                  <a:cubicBezTo>
                    <a:pt x="632" y="79"/>
                    <a:pt x="634" y="78"/>
                    <a:pt x="636" y="77"/>
                  </a:cubicBezTo>
                  <a:cubicBezTo>
                    <a:pt x="638" y="77"/>
                    <a:pt x="639" y="76"/>
                    <a:pt x="640" y="75"/>
                  </a:cubicBezTo>
                  <a:cubicBezTo>
                    <a:pt x="642" y="74"/>
                    <a:pt x="643" y="73"/>
                    <a:pt x="644" y="73"/>
                  </a:cubicBezTo>
                  <a:cubicBezTo>
                    <a:pt x="645" y="72"/>
                    <a:pt x="645" y="71"/>
                    <a:pt x="646" y="71"/>
                  </a:cubicBezTo>
                  <a:cubicBezTo>
                    <a:pt x="646" y="71"/>
                    <a:pt x="646" y="72"/>
                    <a:pt x="647" y="72"/>
                  </a:cubicBezTo>
                  <a:cubicBezTo>
                    <a:pt x="647" y="72"/>
                    <a:pt x="647" y="72"/>
                    <a:pt x="647" y="73"/>
                  </a:cubicBezTo>
                  <a:cubicBezTo>
                    <a:pt x="647" y="73"/>
                    <a:pt x="647" y="73"/>
                    <a:pt x="647" y="74"/>
                  </a:cubicBezTo>
                  <a:cubicBezTo>
                    <a:pt x="647" y="75"/>
                    <a:pt x="648" y="75"/>
                    <a:pt x="648" y="76"/>
                  </a:cubicBezTo>
                  <a:close/>
                  <a:moveTo>
                    <a:pt x="700" y="81"/>
                  </a:moveTo>
                  <a:cubicBezTo>
                    <a:pt x="700" y="82"/>
                    <a:pt x="700" y="83"/>
                    <a:pt x="700" y="84"/>
                  </a:cubicBezTo>
                  <a:cubicBezTo>
                    <a:pt x="700" y="84"/>
                    <a:pt x="700" y="85"/>
                    <a:pt x="699" y="85"/>
                  </a:cubicBezTo>
                  <a:cubicBezTo>
                    <a:pt x="699" y="85"/>
                    <a:pt x="699" y="86"/>
                    <a:pt x="698" y="86"/>
                  </a:cubicBezTo>
                  <a:cubicBezTo>
                    <a:pt x="697" y="86"/>
                    <a:pt x="696" y="87"/>
                    <a:pt x="696" y="87"/>
                  </a:cubicBezTo>
                  <a:cubicBezTo>
                    <a:pt x="695" y="87"/>
                    <a:pt x="694" y="87"/>
                    <a:pt x="693" y="87"/>
                  </a:cubicBezTo>
                  <a:cubicBezTo>
                    <a:pt x="692" y="87"/>
                    <a:pt x="691" y="87"/>
                    <a:pt x="690" y="87"/>
                  </a:cubicBezTo>
                  <a:cubicBezTo>
                    <a:pt x="687" y="87"/>
                    <a:pt x="685" y="87"/>
                    <a:pt x="682" y="86"/>
                  </a:cubicBezTo>
                  <a:cubicBezTo>
                    <a:pt x="680" y="86"/>
                    <a:pt x="679" y="84"/>
                    <a:pt x="677" y="83"/>
                  </a:cubicBezTo>
                  <a:cubicBezTo>
                    <a:pt x="676" y="81"/>
                    <a:pt x="675" y="79"/>
                    <a:pt x="674" y="77"/>
                  </a:cubicBezTo>
                  <a:cubicBezTo>
                    <a:pt x="674" y="74"/>
                    <a:pt x="674" y="72"/>
                    <a:pt x="674" y="68"/>
                  </a:cubicBezTo>
                  <a:lnTo>
                    <a:pt x="674" y="35"/>
                  </a:lnTo>
                  <a:lnTo>
                    <a:pt x="666" y="35"/>
                  </a:lnTo>
                  <a:cubicBezTo>
                    <a:pt x="665" y="35"/>
                    <a:pt x="665" y="35"/>
                    <a:pt x="664" y="34"/>
                  </a:cubicBezTo>
                  <a:cubicBezTo>
                    <a:pt x="664" y="34"/>
                    <a:pt x="664" y="33"/>
                    <a:pt x="664" y="31"/>
                  </a:cubicBezTo>
                  <a:cubicBezTo>
                    <a:pt x="664" y="30"/>
                    <a:pt x="664" y="30"/>
                    <a:pt x="664" y="29"/>
                  </a:cubicBezTo>
                  <a:cubicBezTo>
                    <a:pt x="664" y="29"/>
                    <a:pt x="664" y="28"/>
                    <a:pt x="664" y="28"/>
                  </a:cubicBezTo>
                  <a:cubicBezTo>
                    <a:pt x="664" y="28"/>
                    <a:pt x="665" y="27"/>
                    <a:pt x="665" y="27"/>
                  </a:cubicBezTo>
                  <a:cubicBezTo>
                    <a:pt x="665" y="27"/>
                    <a:pt x="665" y="27"/>
                    <a:pt x="666" y="27"/>
                  </a:cubicBezTo>
                  <a:lnTo>
                    <a:pt x="674" y="27"/>
                  </a:lnTo>
                  <a:lnTo>
                    <a:pt x="674" y="14"/>
                  </a:lnTo>
                  <a:cubicBezTo>
                    <a:pt x="674" y="13"/>
                    <a:pt x="674" y="13"/>
                    <a:pt x="674" y="13"/>
                  </a:cubicBezTo>
                  <a:cubicBezTo>
                    <a:pt x="674" y="12"/>
                    <a:pt x="674" y="12"/>
                    <a:pt x="675" y="12"/>
                  </a:cubicBezTo>
                  <a:cubicBezTo>
                    <a:pt x="675" y="12"/>
                    <a:pt x="675" y="12"/>
                    <a:pt x="676" y="12"/>
                  </a:cubicBezTo>
                  <a:cubicBezTo>
                    <a:pt x="677" y="12"/>
                    <a:pt x="678" y="12"/>
                    <a:pt x="679" y="12"/>
                  </a:cubicBezTo>
                  <a:cubicBezTo>
                    <a:pt x="680" y="12"/>
                    <a:pt x="681" y="12"/>
                    <a:pt x="681" y="12"/>
                  </a:cubicBezTo>
                  <a:cubicBezTo>
                    <a:pt x="682" y="12"/>
                    <a:pt x="682" y="12"/>
                    <a:pt x="683" y="12"/>
                  </a:cubicBezTo>
                  <a:cubicBezTo>
                    <a:pt x="683" y="12"/>
                    <a:pt x="683" y="12"/>
                    <a:pt x="684" y="13"/>
                  </a:cubicBezTo>
                  <a:cubicBezTo>
                    <a:pt x="684" y="13"/>
                    <a:pt x="684" y="13"/>
                    <a:pt x="684" y="14"/>
                  </a:cubicBezTo>
                  <a:lnTo>
                    <a:pt x="684" y="27"/>
                  </a:lnTo>
                  <a:lnTo>
                    <a:pt x="698" y="27"/>
                  </a:lnTo>
                  <a:cubicBezTo>
                    <a:pt x="699" y="27"/>
                    <a:pt x="699" y="27"/>
                    <a:pt x="699" y="27"/>
                  </a:cubicBezTo>
                  <a:cubicBezTo>
                    <a:pt x="699" y="27"/>
                    <a:pt x="700" y="28"/>
                    <a:pt x="700" y="28"/>
                  </a:cubicBezTo>
                  <a:cubicBezTo>
                    <a:pt x="700" y="28"/>
                    <a:pt x="700" y="29"/>
                    <a:pt x="700" y="29"/>
                  </a:cubicBezTo>
                  <a:cubicBezTo>
                    <a:pt x="700" y="30"/>
                    <a:pt x="700" y="30"/>
                    <a:pt x="700" y="31"/>
                  </a:cubicBezTo>
                  <a:cubicBezTo>
                    <a:pt x="700" y="33"/>
                    <a:pt x="700" y="34"/>
                    <a:pt x="700" y="34"/>
                  </a:cubicBezTo>
                  <a:cubicBezTo>
                    <a:pt x="699" y="35"/>
                    <a:pt x="699" y="35"/>
                    <a:pt x="698" y="35"/>
                  </a:cubicBezTo>
                  <a:lnTo>
                    <a:pt x="684" y="35"/>
                  </a:lnTo>
                  <a:lnTo>
                    <a:pt x="684" y="67"/>
                  </a:lnTo>
                  <a:cubicBezTo>
                    <a:pt x="684" y="71"/>
                    <a:pt x="684" y="74"/>
                    <a:pt x="686" y="76"/>
                  </a:cubicBezTo>
                  <a:cubicBezTo>
                    <a:pt x="687" y="78"/>
                    <a:pt x="689" y="79"/>
                    <a:pt x="692" y="79"/>
                  </a:cubicBezTo>
                  <a:cubicBezTo>
                    <a:pt x="693" y="79"/>
                    <a:pt x="694" y="79"/>
                    <a:pt x="694" y="78"/>
                  </a:cubicBezTo>
                  <a:cubicBezTo>
                    <a:pt x="695" y="78"/>
                    <a:pt x="696" y="78"/>
                    <a:pt x="696" y="78"/>
                  </a:cubicBezTo>
                  <a:cubicBezTo>
                    <a:pt x="697" y="78"/>
                    <a:pt x="697" y="77"/>
                    <a:pt x="698" y="77"/>
                  </a:cubicBezTo>
                  <a:cubicBezTo>
                    <a:pt x="698" y="77"/>
                    <a:pt x="699" y="77"/>
                    <a:pt x="699" y="77"/>
                  </a:cubicBezTo>
                  <a:cubicBezTo>
                    <a:pt x="699" y="77"/>
                    <a:pt x="699" y="77"/>
                    <a:pt x="699" y="77"/>
                  </a:cubicBezTo>
                  <a:cubicBezTo>
                    <a:pt x="700" y="77"/>
                    <a:pt x="700" y="77"/>
                    <a:pt x="700" y="78"/>
                  </a:cubicBezTo>
                  <a:cubicBezTo>
                    <a:pt x="700" y="78"/>
                    <a:pt x="700" y="78"/>
                    <a:pt x="700" y="79"/>
                  </a:cubicBezTo>
                  <a:cubicBezTo>
                    <a:pt x="700" y="79"/>
                    <a:pt x="700" y="80"/>
                    <a:pt x="700" y="81"/>
                  </a:cubicBez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3">
              <a:extLst>
                <a:ext uri="{FF2B5EF4-FFF2-40B4-BE49-F238E27FC236}">
                  <a16:creationId xmlns:a16="http://schemas.microsoft.com/office/drawing/2014/main" id="{8B817830-8A3A-4172-92A1-AE1C5F53EBCD}"/>
                </a:ext>
              </a:extLst>
            </p:cNvPr>
            <p:cNvSpPr>
              <a:spLocks noEditPoints="1"/>
            </p:cNvSpPr>
            <p:nvPr/>
          </p:nvSpPr>
          <p:spPr bwMode="auto">
            <a:xfrm>
              <a:off x="5293" y="1436"/>
              <a:ext cx="295" cy="39"/>
            </a:xfrm>
            <a:custGeom>
              <a:avLst/>
              <a:gdLst>
                <a:gd name="T0" fmla="*/ 59 w 660"/>
                <a:gd name="T1" fmla="*/ 87 h 88"/>
                <a:gd name="T2" fmla="*/ 9 w 660"/>
                <a:gd name="T3" fmla="*/ 87 h 88"/>
                <a:gd name="T4" fmla="*/ 27 w 660"/>
                <a:gd name="T5" fmla="*/ 8 h 88"/>
                <a:gd name="T6" fmla="*/ 41 w 660"/>
                <a:gd name="T7" fmla="*/ 7 h 88"/>
                <a:gd name="T8" fmla="*/ 34 w 660"/>
                <a:gd name="T9" fmla="*/ 17 h 88"/>
                <a:gd name="T10" fmla="*/ 127 w 660"/>
                <a:gd name="T11" fmla="*/ 87 h 88"/>
                <a:gd name="T12" fmla="*/ 89 w 660"/>
                <a:gd name="T13" fmla="*/ 79 h 88"/>
                <a:gd name="T14" fmla="*/ 117 w 660"/>
                <a:gd name="T15" fmla="*/ 28 h 88"/>
                <a:gd name="T16" fmla="*/ 133 w 660"/>
                <a:gd name="T17" fmla="*/ 0 h 88"/>
                <a:gd name="T18" fmla="*/ 109 w 660"/>
                <a:gd name="T19" fmla="*/ 35 h 88"/>
                <a:gd name="T20" fmla="*/ 101 w 660"/>
                <a:gd name="T21" fmla="*/ 77 h 88"/>
                <a:gd name="T22" fmla="*/ 199 w 660"/>
                <a:gd name="T23" fmla="*/ 85 h 88"/>
                <a:gd name="T24" fmla="*/ 190 w 660"/>
                <a:gd name="T25" fmla="*/ 86 h 88"/>
                <a:gd name="T26" fmla="*/ 149 w 660"/>
                <a:gd name="T27" fmla="*/ 70 h 88"/>
                <a:gd name="T28" fmla="*/ 189 w 660"/>
                <a:gd name="T29" fmla="*/ 35 h 88"/>
                <a:gd name="T30" fmla="*/ 198 w 660"/>
                <a:gd name="T31" fmla="*/ 1 h 88"/>
                <a:gd name="T32" fmla="*/ 166 w 660"/>
                <a:gd name="T33" fmla="*/ 37 h 88"/>
                <a:gd name="T34" fmla="*/ 172 w 660"/>
                <a:gd name="T35" fmla="*/ 79 h 88"/>
                <a:gd name="T36" fmla="*/ 262 w 660"/>
                <a:gd name="T37" fmla="*/ 58 h 88"/>
                <a:gd name="T38" fmla="*/ 248 w 660"/>
                <a:gd name="T39" fmla="*/ 79 h 88"/>
                <a:gd name="T40" fmla="*/ 261 w 660"/>
                <a:gd name="T41" fmla="*/ 80 h 88"/>
                <a:gd name="T42" fmla="*/ 247 w 660"/>
                <a:gd name="T43" fmla="*/ 88 h 88"/>
                <a:gd name="T44" fmla="*/ 219 w 660"/>
                <a:gd name="T45" fmla="*/ 35 h 88"/>
                <a:gd name="T46" fmla="*/ 263 w 660"/>
                <a:gd name="T47" fmla="*/ 55 h 88"/>
                <a:gd name="T48" fmla="*/ 222 w 660"/>
                <a:gd name="T49" fmla="*/ 52 h 88"/>
                <a:gd name="T50" fmla="*/ 321 w 660"/>
                <a:gd name="T51" fmla="*/ 87 h 88"/>
                <a:gd name="T52" fmla="*/ 288 w 660"/>
                <a:gd name="T53" fmla="*/ 86 h 88"/>
                <a:gd name="T54" fmla="*/ 300 w 660"/>
                <a:gd name="T55" fmla="*/ 26 h 88"/>
                <a:gd name="T56" fmla="*/ 322 w 660"/>
                <a:gd name="T57" fmla="*/ 0 h 88"/>
                <a:gd name="T58" fmla="*/ 309 w 660"/>
                <a:gd name="T59" fmla="*/ 38 h 88"/>
                <a:gd name="T60" fmla="*/ 289 w 660"/>
                <a:gd name="T61" fmla="*/ 72 h 88"/>
                <a:gd name="T62" fmla="*/ 317 w 660"/>
                <a:gd name="T63" fmla="*/ 46 h 88"/>
                <a:gd name="T64" fmla="*/ 378 w 660"/>
                <a:gd name="T65" fmla="*/ 86 h 88"/>
                <a:gd name="T66" fmla="*/ 420 w 660"/>
                <a:gd name="T67" fmla="*/ 7 h 88"/>
                <a:gd name="T68" fmla="*/ 387 w 660"/>
                <a:gd name="T69" fmla="*/ 15 h 88"/>
                <a:gd name="T70" fmla="*/ 416 w 660"/>
                <a:gd name="T71" fmla="*/ 47 h 88"/>
                <a:gd name="T72" fmla="*/ 420 w 660"/>
                <a:gd name="T73" fmla="*/ 78 h 88"/>
                <a:gd name="T74" fmla="*/ 485 w 660"/>
                <a:gd name="T75" fmla="*/ 31 h 88"/>
                <a:gd name="T76" fmla="*/ 455 w 660"/>
                <a:gd name="T77" fmla="*/ 87 h 88"/>
                <a:gd name="T78" fmla="*/ 432 w 660"/>
                <a:gd name="T79" fmla="*/ 29 h 88"/>
                <a:gd name="T80" fmla="*/ 442 w 660"/>
                <a:gd name="T81" fmla="*/ 28 h 88"/>
                <a:gd name="T82" fmla="*/ 476 w 660"/>
                <a:gd name="T83" fmla="*/ 28 h 88"/>
                <a:gd name="T84" fmla="*/ 551 w 660"/>
                <a:gd name="T85" fmla="*/ 55 h 88"/>
                <a:gd name="T86" fmla="*/ 528 w 660"/>
                <a:gd name="T87" fmla="*/ 80 h 88"/>
                <a:gd name="T88" fmla="*/ 549 w 660"/>
                <a:gd name="T89" fmla="*/ 78 h 88"/>
                <a:gd name="T90" fmla="*/ 541 w 660"/>
                <a:gd name="T91" fmla="*/ 86 h 88"/>
                <a:gd name="T92" fmla="*/ 501 w 660"/>
                <a:gd name="T93" fmla="*/ 44 h 88"/>
                <a:gd name="T94" fmla="*/ 551 w 660"/>
                <a:gd name="T95" fmla="*/ 53 h 88"/>
                <a:gd name="T96" fmla="*/ 511 w 660"/>
                <a:gd name="T97" fmla="*/ 45 h 88"/>
                <a:gd name="T98" fmla="*/ 610 w 660"/>
                <a:gd name="T99" fmla="*/ 87 h 88"/>
                <a:gd name="T100" fmla="*/ 602 w 660"/>
                <a:gd name="T101" fmla="*/ 40 h 88"/>
                <a:gd name="T102" fmla="*/ 576 w 660"/>
                <a:gd name="T103" fmla="*/ 87 h 88"/>
                <a:gd name="T104" fmla="*/ 567 w 660"/>
                <a:gd name="T105" fmla="*/ 29 h 88"/>
                <a:gd name="T106" fmla="*/ 576 w 660"/>
                <a:gd name="T107" fmla="*/ 28 h 88"/>
                <a:gd name="T108" fmla="*/ 615 w 660"/>
                <a:gd name="T109" fmla="*/ 41 h 88"/>
                <a:gd name="T110" fmla="*/ 656 w 660"/>
                <a:gd name="T111" fmla="*/ 87 h 88"/>
                <a:gd name="T112" fmla="*/ 634 w 660"/>
                <a:gd name="T113" fmla="*/ 36 h 88"/>
                <a:gd name="T114" fmla="*/ 626 w 660"/>
                <a:gd name="T115" fmla="*/ 28 h 88"/>
                <a:gd name="T116" fmla="*/ 641 w 660"/>
                <a:gd name="T117" fmla="*/ 12 h 88"/>
                <a:gd name="T118" fmla="*/ 660 w 660"/>
                <a:gd name="T119" fmla="*/ 28 h 88"/>
                <a:gd name="T120" fmla="*/ 646 w 660"/>
                <a:gd name="T121" fmla="*/ 76 h 88"/>
                <a:gd name="T122" fmla="*/ 660 w 660"/>
                <a:gd name="T123"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88">
                  <a:moveTo>
                    <a:pt x="69" y="83"/>
                  </a:moveTo>
                  <a:cubicBezTo>
                    <a:pt x="69" y="84"/>
                    <a:pt x="69" y="85"/>
                    <a:pt x="69" y="85"/>
                  </a:cubicBezTo>
                  <a:cubicBezTo>
                    <a:pt x="69" y="86"/>
                    <a:pt x="69" y="86"/>
                    <a:pt x="69" y="87"/>
                  </a:cubicBezTo>
                  <a:cubicBezTo>
                    <a:pt x="69" y="87"/>
                    <a:pt x="68" y="87"/>
                    <a:pt x="67" y="87"/>
                  </a:cubicBezTo>
                  <a:cubicBezTo>
                    <a:pt x="66" y="87"/>
                    <a:pt x="65" y="87"/>
                    <a:pt x="64" y="87"/>
                  </a:cubicBezTo>
                  <a:cubicBezTo>
                    <a:pt x="63" y="87"/>
                    <a:pt x="62" y="87"/>
                    <a:pt x="61" y="87"/>
                  </a:cubicBezTo>
                  <a:cubicBezTo>
                    <a:pt x="60" y="87"/>
                    <a:pt x="60" y="87"/>
                    <a:pt x="59" y="87"/>
                  </a:cubicBezTo>
                  <a:cubicBezTo>
                    <a:pt x="59" y="87"/>
                    <a:pt x="59" y="87"/>
                    <a:pt x="58" y="86"/>
                  </a:cubicBezTo>
                  <a:cubicBezTo>
                    <a:pt x="58" y="86"/>
                    <a:pt x="58" y="86"/>
                    <a:pt x="58" y="85"/>
                  </a:cubicBezTo>
                  <a:lnTo>
                    <a:pt x="51" y="66"/>
                  </a:lnTo>
                  <a:lnTo>
                    <a:pt x="17" y="66"/>
                  </a:lnTo>
                  <a:lnTo>
                    <a:pt x="11" y="85"/>
                  </a:lnTo>
                  <a:cubicBezTo>
                    <a:pt x="11" y="86"/>
                    <a:pt x="10" y="86"/>
                    <a:pt x="10" y="86"/>
                  </a:cubicBezTo>
                  <a:cubicBezTo>
                    <a:pt x="10" y="86"/>
                    <a:pt x="10" y="87"/>
                    <a:pt x="9" y="87"/>
                  </a:cubicBezTo>
                  <a:cubicBezTo>
                    <a:pt x="9" y="87"/>
                    <a:pt x="8" y="87"/>
                    <a:pt x="8" y="87"/>
                  </a:cubicBezTo>
                  <a:cubicBezTo>
                    <a:pt x="7" y="87"/>
                    <a:pt x="6" y="87"/>
                    <a:pt x="5" y="87"/>
                  </a:cubicBezTo>
                  <a:cubicBezTo>
                    <a:pt x="4" y="87"/>
                    <a:pt x="3" y="87"/>
                    <a:pt x="2" y="87"/>
                  </a:cubicBezTo>
                  <a:cubicBezTo>
                    <a:pt x="1" y="87"/>
                    <a:pt x="1" y="87"/>
                    <a:pt x="0" y="87"/>
                  </a:cubicBezTo>
                  <a:cubicBezTo>
                    <a:pt x="0" y="86"/>
                    <a:pt x="0" y="86"/>
                    <a:pt x="0" y="85"/>
                  </a:cubicBezTo>
                  <a:cubicBezTo>
                    <a:pt x="0" y="85"/>
                    <a:pt x="0" y="84"/>
                    <a:pt x="0" y="83"/>
                  </a:cubicBezTo>
                  <a:lnTo>
                    <a:pt x="27" y="8"/>
                  </a:lnTo>
                  <a:cubicBezTo>
                    <a:pt x="28" y="8"/>
                    <a:pt x="28" y="7"/>
                    <a:pt x="28" y="7"/>
                  </a:cubicBezTo>
                  <a:cubicBezTo>
                    <a:pt x="28" y="7"/>
                    <a:pt x="29" y="6"/>
                    <a:pt x="29" y="6"/>
                  </a:cubicBezTo>
                  <a:cubicBezTo>
                    <a:pt x="30" y="6"/>
                    <a:pt x="30" y="6"/>
                    <a:pt x="31" y="6"/>
                  </a:cubicBezTo>
                  <a:cubicBezTo>
                    <a:pt x="32" y="6"/>
                    <a:pt x="33" y="6"/>
                    <a:pt x="34" y="6"/>
                  </a:cubicBezTo>
                  <a:cubicBezTo>
                    <a:pt x="36" y="6"/>
                    <a:pt x="37" y="6"/>
                    <a:pt x="38" y="6"/>
                  </a:cubicBezTo>
                  <a:cubicBezTo>
                    <a:pt x="39" y="6"/>
                    <a:pt x="39" y="6"/>
                    <a:pt x="40" y="6"/>
                  </a:cubicBezTo>
                  <a:cubicBezTo>
                    <a:pt x="40" y="6"/>
                    <a:pt x="41" y="7"/>
                    <a:pt x="41" y="7"/>
                  </a:cubicBezTo>
                  <a:cubicBezTo>
                    <a:pt x="41" y="7"/>
                    <a:pt x="42" y="8"/>
                    <a:pt x="42" y="8"/>
                  </a:cubicBezTo>
                  <a:lnTo>
                    <a:pt x="69" y="83"/>
                  </a:lnTo>
                  <a:close/>
                  <a:moveTo>
                    <a:pt x="34" y="17"/>
                  </a:moveTo>
                  <a:lnTo>
                    <a:pt x="34" y="17"/>
                  </a:lnTo>
                  <a:lnTo>
                    <a:pt x="20" y="57"/>
                  </a:lnTo>
                  <a:lnTo>
                    <a:pt x="48" y="57"/>
                  </a:lnTo>
                  <a:lnTo>
                    <a:pt x="34" y="17"/>
                  </a:lnTo>
                  <a:close/>
                  <a:moveTo>
                    <a:pt x="135" y="85"/>
                  </a:moveTo>
                  <a:cubicBezTo>
                    <a:pt x="135" y="86"/>
                    <a:pt x="135" y="86"/>
                    <a:pt x="135" y="86"/>
                  </a:cubicBezTo>
                  <a:cubicBezTo>
                    <a:pt x="135" y="87"/>
                    <a:pt x="135" y="87"/>
                    <a:pt x="134" y="87"/>
                  </a:cubicBezTo>
                  <a:cubicBezTo>
                    <a:pt x="134" y="87"/>
                    <a:pt x="134" y="87"/>
                    <a:pt x="133" y="87"/>
                  </a:cubicBezTo>
                  <a:cubicBezTo>
                    <a:pt x="132" y="87"/>
                    <a:pt x="132" y="87"/>
                    <a:pt x="131" y="87"/>
                  </a:cubicBezTo>
                  <a:cubicBezTo>
                    <a:pt x="130" y="87"/>
                    <a:pt x="129" y="87"/>
                    <a:pt x="129" y="87"/>
                  </a:cubicBezTo>
                  <a:cubicBezTo>
                    <a:pt x="128" y="87"/>
                    <a:pt x="128" y="87"/>
                    <a:pt x="127" y="87"/>
                  </a:cubicBezTo>
                  <a:cubicBezTo>
                    <a:pt x="127" y="87"/>
                    <a:pt x="127" y="87"/>
                    <a:pt x="126" y="86"/>
                  </a:cubicBezTo>
                  <a:cubicBezTo>
                    <a:pt x="126" y="86"/>
                    <a:pt x="126" y="86"/>
                    <a:pt x="126" y="85"/>
                  </a:cubicBezTo>
                  <a:lnTo>
                    <a:pt x="126" y="78"/>
                  </a:lnTo>
                  <a:cubicBezTo>
                    <a:pt x="123" y="81"/>
                    <a:pt x="120" y="84"/>
                    <a:pt x="117" y="85"/>
                  </a:cubicBezTo>
                  <a:cubicBezTo>
                    <a:pt x="114" y="87"/>
                    <a:pt x="110" y="88"/>
                    <a:pt x="106" y="88"/>
                  </a:cubicBezTo>
                  <a:cubicBezTo>
                    <a:pt x="102" y="88"/>
                    <a:pt x="99" y="87"/>
                    <a:pt x="96" y="86"/>
                  </a:cubicBezTo>
                  <a:cubicBezTo>
                    <a:pt x="93" y="84"/>
                    <a:pt x="91" y="82"/>
                    <a:pt x="89" y="79"/>
                  </a:cubicBezTo>
                  <a:cubicBezTo>
                    <a:pt x="87" y="77"/>
                    <a:pt x="86" y="73"/>
                    <a:pt x="85" y="70"/>
                  </a:cubicBezTo>
                  <a:cubicBezTo>
                    <a:pt x="84" y="66"/>
                    <a:pt x="84" y="62"/>
                    <a:pt x="84" y="58"/>
                  </a:cubicBezTo>
                  <a:cubicBezTo>
                    <a:pt x="84" y="53"/>
                    <a:pt x="84" y="49"/>
                    <a:pt x="85" y="45"/>
                  </a:cubicBezTo>
                  <a:cubicBezTo>
                    <a:pt x="86" y="41"/>
                    <a:pt x="88" y="38"/>
                    <a:pt x="90" y="35"/>
                  </a:cubicBezTo>
                  <a:cubicBezTo>
                    <a:pt x="92" y="32"/>
                    <a:pt x="94" y="30"/>
                    <a:pt x="97" y="29"/>
                  </a:cubicBezTo>
                  <a:cubicBezTo>
                    <a:pt x="100" y="27"/>
                    <a:pt x="104" y="26"/>
                    <a:pt x="108" y="26"/>
                  </a:cubicBezTo>
                  <a:cubicBezTo>
                    <a:pt x="111" y="26"/>
                    <a:pt x="114" y="27"/>
                    <a:pt x="117" y="28"/>
                  </a:cubicBezTo>
                  <a:cubicBezTo>
                    <a:pt x="120" y="30"/>
                    <a:pt x="122" y="32"/>
                    <a:pt x="125" y="35"/>
                  </a:cubicBezTo>
                  <a:lnTo>
                    <a:pt x="125" y="2"/>
                  </a:lnTo>
                  <a:cubicBezTo>
                    <a:pt x="125" y="2"/>
                    <a:pt x="125" y="2"/>
                    <a:pt x="125" y="1"/>
                  </a:cubicBezTo>
                  <a:cubicBezTo>
                    <a:pt x="125" y="1"/>
                    <a:pt x="126" y="1"/>
                    <a:pt x="126" y="1"/>
                  </a:cubicBezTo>
                  <a:cubicBezTo>
                    <a:pt x="126" y="1"/>
                    <a:pt x="127" y="0"/>
                    <a:pt x="128" y="0"/>
                  </a:cubicBezTo>
                  <a:cubicBezTo>
                    <a:pt x="128" y="0"/>
                    <a:pt x="129" y="0"/>
                    <a:pt x="130" y="0"/>
                  </a:cubicBezTo>
                  <a:cubicBezTo>
                    <a:pt x="131" y="0"/>
                    <a:pt x="132" y="0"/>
                    <a:pt x="133" y="0"/>
                  </a:cubicBezTo>
                  <a:cubicBezTo>
                    <a:pt x="133" y="0"/>
                    <a:pt x="134" y="1"/>
                    <a:pt x="134" y="1"/>
                  </a:cubicBezTo>
                  <a:cubicBezTo>
                    <a:pt x="135" y="1"/>
                    <a:pt x="135" y="1"/>
                    <a:pt x="135" y="1"/>
                  </a:cubicBezTo>
                  <a:cubicBezTo>
                    <a:pt x="135" y="2"/>
                    <a:pt x="135" y="2"/>
                    <a:pt x="135" y="2"/>
                  </a:cubicBezTo>
                  <a:lnTo>
                    <a:pt x="135" y="85"/>
                  </a:lnTo>
                  <a:close/>
                  <a:moveTo>
                    <a:pt x="125" y="46"/>
                  </a:moveTo>
                  <a:cubicBezTo>
                    <a:pt x="122" y="42"/>
                    <a:pt x="119" y="40"/>
                    <a:pt x="117" y="38"/>
                  </a:cubicBezTo>
                  <a:cubicBezTo>
                    <a:pt x="114" y="36"/>
                    <a:pt x="112" y="35"/>
                    <a:pt x="109" y="35"/>
                  </a:cubicBezTo>
                  <a:cubicBezTo>
                    <a:pt x="106" y="35"/>
                    <a:pt x="104" y="36"/>
                    <a:pt x="102" y="37"/>
                  </a:cubicBezTo>
                  <a:cubicBezTo>
                    <a:pt x="100" y="38"/>
                    <a:pt x="99" y="40"/>
                    <a:pt x="98" y="42"/>
                  </a:cubicBezTo>
                  <a:cubicBezTo>
                    <a:pt x="96" y="44"/>
                    <a:pt x="96" y="46"/>
                    <a:pt x="95" y="49"/>
                  </a:cubicBezTo>
                  <a:cubicBezTo>
                    <a:pt x="95" y="52"/>
                    <a:pt x="94" y="54"/>
                    <a:pt x="94" y="57"/>
                  </a:cubicBezTo>
                  <a:cubicBezTo>
                    <a:pt x="94" y="60"/>
                    <a:pt x="94" y="62"/>
                    <a:pt x="95" y="65"/>
                  </a:cubicBezTo>
                  <a:cubicBezTo>
                    <a:pt x="95" y="68"/>
                    <a:pt x="96" y="70"/>
                    <a:pt x="97" y="72"/>
                  </a:cubicBezTo>
                  <a:cubicBezTo>
                    <a:pt x="98" y="74"/>
                    <a:pt x="100" y="76"/>
                    <a:pt x="101" y="77"/>
                  </a:cubicBezTo>
                  <a:cubicBezTo>
                    <a:pt x="103" y="79"/>
                    <a:pt x="106" y="79"/>
                    <a:pt x="108" y="79"/>
                  </a:cubicBezTo>
                  <a:cubicBezTo>
                    <a:pt x="110" y="79"/>
                    <a:pt x="111" y="79"/>
                    <a:pt x="112" y="79"/>
                  </a:cubicBezTo>
                  <a:cubicBezTo>
                    <a:pt x="113" y="78"/>
                    <a:pt x="115" y="78"/>
                    <a:pt x="116" y="77"/>
                  </a:cubicBezTo>
                  <a:cubicBezTo>
                    <a:pt x="117" y="76"/>
                    <a:pt x="119" y="75"/>
                    <a:pt x="120" y="73"/>
                  </a:cubicBezTo>
                  <a:cubicBezTo>
                    <a:pt x="122" y="72"/>
                    <a:pt x="123" y="70"/>
                    <a:pt x="125" y="68"/>
                  </a:cubicBezTo>
                  <a:lnTo>
                    <a:pt x="125" y="46"/>
                  </a:lnTo>
                  <a:close/>
                  <a:moveTo>
                    <a:pt x="199" y="85"/>
                  </a:moveTo>
                  <a:cubicBezTo>
                    <a:pt x="199" y="86"/>
                    <a:pt x="199" y="86"/>
                    <a:pt x="199" y="86"/>
                  </a:cubicBezTo>
                  <a:cubicBezTo>
                    <a:pt x="199" y="87"/>
                    <a:pt x="199" y="87"/>
                    <a:pt x="198" y="87"/>
                  </a:cubicBezTo>
                  <a:cubicBezTo>
                    <a:pt x="198" y="87"/>
                    <a:pt x="198" y="87"/>
                    <a:pt x="197" y="87"/>
                  </a:cubicBezTo>
                  <a:cubicBezTo>
                    <a:pt x="196" y="87"/>
                    <a:pt x="196" y="87"/>
                    <a:pt x="195" y="87"/>
                  </a:cubicBezTo>
                  <a:cubicBezTo>
                    <a:pt x="194" y="87"/>
                    <a:pt x="193" y="87"/>
                    <a:pt x="193" y="87"/>
                  </a:cubicBezTo>
                  <a:cubicBezTo>
                    <a:pt x="192" y="87"/>
                    <a:pt x="192" y="87"/>
                    <a:pt x="191" y="87"/>
                  </a:cubicBezTo>
                  <a:cubicBezTo>
                    <a:pt x="191" y="87"/>
                    <a:pt x="191" y="87"/>
                    <a:pt x="190" y="86"/>
                  </a:cubicBezTo>
                  <a:cubicBezTo>
                    <a:pt x="190" y="86"/>
                    <a:pt x="190" y="86"/>
                    <a:pt x="190" y="85"/>
                  </a:cubicBezTo>
                  <a:lnTo>
                    <a:pt x="190" y="78"/>
                  </a:lnTo>
                  <a:cubicBezTo>
                    <a:pt x="187" y="81"/>
                    <a:pt x="184" y="84"/>
                    <a:pt x="181" y="85"/>
                  </a:cubicBezTo>
                  <a:cubicBezTo>
                    <a:pt x="178" y="87"/>
                    <a:pt x="174" y="88"/>
                    <a:pt x="170" y="88"/>
                  </a:cubicBezTo>
                  <a:cubicBezTo>
                    <a:pt x="166" y="88"/>
                    <a:pt x="163" y="87"/>
                    <a:pt x="160" y="86"/>
                  </a:cubicBezTo>
                  <a:cubicBezTo>
                    <a:pt x="157" y="84"/>
                    <a:pt x="155" y="82"/>
                    <a:pt x="153" y="79"/>
                  </a:cubicBezTo>
                  <a:cubicBezTo>
                    <a:pt x="151" y="77"/>
                    <a:pt x="150" y="73"/>
                    <a:pt x="149" y="70"/>
                  </a:cubicBezTo>
                  <a:cubicBezTo>
                    <a:pt x="148" y="66"/>
                    <a:pt x="148" y="62"/>
                    <a:pt x="148" y="58"/>
                  </a:cubicBezTo>
                  <a:cubicBezTo>
                    <a:pt x="148" y="53"/>
                    <a:pt x="148" y="49"/>
                    <a:pt x="149" y="45"/>
                  </a:cubicBezTo>
                  <a:cubicBezTo>
                    <a:pt x="150" y="41"/>
                    <a:pt x="152" y="38"/>
                    <a:pt x="154" y="35"/>
                  </a:cubicBezTo>
                  <a:cubicBezTo>
                    <a:pt x="156" y="32"/>
                    <a:pt x="158" y="30"/>
                    <a:pt x="161" y="29"/>
                  </a:cubicBezTo>
                  <a:cubicBezTo>
                    <a:pt x="164" y="27"/>
                    <a:pt x="168" y="26"/>
                    <a:pt x="172" y="26"/>
                  </a:cubicBezTo>
                  <a:cubicBezTo>
                    <a:pt x="175" y="26"/>
                    <a:pt x="178" y="27"/>
                    <a:pt x="181" y="28"/>
                  </a:cubicBezTo>
                  <a:cubicBezTo>
                    <a:pt x="184" y="30"/>
                    <a:pt x="186" y="32"/>
                    <a:pt x="189" y="35"/>
                  </a:cubicBezTo>
                  <a:lnTo>
                    <a:pt x="189" y="2"/>
                  </a:lnTo>
                  <a:cubicBezTo>
                    <a:pt x="189" y="2"/>
                    <a:pt x="189" y="2"/>
                    <a:pt x="189" y="1"/>
                  </a:cubicBezTo>
                  <a:cubicBezTo>
                    <a:pt x="189" y="1"/>
                    <a:pt x="190" y="1"/>
                    <a:pt x="190" y="1"/>
                  </a:cubicBezTo>
                  <a:cubicBezTo>
                    <a:pt x="190" y="1"/>
                    <a:pt x="191" y="0"/>
                    <a:pt x="192" y="0"/>
                  </a:cubicBezTo>
                  <a:cubicBezTo>
                    <a:pt x="192" y="0"/>
                    <a:pt x="193" y="0"/>
                    <a:pt x="194" y="0"/>
                  </a:cubicBezTo>
                  <a:cubicBezTo>
                    <a:pt x="195" y="0"/>
                    <a:pt x="196" y="0"/>
                    <a:pt x="197" y="0"/>
                  </a:cubicBezTo>
                  <a:cubicBezTo>
                    <a:pt x="197" y="0"/>
                    <a:pt x="198" y="1"/>
                    <a:pt x="198" y="1"/>
                  </a:cubicBezTo>
                  <a:cubicBezTo>
                    <a:pt x="199" y="1"/>
                    <a:pt x="199" y="1"/>
                    <a:pt x="199" y="1"/>
                  </a:cubicBezTo>
                  <a:cubicBezTo>
                    <a:pt x="199" y="2"/>
                    <a:pt x="199" y="2"/>
                    <a:pt x="199" y="2"/>
                  </a:cubicBezTo>
                  <a:lnTo>
                    <a:pt x="199" y="85"/>
                  </a:lnTo>
                  <a:close/>
                  <a:moveTo>
                    <a:pt x="189" y="46"/>
                  </a:moveTo>
                  <a:cubicBezTo>
                    <a:pt x="186" y="42"/>
                    <a:pt x="183" y="40"/>
                    <a:pt x="181" y="38"/>
                  </a:cubicBezTo>
                  <a:cubicBezTo>
                    <a:pt x="178" y="36"/>
                    <a:pt x="176" y="35"/>
                    <a:pt x="173" y="35"/>
                  </a:cubicBezTo>
                  <a:cubicBezTo>
                    <a:pt x="170" y="35"/>
                    <a:pt x="168" y="36"/>
                    <a:pt x="166" y="37"/>
                  </a:cubicBezTo>
                  <a:cubicBezTo>
                    <a:pt x="164" y="38"/>
                    <a:pt x="163" y="40"/>
                    <a:pt x="162" y="42"/>
                  </a:cubicBezTo>
                  <a:cubicBezTo>
                    <a:pt x="160" y="44"/>
                    <a:pt x="160" y="46"/>
                    <a:pt x="159" y="49"/>
                  </a:cubicBezTo>
                  <a:cubicBezTo>
                    <a:pt x="159" y="52"/>
                    <a:pt x="158" y="54"/>
                    <a:pt x="158" y="57"/>
                  </a:cubicBezTo>
                  <a:cubicBezTo>
                    <a:pt x="158" y="60"/>
                    <a:pt x="158" y="62"/>
                    <a:pt x="159" y="65"/>
                  </a:cubicBezTo>
                  <a:cubicBezTo>
                    <a:pt x="159" y="68"/>
                    <a:pt x="160" y="70"/>
                    <a:pt x="161" y="72"/>
                  </a:cubicBezTo>
                  <a:cubicBezTo>
                    <a:pt x="162" y="74"/>
                    <a:pt x="164" y="76"/>
                    <a:pt x="165" y="77"/>
                  </a:cubicBezTo>
                  <a:cubicBezTo>
                    <a:pt x="167" y="79"/>
                    <a:pt x="170" y="79"/>
                    <a:pt x="172" y="79"/>
                  </a:cubicBezTo>
                  <a:cubicBezTo>
                    <a:pt x="174" y="79"/>
                    <a:pt x="175" y="79"/>
                    <a:pt x="176" y="79"/>
                  </a:cubicBezTo>
                  <a:cubicBezTo>
                    <a:pt x="177" y="78"/>
                    <a:pt x="179" y="78"/>
                    <a:pt x="180" y="77"/>
                  </a:cubicBezTo>
                  <a:cubicBezTo>
                    <a:pt x="181" y="76"/>
                    <a:pt x="183" y="75"/>
                    <a:pt x="184" y="73"/>
                  </a:cubicBezTo>
                  <a:cubicBezTo>
                    <a:pt x="186" y="72"/>
                    <a:pt x="187" y="70"/>
                    <a:pt x="189" y="68"/>
                  </a:cubicBezTo>
                  <a:lnTo>
                    <a:pt x="189" y="46"/>
                  </a:lnTo>
                  <a:close/>
                  <a:moveTo>
                    <a:pt x="263" y="55"/>
                  </a:moveTo>
                  <a:cubicBezTo>
                    <a:pt x="263" y="56"/>
                    <a:pt x="263" y="58"/>
                    <a:pt x="262" y="58"/>
                  </a:cubicBezTo>
                  <a:cubicBezTo>
                    <a:pt x="261" y="59"/>
                    <a:pt x="260" y="59"/>
                    <a:pt x="259" y="59"/>
                  </a:cubicBezTo>
                  <a:lnTo>
                    <a:pt x="222" y="59"/>
                  </a:lnTo>
                  <a:cubicBezTo>
                    <a:pt x="222" y="62"/>
                    <a:pt x="222" y="65"/>
                    <a:pt x="223" y="68"/>
                  </a:cubicBezTo>
                  <a:cubicBezTo>
                    <a:pt x="224" y="70"/>
                    <a:pt x="225" y="72"/>
                    <a:pt x="226" y="74"/>
                  </a:cubicBezTo>
                  <a:cubicBezTo>
                    <a:pt x="228" y="76"/>
                    <a:pt x="230" y="77"/>
                    <a:pt x="232" y="78"/>
                  </a:cubicBezTo>
                  <a:cubicBezTo>
                    <a:pt x="234" y="79"/>
                    <a:pt x="237" y="80"/>
                    <a:pt x="240" y="80"/>
                  </a:cubicBezTo>
                  <a:cubicBezTo>
                    <a:pt x="243" y="80"/>
                    <a:pt x="246" y="80"/>
                    <a:pt x="248" y="79"/>
                  </a:cubicBezTo>
                  <a:cubicBezTo>
                    <a:pt x="250" y="79"/>
                    <a:pt x="252" y="78"/>
                    <a:pt x="253" y="78"/>
                  </a:cubicBezTo>
                  <a:cubicBezTo>
                    <a:pt x="255" y="77"/>
                    <a:pt x="256" y="77"/>
                    <a:pt x="257" y="76"/>
                  </a:cubicBezTo>
                  <a:cubicBezTo>
                    <a:pt x="258" y="76"/>
                    <a:pt x="259" y="76"/>
                    <a:pt x="259" y="76"/>
                  </a:cubicBezTo>
                  <a:cubicBezTo>
                    <a:pt x="259" y="76"/>
                    <a:pt x="260" y="76"/>
                    <a:pt x="260" y="76"/>
                  </a:cubicBezTo>
                  <a:cubicBezTo>
                    <a:pt x="260" y="76"/>
                    <a:pt x="260" y="76"/>
                    <a:pt x="260" y="76"/>
                  </a:cubicBezTo>
                  <a:cubicBezTo>
                    <a:pt x="260" y="77"/>
                    <a:pt x="261" y="77"/>
                    <a:pt x="261" y="78"/>
                  </a:cubicBezTo>
                  <a:cubicBezTo>
                    <a:pt x="261" y="78"/>
                    <a:pt x="261" y="79"/>
                    <a:pt x="261" y="80"/>
                  </a:cubicBezTo>
                  <a:cubicBezTo>
                    <a:pt x="261" y="80"/>
                    <a:pt x="261" y="81"/>
                    <a:pt x="261" y="81"/>
                  </a:cubicBezTo>
                  <a:cubicBezTo>
                    <a:pt x="261" y="81"/>
                    <a:pt x="261" y="82"/>
                    <a:pt x="261" y="82"/>
                  </a:cubicBezTo>
                  <a:cubicBezTo>
                    <a:pt x="260" y="82"/>
                    <a:pt x="260" y="83"/>
                    <a:pt x="260" y="83"/>
                  </a:cubicBezTo>
                  <a:cubicBezTo>
                    <a:pt x="260" y="83"/>
                    <a:pt x="260" y="83"/>
                    <a:pt x="260" y="84"/>
                  </a:cubicBezTo>
                  <a:cubicBezTo>
                    <a:pt x="259" y="84"/>
                    <a:pt x="259" y="84"/>
                    <a:pt x="258" y="85"/>
                  </a:cubicBezTo>
                  <a:cubicBezTo>
                    <a:pt x="256" y="85"/>
                    <a:pt x="255" y="86"/>
                    <a:pt x="253" y="86"/>
                  </a:cubicBezTo>
                  <a:cubicBezTo>
                    <a:pt x="251" y="87"/>
                    <a:pt x="249" y="87"/>
                    <a:pt x="247" y="88"/>
                  </a:cubicBezTo>
                  <a:cubicBezTo>
                    <a:pt x="245" y="88"/>
                    <a:pt x="242" y="88"/>
                    <a:pt x="239" y="88"/>
                  </a:cubicBezTo>
                  <a:cubicBezTo>
                    <a:pt x="235" y="88"/>
                    <a:pt x="231" y="88"/>
                    <a:pt x="227" y="86"/>
                  </a:cubicBezTo>
                  <a:cubicBezTo>
                    <a:pt x="224" y="85"/>
                    <a:pt x="221" y="83"/>
                    <a:pt x="219" y="80"/>
                  </a:cubicBezTo>
                  <a:cubicBezTo>
                    <a:pt x="216" y="78"/>
                    <a:pt x="214" y="75"/>
                    <a:pt x="213" y="71"/>
                  </a:cubicBezTo>
                  <a:cubicBezTo>
                    <a:pt x="212" y="67"/>
                    <a:pt x="211" y="63"/>
                    <a:pt x="211" y="58"/>
                  </a:cubicBezTo>
                  <a:cubicBezTo>
                    <a:pt x="211" y="53"/>
                    <a:pt x="212" y="48"/>
                    <a:pt x="213" y="44"/>
                  </a:cubicBezTo>
                  <a:cubicBezTo>
                    <a:pt x="214" y="41"/>
                    <a:pt x="216" y="37"/>
                    <a:pt x="219" y="35"/>
                  </a:cubicBezTo>
                  <a:cubicBezTo>
                    <a:pt x="221" y="32"/>
                    <a:pt x="224" y="30"/>
                    <a:pt x="227" y="28"/>
                  </a:cubicBezTo>
                  <a:cubicBezTo>
                    <a:pt x="231" y="27"/>
                    <a:pt x="234" y="26"/>
                    <a:pt x="238" y="26"/>
                  </a:cubicBezTo>
                  <a:cubicBezTo>
                    <a:pt x="243" y="26"/>
                    <a:pt x="247" y="27"/>
                    <a:pt x="250" y="28"/>
                  </a:cubicBezTo>
                  <a:cubicBezTo>
                    <a:pt x="253" y="30"/>
                    <a:pt x="255" y="32"/>
                    <a:pt x="257" y="34"/>
                  </a:cubicBezTo>
                  <a:cubicBezTo>
                    <a:pt x="259" y="37"/>
                    <a:pt x="261" y="39"/>
                    <a:pt x="262" y="43"/>
                  </a:cubicBezTo>
                  <a:cubicBezTo>
                    <a:pt x="263" y="46"/>
                    <a:pt x="263" y="49"/>
                    <a:pt x="263" y="53"/>
                  </a:cubicBezTo>
                  <a:lnTo>
                    <a:pt x="263" y="55"/>
                  </a:lnTo>
                  <a:close/>
                  <a:moveTo>
                    <a:pt x="253" y="52"/>
                  </a:moveTo>
                  <a:cubicBezTo>
                    <a:pt x="253" y="46"/>
                    <a:pt x="252" y="42"/>
                    <a:pt x="249" y="39"/>
                  </a:cubicBezTo>
                  <a:cubicBezTo>
                    <a:pt x="247" y="36"/>
                    <a:pt x="243" y="34"/>
                    <a:pt x="238" y="34"/>
                  </a:cubicBezTo>
                  <a:cubicBezTo>
                    <a:pt x="235" y="34"/>
                    <a:pt x="233" y="35"/>
                    <a:pt x="231" y="36"/>
                  </a:cubicBezTo>
                  <a:cubicBezTo>
                    <a:pt x="229" y="37"/>
                    <a:pt x="228" y="38"/>
                    <a:pt x="226" y="40"/>
                  </a:cubicBezTo>
                  <a:cubicBezTo>
                    <a:pt x="225" y="41"/>
                    <a:pt x="224" y="43"/>
                    <a:pt x="223" y="45"/>
                  </a:cubicBezTo>
                  <a:cubicBezTo>
                    <a:pt x="223" y="47"/>
                    <a:pt x="222" y="49"/>
                    <a:pt x="222" y="52"/>
                  </a:cubicBezTo>
                  <a:lnTo>
                    <a:pt x="253" y="52"/>
                  </a:lnTo>
                  <a:close/>
                  <a:moveTo>
                    <a:pt x="327" y="85"/>
                  </a:moveTo>
                  <a:cubicBezTo>
                    <a:pt x="327" y="86"/>
                    <a:pt x="327" y="86"/>
                    <a:pt x="327" y="86"/>
                  </a:cubicBezTo>
                  <a:cubicBezTo>
                    <a:pt x="327" y="87"/>
                    <a:pt x="327" y="87"/>
                    <a:pt x="326" y="87"/>
                  </a:cubicBezTo>
                  <a:cubicBezTo>
                    <a:pt x="326" y="87"/>
                    <a:pt x="326" y="87"/>
                    <a:pt x="325" y="87"/>
                  </a:cubicBezTo>
                  <a:cubicBezTo>
                    <a:pt x="324" y="87"/>
                    <a:pt x="324" y="87"/>
                    <a:pt x="323" y="87"/>
                  </a:cubicBezTo>
                  <a:cubicBezTo>
                    <a:pt x="322" y="87"/>
                    <a:pt x="321" y="87"/>
                    <a:pt x="321" y="87"/>
                  </a:cubicBezTo>
                  <a:cubicBezTo>
                    <a:pt x="320" y="87"/>
                    <a:pt x="320" y="87"/>
                    <a:pt x="319" y="87"/>
                  </a:cubicBezTo>
                  <a:cubicBezTo>
                    <a:pt x="319" y="87"/>
                    <a:pt x="319" y="87"/>
                    <a:pt x="318" y="86"/>
                  </a:cubicBezTo>
                  <a:cubicBezTo>
                    <a:pt x="318" y="86"/>
                    <a:pt x="318" y="86"/>
                    <a:pt x="318" y="85"/>
                  </a:cubicBezTo>
                  <a:lnTo>
                    <a:pt x="318" y="78"/>
                  </a:lnTo>
                  <a:cubicBezTo>
                    <a:pt x="315" y="81"/>
                    <a:pt x="312" y="84"/>
                    <a:pt x="309" y="85"/>
                  </a:cubicBezTo>
                  <a:cubicBezTo>
                    <a:pt x="306" y="87"/>
                    <a:pt x="302" y="88"/>
                    <a:pt x="298" y="88"/>
                  </a:cubicBezTo>
                  <a:cubicBezTo>
                    <a:pt x="294" y="88"/>
                    <a:pt x="291" y="87"/>
                    <a:pt x="288" y="86"/>
                  </a:cubicBezTo>
                  <a:cubicBezTo>
                    <a:pt x="285" y="84"/>
                    <a:pt x="283" y="82"/>
                    <a:pt x="281" y="79"/>
                  </a:cubicBezTo>
                  <a:cubicBezTo>
                    <a:pt x="279" y="77"/>
                    <a:pt x="278" y="73"/>
                    <a:pt x="277" y="70"/>
                  </a:cubicBezTo>
                  <a:cubicBezTo>
                    <a:pt x="276" y="66"/>
                    <a:pt x="276" y="62"/>
                    <a:pt x="276" y="58"/>
                  </a:cubicBezTo>
                  <a:cubicBezTo>
                    <a:pt x="276" y="53"/>
                    <a:pt x="276" y="49"/>
                    <a:pt x="277" y="45"/>
                  </a:cubicBezTo>
                  <a:cubicBezTo>
                    <a:pt x="278" y="41"/>
                    <a:pt x="280" y="38"/>
                    <a:pt x="282" y="35"/>
                  </a:cubicBezTo>
                  <a:cubicBezTo>
                    <a:pt x="284" y="32"/>
                    <a:pt x="286" y="30"/>
                    <a:pt x="289" y="29"/>
                  </a:cubicBezTo>
                  <a:cubicBezTo>
                    <a:pt x="292" y="27"/>
                    <a:pt x="296" y="26"/>
                    <a:pt x="300" y="26"/>
                  </a:cubicBezTo>
                  <a:cubicBezTo>
                    <a:pt x="303" y="26"/>
                    <a:pt x="306" y="27"/>
                    <a:pt x="309" y="28"/>
                  </a:cubicBezTo>
                  <a:cubicBezTo>
                    <a:pt x="312" y="30"/>
                    <a:pt x="314" y="32"/>
                    <a:pt x="317" y="35"/>
                  </a:cubicBezTo>
                  <a:lnTo>
                    <a:pt x="317" y="2"/>
                  </a:lnTo>
                  <a:cubicBezTo>
                    <a:pt x="317" y="2"/>
                    <a:pt x="317" y="2"/>
                    <a:pt x="317" y="1"/>
                  </a:cubicBezTo>
                  <a:cubicBezTo>
                    <a:pt x="317" y="1"/>
                    <a:pt x="318" y="1"/>
                    <a:pt x="318" y="1"/>
                  </a:cubicBezTo>
                  <a:cubicBezTo>
                    <a:pt x="318" y="1"/>
                    <a:pt x="319" y="0"/>
                    <a:pt x="320" y="0"/>
                  </a:cubicBezTo>
                  <a:cubicBezTo>
                    <a:pt x="320" y="0"/>
                    <a:pt x="321" y="0"/>
                    <a:pt x="322" y="0"/>
                  </a:cubicBezTo>
                  <a:cubicBezTo>
                    <a:pt x="323" y="0"/>
                    <a:pt x="324" y="0"/>
                    <a:pt x="325" y="0"/>
                  </a:cubicBezTo>
                  <a:cubicBezTo>
                    <a:pt x="325" y="0"/>
                    <a:pt x="326" y="1"/>
                    <a:pt x="326" y="1"/>
                  </a:cubicBezTo>
                  <a:cubicBezTo>
                    <a:pt x="327" y="1"/>
                    <a:pt x="327" y="1"/>
                    <a:pt x="327" y="1"/>
                  </a:cubicBezTo>
                  <a:cubicBezTo>
                    <a:pt x="327" y="2"/>
                    <a:pt x="327" y="2"/>
                    <a:pt x="327" y="2"/>
                  </a:cubicBezTo>
                  <a:lnTo>
                    <a:pt x="327" y="85"/>
                  </a:lnTo>
                  <a:close/>
                  <a:moveTo>
                    <a:pt x="317" y="46"/>
                  </a:moveTo>
                  <a:cubicBezTo>
                    <a:pt x="314" y="42"/>
                    <a:pt x="311" y="40"/>
                    <a:pt x="309" y="38"/>
                  </a:cubicBezTo>
                  <a:cubicBezTo>
                    <a:pt x="306" y="36"/>
                    <a:pt x="304" y="35"/>
                    <a:pt x="301" y="35"/>
                  </a:cubicBezTo>
                  <a:cubicBezTo>
                    <a:pt x="298" y="35"/>
                    <a:pt x="296" y="36"/>
                    <a:pt x="294" y="37"/>
                  </a:cubicBezTo>
                  <a:cubicBezTo>
                    <a:pt x="292" y="38"/>
                    <a:pt x="291" y="40"/>
                    <a:pt x="290" y="42"/>
                  </a:cubicBezTo>
                  <a:cubicBezTo>
                    <a:pt x="288" y="44"/>
                    <a:pt x="288" y="46"/>
                    <a:pt x="287" y="49"/>
                  </a:cubicBezTo>
                  <a:cubicBezTo>
                    <a:pt x="287" y="52"/>
                    <a:pt x="286" y="54"/>
                    <a:pt x="286" y="57"/>
                  </a:cubicBezTo>
                  <a:cubicBezTo>
                    <a:pt x="286" y="60"/>
                    <a:pt x="286" y="62"/>
                    <a:pt x="287" y="65"/>
                  </a:cubicBezTo>
                  <a:cubicBezTo>
                    <a:pt x="287" y="68"/>
                    <a:pt x="288" y="70"/>
                    <a:pt x="289" y="72"/>
                  </a:cubicBezTo>
                  <a:cubicBezTo>
                    <a:pt x="290" y="74"/>
                    <a:pt x="292" y="76"/>
                    <a:pt x="293" y="77"/>
                  </a:cubicBezTo>
                  <a:cubicBezTo>
                    <a:pt x="295" y="79"/>
                    <a:pt x="298" y="79"/>
                    <a:pt x="300" y="79"/>
                  </a:cubicBezTo>
                  <a:cubicBezTo>
                    <a:pt x="302" y="79"/>
                    <a:pt x="303" y="79"/>
                    <a:pt x="304" y="79"/>
                  </a:cubicBezTo>
                  <a:cubicBezTo>
                    <a:pt x="305" y="78"/>
                    <a:pt x="307" y="78"/>
                    <a:pt x="308" y="77"/>
                  </a:cubicBezTo>
                  <a:cubicBezTo>
                    <a:pt x="309" y="76"/>
                    <a:pt x="311" y="75"/>
                    <a:pt x="312" y="73"/>
                  </a:cubicBezTo>
                  <a:cubicBezTo>
                    <a:pt x="314" y="72"/>
                    <a:pt x="315" y="70"/>
                    <a:pt x="317" y="68"/>
                  </a:cubicBezTo>
                  <a:lnTo>
                    <a:pt x="317" y="46"/>
                  </a:lnTo>
                  <a:close/>
                  <a:moveTo>
                    <a:pt x="421" y="83"/>
                  </a:moveTo>
                  <a:cubicBezTo>
                    <a:pt x="421" y="83"/>
                    <a:pt x="421" y="84"/>
                    <a:pt x="421" y="84"/>
                  </a:cubicBezTo>
                  <a:cubicBezTo>
                    <a:pt x="421" y="85"/>
                    <a:pt x="421" y="86"/>
                    <a:pt x="421" y="86"/>
                  </a:cubicBezTo>
                  <a:cubicBezTo>
                    <a:pt x="421" y="86"/>
                    <a:pt x="420" y="87"/>
                    <a:pt x="420" y="87"/>
                  </a:cubicBezTo>
                  <a:cubicBezTo>
                    <a:pt x="420" y="87"/>
                    <a:pt x="419" y="87"/>
                    <a:pt x="419" y="87"/>
                  </a:cubicBezTo>
                  <a:lnTo>
                    <a:pt x="380" y="87"/>
                  </a:lnTo>
                  <a:cubicBezTo>
                    <a:pt x="379" y="87"/>
                    <a:pt x="378" y="87"/>
                    <a:pt x="378" y="86"/>
                  </a:cubicBezTo>
                  <a:cubicBezTo>
                    <a:pt x="377" y="85"/>
                    <a:pt x="376" y="84"/>
                    <a:pt x="376" y="83"/>
                  </a:cubicBezTo>
                  <a:lnTo>
                    <a:pt x="376" y="10"/>
                  </a:lnTo>
                  <a:cubicBezTo>
                    <a:pt x="376" y="9"/>
                    <a:pt x="377" y="8"/>
                    <a:pt x="378" y="7"/>
                  </a:cubicBezTo>
                  <a:cubicBezTo>
                    <a:pt x="378" y="6"/>
                    <a:pt x="379" y="6"/>
                    <a:pt x="380" y="6"/>
                  </a:cubicBezTo>
                  <a:lnTo>
                    <a:pt x="419" y="6"/>
                  </a:lnTo>
                  <a:cubicBezTo>
                    <a:pt x="419" y="6"/>
                    <a:pt x="419" y="6"/>
                    <a:pt x="420" y="6"/>
                  </a:cubicBezTo>
                  <a:cubicBezTo>
                    <a:pt x="420" y="7"/>
                    <a:pt x="420" y="7"/>
                    <a:pt x="420" y="7"/>
                  </a:cubicBezTo>
                  <a:cubicBezTo>
                    <a:pt x="420" y="8"/>
                    <a:pt x="421" y="8"/>
                    <a:pt x="421" y="9"/>
                  </a:cubicBezTo>
                  <a:cubicBezTo>
                    <a:pt x="421" y="9"/>
                    <a:pt x="421" y="10"/>
                    <a:pt x="421" y="11"/>
                  </a:cubicBezTo>
                  <a:cubicBezTo>
                    <a:pt x="421" y="11"/>
                    <a:pt x="421" y="12"/>
                    <a:pt x="421" y="13"/>
                  </a:cubicBezTo>
                  <a:cubicBezTo>
                    <a:pt x="421" y="13"/>
                    <a:pt x="420" y="14"/>
                    <a:pt x="420" y="14"/>
                  </a:cubicBezTo>
                  <a:cubicBezTo>
                    <a:pt x="420" y="14"/>
                    <a:pt x="420" y="15"/>
                    <a:pt x="420" y="15"/>
                  </a:cubicBezTo>
                  <a:cubicBezTo>
                    <a:pt x="419" y="15"/>
                    <a:pt x="419" y="15"/>
                    <a:pt x="419" y="15"/>
                  </a:cubicBezTo>
                  <a:lnTo>
                    <a:pt x="387" y="15"/>
                  </a:lnTo>
                  <a:lnTo>
                    <a:pt x="387" y="40"/>
                  </a:lnTo>
                  <a:lnTo>
                    <a:pt x="414" y="40"/>
                  </a:lnTo>
                  <a:cubicBezTo>
                    <a:pt x="415" y="40"/>
                    <a:pt x="415" y="40"/>
                    <a:pt x="415" y="41"/>
                  </a:cubicBezTo>
                  <a:cubicBezTo>
                    <a:pt x="415" y="41"/>
                    <a:pt x="416" y="41"/>
                    <a:pt x="416" y="41"/>
                  </a:cubicBezTo>
                  <a:cubicBezTo>
                    <a:pt x="416" y="42"/>
                    <a:pt x="416" y="42"/>
                    <a:pt x="416" y="43"/>
                  </a:cubicBezTo>
                  <a:cubicBezTo>
                    <a:pt x="416" y="43"/>
                    <a:pt x="416" y="44"/>
                    <a:pt x="416" y="45"/>
                  </a:cubicBezTo>
                  <a:cubicBezTo>
                    <a:pt x="416" y="46"/>
                    <a:pt x="416" y="46"/>
                    <a:pt x="416" y="47"/>
                  </a:cubicBezTo>
                  <a:cubicBezTo>
                    <a:pt x="416" y="47"/>
                    <a:pt x="416" y="48"/>
                    <a:pt x="416" y="48"/>
                  </a:cubicBezTo>
                  <a:cubicBezTo>
                    <a:pt x="416" y="48"/>
                    <a:pt x="415" y="49"/>
                    <a:pt x="415" y="49"/>
                  </a:cubicBezTo>
                  <a:cubicBezTo>
                    <a:pt x="415" y="49"/>
                    <a:pt x="415" y="49"/>
                    <a:pt x="414" y="49"/>
                  </a:cubicBezTo>
                  <a:lnTo>
                    <a:pt x="387" y="49"/>
                  </a:lnTo>
                  <a:lnTo>
                    <a:pt x="387" y="78"/>
                  </a:lnTo>
                  <a:lnTo>
                    <a:pt x="419" y="78"/>
                  </a:lnTo>
                  <a:cubicBezTo>
                    <a:pt x="419" y="78"/>
                    <a:pt x="420" y="78"/>
                    <a:pt x="420" y="78"/>
                  </a:cubicBezTo>
                  <a:cubicBezTo>
                    <a:pt x="420" y="78"/>
                    <a:pt x="421" y="79"/>
                    <a:pt x="421" y="79"/>
                  </a:cubicBezTo>
                  <a:cubicBezTo>
                    <a:pt x="421" y="79"/>
                    <a:pt x="421" y="80"/>
                    <a:pt x="421" y="80"/>
                  </a:cubicBezTo>
                  <a:cubicBezTo>
                    <a:pt x="421" y="81"/>
                    <a:pt x="421" y="82"/>
                    <a:pt x="421" y="83"/>
                  </a:cubicBezTo>
                  <a:close/>
                  <a:moveTo>
                    <a:pt x="485" y="29"/>
                  </a:moveTo>
                  <a:cubicBezTo>
                    <a:pt x="485" y="29"/>
                    <a:pt x="485" y="29"/>
                    <a:pt x="485" y="30"/>
                  </a:cubicBezTo>
                  <a:cubicBezTo>
                    <a:pt x="485" y="30"/>
                    <a:pt x="485" y="30"/>
                    <a:pt x="485" y="30"/>
                  </a:cubicBezTo>
                  <a:cubicBezTo>
                    <a:pt x="485" y="30"/>
                    <a:pt x="485" y="31"/>
                    <a:pt x="485" y="31"/>
                  </a:cubicBezTo>
                  <a:cubicBezTo>
                    <a:pt x="485" y="31"/>
                    <a:pt x="485" y="31"/>
                    <a:pt x="485" y="32"/>
                  </a:cubicBezTo>
                  <a:lnTo>
                    <a:pt x="466" y="85"/>
                  </a:lnTo>
                  <a:cubicBezTo>
                    <a:pt x="465" y="86"/>
                    <a:pt x="465" y="86"/>
                    <a:pt x="465" y="86"/>
                  </a:cubicBezTo>
                  <a:cubicBezTo>
                    <a:pt x="465" y="87"/>
                    <a:pt x="464" y="87"/>
                    <a:pt x="464" y="87"/>
                  </a:cubicBezTo>
                  <a:cubicBezTo>
                    <a:pt x="463" y="87"/>
                    <a:pt x="462" y="87"/>
                    <a:pt x="462" y="87"/>
                  </a:cubicBezTo>
                  <a:cubicBezTo>
                    <a:pt x="461" y="87"/>
                    <a:pt x="460" y="87"/>
                    <a:pt x="458" y="87"/>
                  </a:cubicBezTo>
                  <a:cubicBezTo>
                    <a:pt x="457" y="87"/>
                    <a:pt x="456" y="87"/>
                    <a:pt x="455" y="87"/>
                  </a:cubicBezTo>
                  <a:cubicBezTo>
                    <a:pt x="455" y="87"/>
                    <a:pt x="454" y="87"/>
                    <a:pt x="453" y="87"/>
                  </a:cubicBezTo>
                  <a:cubicBezTo>
                    <a:pt x="453" y="87"/>
                    <a:pt x="452" y="86"/>
                    <a:pt x="452" y="86"/>
                  </a:cubicBezTo>
                  <a:cubicBezTo>
                    <a:pt x="452" y="86"/>
                    <a:pt x="452" y="86"/>
                    <a:pt x="451" y="85"/>
                  </a:cubicBezTo>
                  <a:lnTo>
                    <a:pt x="432" y="32"/>
                  </a:lnTo>
                  <a:cubicBezTo>
                    <a:pt x="432" y="31"/>
                    <a:pt x="432" y="31"/>
                    <a:pt x="432" y="30"/>
                  </a:cubicBezTo>
                  <a:cubicBezTo>
                    <a:pt x="432" y="30"/>
                    <a:pt x="432" y="30"/>
                    <a:pt x="432" y="29"/>
                  </a:cubicBezTo>
                  <a:cubicBezTo>
                    <a:pt x="432" y="29"/>
                    <a:pt x="432" y="29"/>
                    <a:pt x="432" y="29"/>
                  </a:cubicBezTo>
                  <a:cubicBezTo>
                    <a:pt x="432" y="29"/>
                    <a:pt x="432" y="28"/>
                    <a:pt x="432" y="28"/>
                  </a:cubicBezTo>
                  <a:cubicBezTo>
                    <a:pt x="432" y="28"/>
                    <a:pt x="432" y="28"/>
                    <a:pt x="433" y="28"/>
                  </a:cubicBezTo>
                  <a:cubicBezTo>
                    <a:pt x="433" y="27"/>
                    <a:pt x="434" y="27"/>
                    <a:pt x="434" y="27"/>
                  </a:cubicBezTo>
                  <a:cubicBezTo>
                    <a:pt x="435" y="27"/>
                    <a:pt x="436" y="27"/>
                    <a:pt x="437" y="27"/>
                  </a:cubicBezTo>
                  <a:cubicBezTo>
                    <a:pt x="438" y="27"/>
                    <a:pt x="439" y="27"/>
                    <a:pt x="440" y="27"/>
                  </a:cubicBezTo>
                  <a:cubicBezTo>
                    <a:pt x="440" y="27"/>
                    <a:pt x="441" y="27"/>
                    <a:pt x="441" y="28"/>
                  </a:cubicBezTo>
                  <a:cubicBezTo>
                    <a:pt x="442" y="28"/>
                    <a:pt x="442" y="28"/>
                    <a:pt x="442" y="28"/>
                  </a:cubicBezTo>
                  <a:cubicBezTo>
                    <a:pt x="442" y="29"/>
                    <a:pt x="443" y="29"/>
                    <a:pt x="443" y="29"/>
                  </a:cubicBezTo>
                  <a:lnTo>
                    <a:pt x="459" y="76"/>
                  </a:lnTo>
                  <a:lnTo>
                    <a:pt x="459" y="76"/>
                  </a:lnTo>
                  <a:lnTo>
                    <a:pt x="459" y="76"/>
                  </a:lnTo>
                  <a:lnTo>
                    <a:pt x="475" y="29"/>
                  </a:lnTo>
                  <a:cubicBezTo>
                    <a:pt x="475" y="29"/>
                    <a:pt x="475" y="29"/>
                    <a:pt x="475" y="28"/>
                  </a:cubicBezTo>
                  <a:cubicBezTo>
                    <a:pt x="475" y="28"/>
                    <a:pt x="476" y="28"/>
                    <a:pt x="476" y="28"/>
                  </a:cubicBezTo>
                  <a:cubicBezTo>
                    <a:pt x="476" y="27"/>
                    <a:pt x="477" y="27"/>
                    <a:pt x="478" y="27"/>
                  </a:cubicBezTo>
                  <a:cubicBezTo>
                    <a:pt x="478" y="27"/>
                    <a:pt x="479" y="27"/>
                    <a:pt x="480" y="27"/>
                  </a:cubicBezTo>
                  <a:cubicBezTo>
                    <a:pt x="481" y="27"/>
                    <a:pt x="482" y="27"/>
                    <a:pt x="483" y="27"/>
                  </a:cubicBezTo>
                  <a:cubicBezTo>
                    <a:pt x="483" y="27"/>
                    <a:pt x="484" y="27"/>
                    <a:pt x="484" y="28"/>
                  </a:cubicBezTo>
                  <a:cubicBezTo>
                    <a:pt x="485" y="28"/>
                    <a:pt x="485" y="28"/>
                    <a:pt x="485" y="28"/>
                  </a:cubicBezTo>
                  <a:cubicBezTo>
                    <a:pt x="485" y="28"/>
                    <a:pt x="485" y="29"/>
                    <a:pt x="485" y="29"/>
                  </a:cubicBezTo>
                  <a:close/>
                  <a:moveTo>
                    <a:pt x="551" y="55"/>
                  </a:moveTo>
                  <a:cubicBezTo>
                    <a:pt x="551" y="56"/>
                    <a:pt x="551" y="58"/>
                    <a:pt x="550" y="58"/>
                  </a:cubicBezTo>
                  <a:cubicBezTo>
                    <a:pt x="549" y="59"/>
                    <a:pt x="548" y="59"/>
                    <a:pt x="547" y="59"/>
                  </a:cubicBezTo>
                  <a:lnTo>
                    <a:pt x="510" y="59"/>
                  </a:lnTo>
                  <a:cubicBezTo>
                    <a:pt x="510" y="62"/>
                    <a:pt x="510" y="65"/>
                    <a:pt x="511" y="68"/>
                  </a:cubicBezTo>
                  <a:cubicBezTo>
                    <a:pt x="512" y="70"/>
                    <a:pt x="513" y="72"/>
                    <a:pt x="514" y="74"/>
                  </a:cubicBezTo>
                  <a:cubicBezTo>
                    <a:pt x="516" y="76"/>
                    <a:pt x="518" y="77"/>
                    <a:pt x="520" y="78"/>
                  </a:cubicBezTo>
                  <a:cubicBezTo>
                    <a:pt x="522" y="79"/>
                    <a:pt x="525" y="80"/>
                    <a:pt x="528" y="80"/>
                  </a:cubicBezTo>
                  <a:cubicBezTo>
                    <a:pt x="531" y="80"/>
                    <a:pt x="534" y="80"/>
                    <a:pt x="536" y="79"/>
                  </a:cubicBezTo>
                  <a:cubicBezTo>
                    <a:pt x="538" y="79"/>
                    <a:pt x="540" y="78"/>
                    <a:pt x="541" y="78"/>
                  </a:cubicBezTo>
                  <a:cubicBezTo>
                    <a:pt x="543" y="77"/>
                    <a:pt x="544" y="77"/>
                    <a:pt x="545" y="76"/>
                  </a:cubicBezTo>
                  <a:cubicBezTo>
                    <a:pt x="546" y="76"/>
                    <a:pt x="547" y="76"/>
                    <a:pt x="547" y="76"/>
                  </a:cubicBezTo>
                  <a:cubicBezTo>
                    <a:pt x="547" y="76"/>
                    <a:pt x="548" y="76"/>
                    <a:pt x="548" y="76"/>
                  </a:cubicBezTo>
                  <a:cubicBezTo>
                    <a:pt x="548" y="76"/>
                    <a:pt x="548" y="76"/>
                    <a:pt x="548" y="76"/>
                  </a:cubicBezTo>
                  <a:cubicBezTo>
                    <a:pt x="548" y="77"/>
                    <a:pt x="549" y="77"/>
                    <a:pt x="549" y="78"/>
                  </a:cubicBezTo>
                  <a:cubicBezTo>
                    <a:pt x="549" y="78"/>
                    <a:pt x="549" y="79"/>
                    <a:pt x="549" y="80"/>
                  </a:cubicBezTo>
                  <a:cubicBezTo>
                    <a:pt x="549" y="80"/>
                    <a:pt x="549" y="81"/>
                    <a:pt x="549" y="81"/>
                  </a:cubicBezTo>
                  <a:cubicBezTo>
                    <a:pt x="549" y="81"/>
                    <a:pt x="549" y="82"/>
                    <a:pt x="549" y="82"/>
                  </a:cubicBezTo>
                  <a:cubicBezTo>
                    <a:pt x="548" y="82"/>
                    <a:pt x="548" y="83"/>
                    <a:pt x="548" y="83"/>
                  </a:cubicBezTo>
                  <a:cubicBezTo>
                    <a:pt x="548" y="83"/>
                    <a:pt x="548" y="83"/>
                    <a:pt x="548" y="84"/>
                  </a:cubicBezTo>
                  <a:cubicBezTo>
                    <a:pt x="547" y="84"/>
                    <a:pt x="547" y="84"/>
                    <a:pt x="546" y="85"/>
                  </a:cubicBezTo>
                  <a:cubicBezTo>
                    <a:pt x="544" y="85"/>
                    <a:pt x="543" y="86"/>
                    <a:pt x="541" y="86"/>
                  </a:cubicBezTo>
                  <a:cubicBezTo>
                    <a:pt x="539" y="87"/>
                    <a:pt x="537" y="87"/>
                    <a:pt x="535" y="88"/>
                  </a:cubicBezTo>
                  <a:cubicBezTo>
                    <a:pt x="533" y="88"/>
                    <a:pt x="530" y="88"/>
                    <a:pt x="527" y="88"/>
                  </a:cubicBezTo>
                  <a:cubicBezTo>
                    <a:pt x="523" y="88"/>
                    <a:pt x="519" y="88"/>
                    <a:pt x="515" y="86"/>
                  </a:cubicBezTo>
                  <a:cubicBezTo>
                    <a:pt x="512" y="85"/>
                    <a:pt x="509" y="83"/>
                    <a:pt x="507" y="80"/>
                  </a:cubicBezTo>
                  <a:cubicBezTo>
                    <a:pt x="504" y="78"/>
                    <a:pt x="502" y="75"/>
                    <a:pt x="501" y="71"/>
                  </a:cubicBezTo>
                  <a:cubicBezTo>
                    <a:pt x="500" y="67"/>
                    <a:pt x="499" y="63"/>
                    <a:pt x="499" y="58"/>
                  </a:cubicBezTo>
                  <a:cubicBezTo>
                    <a:pt x="499" y="53"/>
                    <a:pt x="500" y="48"/>
                    <a:pt x="501" y="44"/>
                  </a:cubicBezTo>
                  <a:cubicBezTo>
                    <a:pt x="502" y="41"/>
                    <a:pt x="504" y="37"/>
                    <a:pt x="507" y="35"/>
                  </a:cubicBezTo>
                  <a:cubicBezTo>
                    <a:pt x="509" y="32"/>
                    <a:pt x="512" y="30"/>
                    <a:pt x="515" y="28"/>
                  </a:cubicBezTo>
                  <a:cubicBezTo>
                    <a:pt x="519" y="27"/>
                    <a:pt x="522" y="26"/>
                    <a:pt x="526" y="26"/>
                  </a:cubicBezTo>
                  <a:cubicBezTo>
                    <a:pt x="531" y="26"/>
                    <a:pt x="535" y="27"/>
                    <a:pt x="538" y="28"/>
                  </a:cubicBezTo>
                  <a:cubicBezTo>
                    <a:pt x="541" y="30"/>
                    <a:pt x="543" y="32"/>
                    <a:pt x="545" y="34"/>
                  </a:cubicBezTo>
                  <a:cubicBezTo>
                    <a:pt x="547" y="37"/>
                    <a:pt x="549" y="39"/>
                    <a:pt x="550" y="43"/>
                  </a:cubicBezTo>
                  <a:cubicBezTo>
                    <a:pt x="551" y="46"/>
                    <a:pt x="551" y="49"/>
                    <a:pt x="551" y="53"/>
                  </a:cubicBezTo>
                  <a:lnTo>
                    <a:pt x="551" y="55"/>
                  </a:lnTo>
                  <a:close/>
                  <a:moveTo>
                    <a:pt x="541" y="52"/>
                  </a:moveTo>
                  <a:cubicBezTo>
                    <a:pt x="541" y="46"/>
                    <a:pt x="540" y="42"/>
                    <a:pt x="537" y="39"/>
                  </a:cubicBezTo>
                  <a:cubicBezTo>
                    <a:pt x="535" y="36"/>
                    <a:pt x="531" y="34"/>
                    <a:pt x="526" y="34"/>
                  </a:cubicBezTo>
                  <a:cubicBezTo>
                    <a:pt x="523" y="34"/>
                    <a:pt x="521" y="35"/>
                    <a:pt x="519" y="36"/>
                  </a:cubicBezTo>
                  <a:cubicBezTo>
                    <a:pt x="517" y="37"/>
                    <a:pt x="516" y="38"/>
                    <a:pt x="514" y="40"/>
                  </a:cubicBezTo>
                  <a:cubicBezTo>
                    <a:pt x="513" y="41"/>
                    <a:pt x="512" y="43"/>
                    <a:pt x="511" y="45"/>
                  </a:cubicBezTo>
                  <a:cubicBezTo>
                    <a:pt x="511" y="47"/>
                    <a:pt x="510" y="49"/>
                    <a:pt x="510" y="52"/>
                  </a:cubicBezTo>
                  <a:lnTo>
                    <a:pt x="541" y="52"/>
                  </a:lnTo>
                  <a:close/>
                  <a:moveTo>
                    <a:pt x="616" y="85"/>
                  </a:moveTo>
                  <a:cubicBezTo>
                    <a:pt x="616" y="86"/>
                    <a:pt x="615" y="86"/>
                    <a:pt x="615" y="86"/>
                  </a:cubicBezTo>
                  <a:cubicBezTo>
                    <a:pt x="615" y="86"/>
                    <a:pt x="615" y="87"/>
                    <a:pt x="614" y="87"/>
                  </a:cubicBezTo>
                  <a:cubicBezTo>
                    <a:pt x="614" y="87"/>
                    <a:pt x="614" y="87"/>
                    <a:pt x="613" y="87"/>
                  </a:cubicBezTo>
                  <a:cubicBezTo>
                    <a:pt x="612" y="87"/>
                    <a:pt x="611" y="87"/>
                    <a:pt x="610" y="87"/>
                  </a:cubicBezTo>
                  <a:cubicBezTo>
                    <a:pt x="609" y="87"/>
                    <a:pt x="609" y="87"/>
                    <a:pt x="608" y="87"/>
                  </a:cubicBezTo>
                  <a:cubicBezTo>
                    <a:pt x="607" y="87"/>
                    <a:pt x="607" y="87"/>
                    <a:pt x="606" y="87"/>
                  </a:cubicBezTo>
                  <a:cubicBezTo>
                    <a:pt x="606" y="87"/>
                    <a:pt x="606" y="86"/>
                    <a:pt x="605" y="86"/>
                  </a:cubicBezTo>
                  <a:cubicBezTo>
                    <a:pt x="605" y="86"/>
                    <a:pt x="605" y="86"/>
                    <a:pt x="605" y="85"/>
                  </a:cubicBezTo>
                  <a:lnTo>
                    <a:pt x="605" y="52"/>
                  </a:lnTo>
                  <a:cubicBezTo>
                    <a:pt x="605" y="49"/>
                    <a:pt x="605" y="47"/>
                    <a:pt x="604" y="45"/>
                  </a:cubicBezTo>
                  <a:cubicBezTo>
                    <a:pt x="604" y="43"/>
                    <a:pt x="603" y="41"/>
                    <a:pt x="602" y="40"/>
                  </a:cubicBezTo>
                  <a:cubicBezTo>
                    <a:pt x="601" y="38"/>
                    <a:pt x="600" y="37"/>
                    <a:pt x="599" y="36"/>
                  </a:cubicBezTo>
                  <a:cubicBezTo>
                    <a:pt x="597" y="36"/>
                    <a:pt x="595" y="35"/>
                    <a:pt x="593" y="35"/>
                  </a:cubicBezTo>
                  <a:cubicBezTo>
                    <a:pt x="591" y="35"/>
                    <a:pt x="588" y="36"/>
                    <a:pt x="586" y="38"/>
                  </a:cubicBezTo>
                  <a:cubicBezTo>
                    <a:pt x="583" y="40"/>
                    <a:pt x="580" y="43"/>
                    <a:pt x="577" y="46"/>
                  </a:cubicBezTo>
                  <a:lnTo>
                    <a:pt x="577" y="85"/>
                  </a:lnTo>
                  <a:cubicBezTo>
                    <a:pt x="577" y="86"/>
                    <a:pt x="577" y="86"/>
                    <a:pt x="577" y="86"/>
                  </a:cubicBezTo>
                  <a:cubicBezTo>
                    <a:pt x="577" y="86"/>
                    <a:pt x="577" y="87"/>
                    <a:pt x="576" y="87"/>
                  </a:cubicBezTo>
                  <a:cubicBezTo>
                    <a:pt x="576" y="87"/>
                    <a:pt x="575" y="87"/>
                    <a:pt x="575" y="87"/>
                  </a:cubicBezTo>
                  <a:cubicBezTo>
                    <a:pt x="574" y="87"/>
                    <a:pt x="573" y="87"/>
                    <a:pt x="572" y="87"/>
                  </a:cubicBezTo>
                  <a:cubicBezTo>
                    <a:pt x="571" y="87"/>
                    <a:pt x="570" y="87"/>
                    <a:pt x="570" y="87"/>
                  </a:cubicBezTo>
                  <a:cubicBezTo>
                    <a:pt x="569" y="87"/>
                    <a:pt x="569" y="87"/>
                    <a:pt x="568" y="87"/>
                  </a:cubicBezTo>
                  <a:cubicBezTo>
                    <a:pt x="568" y="87"/>
                    <a:pt x="567" y="86"/>
                    <a:pt x="567" y="86"/>
                  </a:cubicBezTo>
                  <a:cubicBezTo>
                    <a:pt x="567" y="86"/>
                    <a:pt x="567" y="86"/>
                    <a:pt x="567" y="85"/>
                  </a:cubicBezTo>
                  <a:lnTo>
                    <a:pt x="567" y="29"/>
                  </a:lnTo>
                  <a:cubicBezTo>
                    <a:pt x="567" y="29"/>
                    <a:pt x="567" y="29"/>
                    <a:pt x="567" y="28"/>
                  </a:cubicBezTo>
                  <a:cubicBezTo>
                    <a:pt x="567" y="28"/>
                    <a:pt x="568" y="28"/>
                    <a:pt x="568" y="28"/>
                  </a:cubicBezTo>
                  <a:cubicBezTo>
                    <a:pt x="568" y="27"/>
                    <a:pt x="569" y="27"/>
                    <a:pt x="569" y="27"/>
                  </a:cubicBezTo>
                  <a:cubicBezTo>
                    <a:pt x="570" y="27"/>
                    <a:pt x="571" y="27"/>
                    <a:pt x="572" y="27"/>
                  </a:cubicBezTo>
                  <a:cubicBezTo>
                    <a:pt x="573" y="27"/>
                    <a:pt x="573" y="27"/>
                    <a:pt x="574" y="27"/>
                  </a:cubicBezTo>
                  <a:cubicBezTo>
                    <a:pt x="575" y="27"/>
                    <a:pt x="575" y="27"/>
                    <a:pt x="575" y="28"/>
                  </a:cubicBezTo>
                  <a:cubicBezTo>
                    <a:pt x="576" y="28"/>
                    <a:pt x="576" y="28"/>
                    <a:pt x="576" y="28"/>
                  </a:cubicBezTo>
                  <a:cubicBezTo>
                    <a:pt x="576" y="29"/>
                    <a:pt x="576" y="29"/>
                    <a:pt x="576" y="29"/>
                  </a:cubicBezTo>
                  <a:lnTo>
                    <a:pt x="576" y="37"/>
                  </a:lnTo>
                  <a:cubicBezTo>
                    <a:pt x="580" y="33"/>
                    <a:pt x="583" y="30"/>
                    <a:pt x="586" y="29"/>
                  </a:cubicBezTo>
                  <a:cubicBezTo>
                    <a:pt x="589" y="27"/>
                    <a:pt x="592" y="26"/>
                    <a:pt x="595" y="26"/>
                  </a:cubicBezTo>
                  <a:cubicBezTo>
                    <a:pt x="599" y="26"/>
                    <a:pt x="602" y="27"/>
                    <a:pt x="605" y="28"/>
                  </a:cubicBezTo>
                  <a:cubicBezTo>
                    <a:pt x="607" y="30"/>
                    <a:pt x="610" y="31"/>
                    <a:pt x="611" y="33"/>
                  </a:cubicBezTo>
                  <a:cubicBezTo>
                    <a:pt x="613" y="35"/>
                    <a:pt x="614" y="38"/>
                    <a:pt x="615" y="41"/>
                  </a:cubicBezTo>
                  <a:cubicBezTo>
                    <a:pt x="615" y="44"/>
                    <a:pt x="616" y="47"/>
                    <a:pt x="616" y="51"/>
                  </a:cubicBezTo>
                  <a:lnTo>
                    <a:pt x="616" y="85"/>
                  </a:lnTo>
                  <a:close/>
                  <a:moveTo>
                    <a:pt x="660" y="81"/>
                  </a:moveTo>
                  <a:cubicBezTo>
                    <a:pt x="660" y="82"/>
                    <a:pt x="660" y="83"/>
                    <a:pt x="660" y="84"/>
                  </a:cubicBezTo>
                  <a:cubicBezTo>
                    <a:pt x="660" y="85"/>
                    <a:pt x="660" y="85"/>
                    <a:pt x="659" y="86"/>
                  </a:cubicBezTo>
                  <a:cubicBezTo>
                    <a:pt x="659" y="86"/>
                    <a:pt x="659" y="86"/>
                    <a:pt x="658" y="87"/>
                  </a:cubicBezTo>
                  <a:cubicBezTo>
                    <a:pt x="657" y="87"/>
                    <a:pt x="656" y="87"/>
                    <a:pt x="656" y="87"/>
                  </a:cubicBezTo>
                  <a:cubicBezTo>
                    <a:pt x="655" y="88"/>
                    <a:pt x="654" y="88"/>
                    <a:pt x="653" y="88"/>
                  </a:cubicBezTo>
                  <a:cubicBezTo>
                    <a:pt x="652" y="88"/>
                    <a:pt x="651" y="88"/>
                    <a:pt x="650" y="88"/>
                  </a:cubicBezTo>
                  <a:cubicBezTo>
                    <a:pt x="647" y="88"/>
                    <a:pt x="645" y="88"/>
                    <a:pt x="642" y="87"/>
                  </a:cubicBezTo>
                  <a:cubicBezTo>
                    <a:pt x="640" y="86"/>
                    <a:pt x="639" y="85"/>
                    <a:pt x="637" y="83"/>
                  </a:cubicBezTo>
                  <a:cubicBezTo>
                    <a:pt x="636" y="82"/>
                    <a:pt x="635" y="80"/>
                    <a:pt x="634" y="77"/>
                  </a:cubicBezTo>
                  <a:cubicBezTo>
                    <a:pt x="634" y="75"/>
                    <a:pt x="634" y="72"/>
                    <a:pt x="634" y="69"/>
                  </a:cubicBezTo>
                  <a:lnTo>
                    <a:pt x="634" y="36"/>
                  </a:lnTo>
                  <a:lnTo>
                    <a:pt x="626" y="36"/>
                  </a:lnTo>
                  <a:cubicBezTo>
                    <a:pt x="625" y="36"/>
                    <a:pt x="625" y="36"/>
                    <a:pt x="624" y="35"/>
                  </a:cubicBezTo>
                  <a:cubicBezTo>
                    <a:pt x="624" y="34"/>
                    <a:pt x="624" y="33"/>
                    <a:pt x="624" y="32"/>
                  </a:cubicBezTo>
                  <a:cubicBezTo>
                    <a:pt x="624" y="31"/>
                    <a:pt x="624" y="30"/>
                    <a:pt x="624" y="30"/>
                  </a:cubicBezTo>
                  <a:cubicBezTo>
                    <a:pt x="624" y="29"/>
                    <a:pt x="624" y="29"/>
                    <a:pt x="624" y="28"/>
                  </a:cubicBezTo>
                  <a:cubicBezTo>
                    <a:pt x="624" y="28"/>
                    <a:pt x="625" y="28"/>
                    <a:pt x="625" y="28"/>
                  </a:cubicBezTo>
                  <a:cubicBezTo>
                    <a:pt x="625" y="28"/>
                    <a:pt x="625" y="28"/>
                    <a:pt x="626" y="28"/>
                  </a:cubicBezTo>
                  <a:lnTo>
                    <a:pt x="634" y="28"/>
                  </a:lnTo>
                  <a:lnTo>
                    <a:pt x="634" y="14"/>
                  </a:lnTo>
                  <a:cubicBezTo>
                    <a:pt x="634" y="14"/>
                    <a:pt x="634" y="14"/>
                    <a:pt x="634" y="13"/>
                  </a:cubicBezTo>
                  <a:cubicBezTo>
                    <a:pt x="634" y="13"/>
                    <a:pt x="634" y="13"/>
                    <a:pt x="635" y="13"/>
                  </a:cubicBezTo>
                  <a:cubicBezTo>
                    <a:pt x="635" y="12"/>
                    <a:pt x="636" y="12"/>
                    <a:pt x="636" y="12"/>
                  </a:cubicBezTo>
                  <a:cubicBezTo>
                    <a:pt x="637" y="12"/>
                    <a:pt x="638" y="12"/>
                    <a:pt x="639" y="12"/>
                  </a:cubicBezTo>
                  <a:cubicBezTo>
                    <a:pt x="640" y="12"/>
                    <a:pt x="641" y="12"/>
                    <a:pt x="641" y="12"/>
                  </a:cubicBezTo>
                  <a:cubicBezTo>
                    <a:pt x="642" y="12"/>
                    <a:pt x="642" y="12"/>
                    <a:pt x="643" y="13"/>
                  </a:cubicBezTo>
                  <a:cubicBezTo>
                    <a:pt x="643" y="13"/>
                    <a:pt x="643" y="13"/>
                    <a:pt x="644" y="13"/>
                  </a:cubicBezTo>
                  <a:cubicBezTo>
                    <a:pt x="644" y="14"/>
                    <a:pt x="644" y="14"/>
                    <a:pt x="644" y="14"/>
                  </a:cubicBezTo>
                  <a:lnTo>
                    <a:pt x="644" y="28"/>
                  </a:lnTo>
                  <a:lnTo>
                    <a:pt x="658" y="28"/>
                  </a:lnTo>
                  <a:cubicBezTo>
                    <a:pt x="659" y="28"/>
                    <a:pt x="659" y="28"/>
                    <a:pt x="659" y="28"/>
                  </a:cubicBezTo>
                  <a:cubicBezTo>
                    <a:pt x="659" y="28"/>
                    <a:pt x="660" y="28"/>
                    <a:pt x="660" y="28"/>
                  </a:cubicBezTo>
                  <a:cubicBezTo>
                    <a:pt x="660" y="29"/>
                    <a:pt x="660" y="29"/>
                    <a:pt x="660" y="30"/>
                  </a:cubicBezTo>
                  <a:cubicBezTo>
                    <a:pt x="660" y="30"/>
                    <a:pt x="660" y="31"/>
                    <a:pt x="660" y="32"/>
                  </a:cubicBezTo>
                  <a:cubicBezTo>
                    <a:pt x="660" y="33"/>
                    <a:pt x="660" y="34"/>
                    <a:pt x="660" y="35"/>
                  </a:cubicBezTo>
                  <a:cubicBezTo>
                    <a:pt x="659" y="36"/>
                    <a:pt x="659" y="36"/>
                    <a:pt x="658" y="36"/>
                  </a:cubicBezTo>
                  <a:lnTo>
                    <a:pt x="644" y="36"/>
                  </a:lnTo>
                  <a:lnTo>
                    <a:pt x="644" y="67"/>
                  </a:lnTo>
                  <a:cubicBezTo>
                    <a:pt x="644" y="71"/>
                    <a:pt x="644" y="74"/>
                    <a:pt x="646" y="76"/>
                  </a:cubicBezTo>
                  <a:cubicBezTo>
                    <a:pt x="647" y="78"/>
                    <a:pt x="649" y="79"/>
                    <a:pt x="652" y="79"/>
                  </a:cubicBezTo>
                  <a:cubicBezTo>
                    <a:pt x="653" y="79"/>
                    <a:pt x="654" y="79"/>
                    <a:pt x="654" y="79"/>
                  </a:cubicBezTo>
                  <a:cubicBezTo>
                    <a:pt x="655" y="79"/>
                    <a:pt x="656" y="79"/>
                    <a:pt x="656" y="78"/>
                  </a:cubicBezTo>
                  <a:cubicBezTo>
                    <a:pt x="657" y="78"/>
                    <a:pt x="657" y="78"/>
                    <a:pt x="658" y="78"/>
                  </a:cubicBezTo>
                  <a:cubicBezTo>
                    <a:pt x="658" y="78"/>
                    <a:pt x="659" y="77"/>
                    <a:pt x="659" y="77"/>
                  </a:cubicBezTo>
                  <a:cubicBezTo>
                    <a:pt x="659" y="77"/>
                    <a:pt x="659" y="78"/>
                    <a:pt x="660" y="78"/>
                  </a:cubicBezTo>
                  <a:cubicBezTo>
                    <a:pt x="660" y="78"/>
                    <a:pt x="660" y="78"/>
                    <a:pt x="660" y="78"/>
                  </a:cubicBezTo>
                  <a:cubicBezTo>
                    <a:pt x="660" y="79"/>
                    <a:pt x="660" y="79"/>
                    <a:pt x="660" y="79"/>
                  </a:cubicBezTo>
                  <a:cubicBezTo>
                    <a:pt x="660" y="80"/>
                    <a:pt x="660" y="81"/>
                    <a:pt x="660" y="81"/>
                  </a:cubicBez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4">
              <a:extLst>
                <a:ext uri="{FF2B5EF4-FFF2-40B4-BE49-F238E27FC236}">
                  <a16:creationId xmlns:a16="http://schemas.microsoft.com/office/drawing/2014/main" id="{5C3DBE69-0F56-4FE5-91AE-CC352F3E5D3D}"/>
                </a:ext>
              </a:extLst>
            </p:cNvPr>
            <p:cNvSpPr>
              <a:spLocks noEditPoints="1"/>
            </p:cNvSpPr>
            <p:nvPr/>
          </p:nvSpPr>
          <p:spPr bwMode="auto">
            <a:xfrm>
              <a:off x="2554" y="2393"/>
              <a:ext cx="1297" cy="553"/>
            </a:xfrm>
            <a:custGeom>
              <a:avLst/>
              <a:gdLst>
                <a:gd name="T0" fmla="*/ 4 w 2898"/>
                <a:gd name="T1" fmla="*/ 1 h 1235"/>
                <a:gd name="T2" fmla="*/ 46 w 2898"/>
                <a:gd name="T3" fmla="*/ 46 h 1235"/>
                <a:gd name="T4" fmla="*/ 87 w 2898"/>
                <a:gd name="T5" fmla="*/ 92 h 1235"/>
                <a:gd name="T6" fmla="*/ 125 w 2898"/>
                <a:gd name="T7" fmla="*/ 141 h 1235"/>
                <a:gd name="T8" fmla="*/ 167 w 2898"/>
                <a:gd name="T9" fmla="*/ 185 h 1235"/>
                <a:gd name="T10" fmla="*/ 211 w 2898"/>
                <a:gd name="T11" fmla="*/ 228 h 1235"/>
                <a:gd name="T12" fmla="*/ 255 w 2898"/>
                <a:gd name="T13" fmla="*/ 271 h 1235"/>
                <a:gd name="T14" fmla="*/ 299 w 2898"/>
                <a:gd name="T15" fmla="*/ 314 h 1235"/>
                <a:gd name="T16" fmla="*/ 345 w 2898"/>
                <a:gd name="T17" fmla="*/ 354 h 1235"/>
                <a:gd name="T18" fmla="*/ 392 w 2898"/>
                <a:gd name="T19" fmla="*/ 395 h 1235"/>
                <a:gd name="T20" fmla="*/ 466 w 2898"/>
                <a:gd name="T21" fmla="*/ 457 h 1235"/>
                <a:gd name="T22" fmla="*/ 518 w 2898"/>
                <a:gd name="T23" fmla="*/ 495 h 1235"/>
                <a:gd name="T24" fmla="*/ 567 w 2898"/>
                <a:gd name="T25" fmla="*/ 532 h 1235"/>
                <a:gd name="T26" fmla="*/ 615 w 2898"/>
                <a:gd name="T27" fmla="*/ 566 h 1235"/>
                <a:gd name="T28" fmla="*/ 636 w 2898"/>
                <a:gd name="T29" fmla="*/ 580 h 1235"/>
                <a:gd name="T30" fmla="*/ 687 w 2898"/>
                <a:gd name="T31" fmla="*/ 615 h 1235"/>
                <a:gd name="T32" fmla="*/ 738 w 2898"/>
                <a:gd name="T33" fmla="*/ 650 h 1235"/>
                <a:gd name="T34" fmla="*/ 789 w 2898"/>
                <a:gd name="T35" fmla="*/ 683 h 1235"/>
                <a:gd name="T36" fmla="*/ 841 w 2898"/>
                <a:gd name="T37" fmla="*/ 715 h 1235"/>
                <a:gd name="T38" fmla="*/ 894 w 2898"/>
                <a:gd name="T39" fmla="*/ 747 h 1235"/>
                <a:gd name="T40" fmla="*/ 946 w 2898"/>
                <a:gd name="T41" fmla="*/ 779 h 1235"/>
                <a:gd name="T42" fmla="*/ 1001 w 2898"/>
                <a:gd name="T43" fmla="*/ 807 h 1235"/>
                <a:gd name="T44" fmla="*/ 1055 w 2898"/>
                <a:gd name="T45" fmla="*/ 836 h 1235"/>
                <a:gd name="T46" fmla="*/ 1109 w 2898"/>
                <a:gd name="T47" fmla="*/ 865 h 1235"/>
                <a:gd name="T48" fmla="*/ 1106 w 2898"/>
                <a:gd name="T49" fmla="*/ 866 h 1235"/>
                <a:gd name="T50" fmla="*/ 1161 w 2898"/>
                <a:gd name="T51" fmla="*/ 892 h 1235"/>
                <a:gd name="T52" fmla="*/ 1217 w 2898"/>
                <a:gd name="T53" fmla="*/ 918 h 1235"/>
                <a:gd name="T54" fmla="*/ 1303 w 2898"/>
                <a:gd name="T55" fmla="*/ 960 h 1235"/>
                <a:gd name="T56" fmla="*/ 1364 w 2898"/>
                <a:gd name="T57" fmla="*/ 984 h 1235"/>
                <a:gd name="T58" fmla="*/ 1422 w 2898"/>
                <a:gd name="T59" fmla="*/ 1006 h 1235"/>
                <a:gd name="T60" fmla="*/ 1479 w 2898"/>
                <a:gd name="T61" fmla="*/ 1028 h 1235"/>
                <a:gd name="T62" fmla="*/ 1537 w 2898"/>
                <a:gd name="T63" fmla="*/ 1048 h 1235"/>
                <a:gd name="T64" fmla="*/ 1596 w 2898"/>
                <a:gd name="T65" fmla="*/ 1067 h 1235"/>
                <a:gd name="T66" fmla="*/ 1654 w 2898"/>
                <a:gd name="T67" fmla="*/ 1085 h 1235"/>
                <a:gd name="T68" fmla="*/ 1716 w 2898"/>
                <a:gd name="T69" fmla="*/ 1101 h 1235"/>
                <a:gd name="T70" fmla="*/ 1774 w 2898"/>
                <a:gd name="T71" fmla="*/ 1113 h 1235"/>
                <a:gd name="T72" fmla="*/ 1834 w 2898"/>
                <a:gd name="T73" fmla="*/ 1129 h 1235"/>
                <a:gd name="T74" fmla="*/ 1881 w 2898"/>
                <a:gd name="T75" fmla="*/ 1141 h 1235"/>
                <a:gd name="T76" fmla="*/ 1858 w 2898"/>
                <a:gd name="T77" fmla="*/ 1135 h 1235"/>
                <a:gd name="T78" fmla="*/ 1918 w 2898"/>
                <a:gd name="T79" fmla="*/ 1148 h 1235"/>
                <a:gd name="T80" fmla="*/ 1978 w 2898"/>
                <a:gd name="T81" fmla="*/ 1161 h 1235"/>
                <a:gd name="T82" fmla="*/ 2039 w 2898"/>
                <a:gd name="T83" fmla="*/ 1173 h 1235"/>
                <a:gd name="T84" fmla="*/ 2099 w 2898"/>
                <a:gd name="T85" fmla="*/ 1184 h 1235"/>
                <a:gd name="T86" fmla="*/ 2160 w 2898"/>
                <a:gd name="T87" fmla="*/ 1192 h 1235"/>
                <a:gd name="T88" fmla="*/ 2221 w 2898"/>
                <a:gd name="T89" fmla="*/ 1201 h 1235"/>
                <a:gd name="T90" fmla="*/ 2281 w 2898"/>
                <a:gd name="T91" fmla="*/ 1209 h 1235"/>
                <a:gd name="T92" fmla="*/ 2342 w 2898"/>
                <a:gd name="T93" fmla="*/ 1214 h 1235"/>
                <a:gd name="T94" fmla="*/ 2404 w 2898"/>
                <a:gd name="T95" fmla="*/ 1219 h 1235"/>
                <a:gd name="T96" fmla="*/ 2465 w 2898"/>
                <a:gd name="T97" fmla="*/ 1229 h 1235"/>
                <a:gd name="T98" fmla="*/ 2526 w 2898"/>
                <a:gd name="T99" fmla="*/ 1231 h 1235"/>
                <a:gd name="T100" fmla="*/ 2587 w 2898"/>
                <a:gd name="T101" fmla="*/ 1233 h 1235"/>
                <a:gd name="T102" fmla="*/ 2649 w 2898"/>
                <a:gd name="T103" fmla="*/ 1234 h 1235"/>
                <a:gd name="T104" fmla="*/ 2710 w 2898"/>
                <a:gd name="T105" fmla="*/ 1234 h 1235"/>
                <a:gd name="T106" fmla="*/ 2772 w 2898"/>
                <a:gd name="T107" fmla="*/ 1232 h 1235"/>
                <a:gd name="T108" fmla="*/ 2833 w 2898"/>
                <a:gd name="T109" fmla="*/ 1229 h 1235"/>
                <a:gd name="T110" fmla="*/ 2895 w 2898"/>
                <a:gd name="T111" fmla="*/ 1227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98" h="1235">
                  <a:moveTo>
                    <a:pt x="4" y="1"/>
                  </a:moveTo>
                  <a:lnTo>
                    <a:pt x="28" y="27"/>
                  </a:lnTo>
                  <a:cubicBezTo>
                    <a:pt x="29" y="28"/>
                    <a:pt x="29" y="30"/>
                    <a:pt x="28" y="31"/>
                  </a:cubicBezTo>
                  <a:cubicBezTo>
                    <a:pt x="27" y="32"/>
                    <a:pt x="26" y="32"/>
                    <a:pt x="25" y="31"/>
                  </a:cubicBezTo>
                  <a:lnTo>
                    <a:pt x="1" y="4"/>
                  </a:lnTo>
                  <a:cubicBezTo>
                    <a:pt x="0" y="3"/>
                    <a:pt x="0" y="2"/>
                    <a:pt x="1" y="1"/>
                  </a:cubicBezTo>
                  <a:cubicBezTo>
                    <a:pt x="2" y="0"/>
                    <a:pt x="3" y="0"/>
                    <a:pt x="4" y="1"/>
                  </a:cubicBezTo>
                  <a:close/>
                  <a:moveTo>
                    <a:pt x="46" y="46"/>
                  </a:moveTo>
                  <a:lnTo>
                    <a:pt x="70" y="73"/>
                  </a:lnTo>
                  <a:cubicBezTo>
                    <a:pt x="71" y="74"/>
                    <a:pt x="71" y="75"/>
                    <a:pt x="70" y="76"/>
                  </a:cubicBezTo>
                  <a:cubicBezTo>
                    <a:pt x="69" y="77"/>
                    <a:pt x="67" y="77"/>
                    <a:pt x="66" y="76"/>
                  </a:cubicBezTo>
                  <a:lnTo>
                    <a:pt x="42" y="50"/>
                  </a:lnTo>
                  <a:cubicBezTo>
                    <a:pt x="41" y="49"/>
                    <a:pt x="41" y="47"/>
                    <a:pt x="42" y="46"/>
                  </a:cubicBezTo>
                  <a:cubicBezTo>
                    <a:pt x="43" y="45"/>
                    <a:pt x="45" y="45"/>
                    <a:pt x="46" y="46"/>
                  </a:cubicBezTo>
                  <a:close/>
                  <a:moveTo>
                    <a:pt x="87" y="92"/>
                  </a:moveTo>
                  <a:lnTo>
                    <a:pt x="111" y="118"/>
                  </a:lnTo>
                  <a:cubicBezTo>
                    <a:pt x="112" y="119"/>
                    <a:pt x="112" y="121"/>
                    <a:pt x="111" y="122"/>
                  </a:cubicBezTo>
                  <a:cubicBezTo>
                    <a:pt x="110" y="123"/>
                    <a:pt x="108" y="123"/>
                    <a:pt x="107" y="122"/>
                  </a:cubicBezTo>
                  <a:lnTo>
                    <a:pt x="83" y="95"/>
                  </a:lnTo>
                  <a:cubicBezTo>
                    <a:pt x="82" y="94"/>
                    <a:pt x="82" y="92"/>
                    <a:pt x="83" y="92"/>
                  </a:cubicBezTo>
                  <a:cubicBezTo>
                    <a:pt x="84" y="91"/>
                    <a:pt x="86" y="91"/>
                    <a:pt x="87" y="92"/>
                  </a:cubicBezTo>
                  <a:close/>
                  <a:moveTo>
                    <a:pt x="128" y="137"/>
                  </a:moveTo>
                  <a:lnTo>
                    <a:pt x="143" y="154"/>
                  </a:lnTo>
                  <a:lnTo>
                    <a:pt x="153" y="163"/>
                  </a:lnTo>
                  <a:cubicBezTo>
                    <a:pt x="154" y="164"/>
                    <a:pt x="154" y="166"/>
                    <a:pt x="153" y="167"/>
                  </a:cubicBezTo>
                  <a:cubicBezTo>
                    <a:pt x="152" y="168"/>
                    <a:pt x="150" y="168"/>
                    <a:pt x="149" y="167"/>
                  </a:cubicBezTo>
                  <a:lnTo>
                    <a:pt x="140" y="157"/>
                  </a:lnTo>
                  <a:lnTo>
                    <a:pt x="125" y="141"/>
                  </a:lnTo>
                  <a:cubicBezTo>
                    <a:pt x="124" y="140"/>
                    <a:pt x="124" y="138"/>
                    <a:pt x="125" y="137"/>
                  </a:cubicBezTo>
                  <a:cubicBezTo>
                    <a:pt x="126" y="136"/>
                    <a:pt x="127" y="136"/>
                    <a:pt x="128" y="137"/>
                  </a:cubicBezTo>
                  <a:close/>
                  <a:moveTo>
                    <a:pt x="171" y="181"/>
                  </a:moveTo>
                  <a:lnTo>
                    <a:pt x="196" y="206"/>
                  </a:lnTo>
                  <a:cubicBezTo>
                    <a:pt x="197" y="207"/>
                    <a:pt x="197" y="209"/>
                    <a:pt x="196" y="210"/>
                  </a:cubicBezTo>
                  <a:cubicBezTo>
                    <a:pt x="195" y="211"/>
                    <a:pt x="194" y="211"/>
                    <a:pt x="193" y="210"/>
                  </a:cubicBezTo>
                  <a:lnTo>
                    <a:pt x="167" y="185"/>
                  </a:lnTo>
                  <a:cubicBezTo>
                    <a:pt x="166" y="184"/>
                    <a:pt x="166" y="182"/>
                    <a:pt x="167" y="181"/>
                  </a:cubicBezTo>
                  <a:cubicBezTo>
                    <a:pt x="168" y="180"/>
                    <a:pt x="170" y="180"/>
                    <a:pt x="171" y="181"/>
                  </a:cubicBezTo>
                  <a:close/>
                  <a:moveTo>
                    <a:pt x="215" y="224"/>
                  </a:moveTo>
                  <a:lnTo>
                    <a:pt x="240" y="250"/>
                  </a:lnTo>
                  <a:cubicBezTo>
                    <a:pt x="241" y="251"/>
                    <a:pt x="241" y="252"/>
                    <a:pt x="240" y="253"/>
                  </a:cubicBezTo>
                  <a:cubicBezTo>
                    <a:pt x="239" y="254"/>
                    <a:pt x="237" y="254"/>
                    <a:pt x="236" y="253"/>
                  </a:cubicBezTo>
                  <a:lnTo>
                    <a:pt x="211" y="228"/>
                  </a:lnTo>
                  <a:cubicBezTo>
                    <a:pt x="210" y="227"/>
                    <a:pt x="210" y="225"/>
                    <a:pt x="211" y="224"/>
                  </a:cubicBezTo>
                  <a:cubicBezTo>
                    <a:pt x="212" y="223"/>
                    <a:pt x="214" y="223"/>
                    <a:pt x="215" y="224"/>
                  </a:cubicBezTo>
                  <a:close/>
                  <a:moveTo>
                    <a:pt x="258" y="268"/>
                  </a:moveTo>
                  <a:lnTo>
                    <a:pt x="284" y="293"/>
                  </a:lnTo>
                  <a:cubicBezTo>
                    <a:pt x="285" y="294"/>
                    <a:pt x="285" y="296"/>
                    <a:pt x="284" y="297"/>
                  </a:cubicBezTo>
                  <a:cubicBezTo>
                    <a:pt x="283" y="298"/>
                    <a:pt x="281" y="298"/>
                    <a:pt x="280" y="297"/>
                  </a:cubicBezTo>
                  <a:lnTo>
                    <a:pt x="255" y="271"/>
                  </a:lnTo>
                  <a:cubicBezTo>
                    <a:pt x="254" y="270"/>
                    <a:pt x="254" y="269"/>
                    <a:pt x="255" y="268"/>
                  </a:cubicBezTo>
                  <a:cubicBezTo>
                    <a:pt x="256" y="267"/>
                    <a:pt x="257" y="267"/>
                    <a:pt x="258" y="268"/>
                  </a:cubicBezTo>
                  <a:close/>
                  <a:moveTo>
                    <a:pt x="302" y="310"/>
                  </a:moveTo>
                  <a:lnTo>
                    <a:pt x="329" y="334"/>
                  </a:lnTo>
                  <a:cubicBezTo>
                    <a:pt x="330" y="335"/>
                    <a:pt x="331" y="336"/>
                    <a:pt x="330" y="337"/>
                  </a:cubicBezTo>
                  <a:cubicBezTo>
                    <a:pt x="329" y="338"/>
                    <a:pt x="327" y="338"/>
                    <a:pt x="326" y="337"/>
                  </a:cubicBezTo>
                  <a:lnTo>
                    <a:pt x="299" y="314"/>
                  </a:lnTo>
                  <a:cubicBezTo>
                    <a:pt x="298" y="313"/>
                    <a:pt x="298" y="311"/>
                    <a:pt x="299" y="310"/>
                  </a:cubicBezTo>
                  <a:cubicBezTo>
                    <a:pt x="300" y="309"/>
                    <a:pt x="301" y="309"/>
                    <a:pt x="302" y="310"/>
                  </a:cubicBezTo>
                  <a:close/>
                  <a:moveTo>
                    <a:pt x="349" y="350"/>
                  </a:moveTo>
                  <a:lnTo>
                    <a:pt x="376" y="374"/>
                  </a:lnTo>
                  <a:cubicBezTo>
                    <a:pt x="377" y="375"/>
                    <a:pt x="377" y="376"/>
                    <a:pt x="376" y="378"/>
                  </a:cubicBezTo>
                  <a:cubicBezTo>
                    <a:pt x="375" y="379"/>
                    <a:pt x="373" y="379"/>
                    <a:pt x="372" y="378"/>
                  </a:cubicBezTo>
                  <a:lnTo>
                    <a:pt x="345" y="354"/>
                  </a:lnTo>
                  <a:cubicBezTo>
                    <a:pt x="344" y="353"/>
                    <a:pt x="344" y="352"/>
                    <a:pt x="345" y="351"/>
                  </a:cubicBezTo>
                  <a:cubicBezTo>
                    <a:pt x="346" y="350"/>
                    <a:pt x="348" y="349"/>
                    <a:pt x="349" y="350"/>
                  </a:cubicBezTo>
                  <a:close/>
                  <a:moveTo>
                    <a:pt x="395" y="391"/>
                  </a:moveTo>
                  <a:lnTo>
                    <a:pt x="422" y="414"/>
                  </a:lnTo>
                  <a:cubicBezTo>
                    <a:pt x="423" y="415"/>
                    <a:pt x="423" y="417"/>
                    <a:pt x="422" y="418"/>
                  </a:cubicBezTo>
                  <a:cubicBezTo>
                    <a:pt x="421" y="419"/>
                    <a:pt x="420" y="419"/>
                    <a:pt x="419" y="418"/>
                  </a:cubicBezTo>
                  <a:lnTo>
                    <a:pt x="392" y="395"/>
                  </a:lnTo>
                  <a:cubicBezTo>
                    <a:pt x="391" y="394"/>
                    <a:pt x="391" y="392"/>
                    <a:pt x="391" y="391"/>
                  </a:cubicBezTo>
                  <a:cubicBezTo>
                    <a:pt x="392" y="390"/>
                    <a:pt x="394" y="390"/>
                    <a:pt x="395" y="391"/>
                  </a:cubicBezTo>
                  <a:close/>
                  <a:moveTo>
                    <a:pt x="441" y="431"/>
                  </a:moveTo>
                  <a:lnTo>
                    <a:pt x="443" y="433"/>
                  </a:lnTo>
                  <a:lnTo>
                    <a:pt x="469" y="453"/>
                  </a:lnTo>
                  <a:cubicBezTo>
                    <a:pt x="471" y="454"/>
                    <a:pt x="471" y="456"/>
                    <a:pt x="470" y="457"/>
                  </a:cubicBezTo>
                  <a:cubicBezTo>
                    <a:pt x="469" y="458"/>
                    <a:pt x="467" y="458"/>
                    <a:pt x="466" y="457"/>
                  </a:cubicBezTo>
                  <a:lnTo>
                    <a:pt x="440" y="436"/>
                  </a:lnTo>
                  <a:lnTo>
                    <a:pt x="438" y="435"/>
                  </a:lnTo>
                  <a:cubicBezTo>
                    <a:pt x="437" y="434"/>
                    <a:pt x="437" y="432"/>
                    <a:pt x="438" y="431"/>
                  </a:cubicBezTo>
                  <a:cubicBezTo>
                    <a:pt x="439" y="430"/>
                    <a:pt x="440" y="430"/>
                    <a:pt x="441" y="431"/>
                  </a:cubicBezTo>
                  <a:close/>
                  <a:moveTo>
                    <a:pt x="490" y="469"/>
                  </a:moveTo>
                  <a:lnTo>
                    <a:pt x="518" y="491"/>
                  </a:lnTo>
                  <a:cubicBezTo>
                    <a:pt x="519" y="492"/>
                    <a:pt x="519" y="493"/>
                    <a:pt x="518" y="495"/>
                  </a:cubicBezTo>
                  <a:cubicBezTo>
                    <a:pt x="517" y="496"/>
                    <a:pt x="516" y="496"/>
                    <a:pt x="515" y="495"/>
                  </a:cubicBezTo>
                  <a:lnTo>
                    <a:pt x="487" y="473"/>
                  </a:lnTo>
                  <a:cubicBezTo>
                    <a:pt x="485" y="472"/>
                    <a:pt x="485" y="470"/>
                    <a:pt x="486" y="469"/>
                  </a:cubicBezTo>
                  <a:cubicBezTo>
                    <a:pt x="487" y="468"/>
                    <a:pt x="489" y="468"/>
                    <a:pt x="490" y="469"/>
                  </a:cubicBezTo>
                  <a:close/>
                  <a:moveTo>
                    <a:pt x="538" y="507"/>
                  </a:moveTo>
                  <a:lnTo>
                    <a:pt x="566" y="529"/>
                  </a:lnTo>
                  <a:cubicBezTo>
                    <a:pt x="567" y="530"/>
                    <a:pt x="568" y="531"/>
                    <a:pt x="567" y="532"/>
                  </a:cubicBezTo>
                  <a:cubicBezTo>
                    <a:pt x="566" y="533"/>
                    <a:pt x="564" y="534"/>
                    <a:pt x="563" y="533"/>
                  </a:cubicBezTo>
                  <a:lnTo>
                    <a:pt x="535" y="511"/>
                  </a:lnTo>
                  <a:cubicBezTo>
                    <a:pt x="534" y="510"/>
                    <a:pt x="534" y="508"/>
                    <a:pt x="534" y="507"/>
                  </a:cubicBezTo>
                  <a:cubicBezTo>
                    <a:pt x="535" y="506"/>
                    <a:pt x="537" y="506"/>
                    <a:pt x="538" y="507"/>
                  </a:cubicBezTo>
                  <a:close/>
                  <a:moveTo>
                    <a:pt x="586" y="545"/>
                  </a:moveTo>
                  <a:lnTo>
                    <a:pt x="603" y="557"/>
                  </a:lnTo>
                  <a:lnTo>
                    <a:pt x="615" y="566"/>
                  </a:lnTo>
                  <a:cubicBezTo>
                    <a:pt x="616" y="567"/>
                    <a:pt x="617" y="568"/>
                    <a:pt x="616" y="569"/>
                  </a:cubicBezTo>
                  <a:cubicBezTo>
                    <a:pt x="615" y="570"/>
                    <a:pt x="613" y="571"/>
                    <a:pt x="612" y="570"/>
                  </a:cubicBezTo>
                  <a:lnTo>
                    <a:pt x="600" y="561"/>
                  </a:lnTo>
                  <a:lnTo>
                    <a:pt x="583" y="549"/>
                  </a:lnTo>
                  <a:cubicBezTo>
                    <a:pt x="582" y="548"/>
                    <a:pt x="582" y="546"/>
                    <a:pt x="583" y="545"/>
                  </a:cubicBezTo>
                  <a:cubicBezTo>
                    <a:pt x="584" y="544"/>
                    <a:pt x="585" y="544"/>
                    <a:pt x="586" y="545"/>
                  </a:cubicBezTo>
                  <a:close/>
                  <a:moveTo>
                    <a:pt x="636" y="580"/>
                  </a:moveTo>
                  <a:lnTo>
                    <a:pt x="666" y="600"/>
                  </a:lnTo>
                  <a:cubicBezTo>
                    <a:pt x="667" y="601"/>
                    <a:pt x="667" y="603"/>
                    <a:pt x="667" y="604"/>
                  </a:cubicBezTo>
                  <a:cubicBezTo>
                    <a:pt x="666" y="605"/>
                    <a:pt x="664" y="605"/>
                    <a:pt x="663" y="605"/>
                  </a:cubicBezTo>
                  <a:lnTo>
                    <a:pt x="633" y="584"/>
                  </a:lnTo>
                  <a:cubicBezTo>
                    <a:pt x="632" y="584"/>
                    <a:pt x="632" y="582"/>
                    <a:pt x="633" y="581"/>
                  </a:cubicBezTo>
                  <a:cubicBezTo>
                    <a:pt x="634" y="580"/>
                    <a:pt x="635" y="579"/>
                    <a:pt x="636" y="580"/>
                  </a:cubicBezTo>
                  <a:close/>
                  <a:moveTo>
                    <a:pt x="687" y="615"/>
                  </a:moveTo>
                  <a:lnTo>
                    <a:pt x="717" y="635"/>
                  </a:lnTo>
                  <a:cubicBezTo>
                    <a:pt x="718" y="636"/>
                    <a:pt x="718" y="638"/>
                    <a:pt x="717" y="639"/>
                  </a:cubicBezTo>
                  <a:cubicBezTo>
                    <a:pt x="716" y="640"/>
                    <a:pt x="715" y="640"/>
                    <a:pt x="714" y="639"/>
                  </a:cubicBezTo>
                  <a:lnTo>
                    <a:pt x="684" y="619"/>
                  </a:lnTo>
                  <a:cubicBezTo>
                    <a:pt x="683" y="618"/>
                    <a:pt x="683" y="617"/>
                    <a:pt x="683" y="616"/>
                  </a:cubicBezTo>
                  <a:cubicBezTo>
                    <a:pt x="684" y="614"/>
                    <a:pt x="686" y="614"/>
                    <a:pt x="687" y="615"/>
                  </a:cubicBezTo>
                  <a:close/>
                  <a:moveTo>
                    <a:pt x="738" y="650"/>
                  </a:moveTo>
                  <a:lnTo>
                    <a:pt x="767" y="670"/>
                  </a:lnTo>
                  <a:cubicBezTo>
                    <a:pt x="768" y="671"/>
                    <a:pt x="769" y="672"/>
                    <a:pt x="768" y="673"/>
                  </a:cubicBezTo>
                  <a:cubicBezTo>
                    <a:pt x="767" y="675"/>
                    <a:pt x="766" y="675"/>
                    <a:pt x="764" y="674"/>
                  </a:cubicBezTo>
                  <a:lnTo>
                    <a:pt x="735" y="654"/>
                  </a:lnTo>
                  <a:cubicBezTo>
                    <a:pt x="734" y="653"/>
                    <a:pt x="733" y="651"/>
                    <a:pt x="734" y="650"/>
                  </a:cubicBezTo>
                  <a:cubicBezTo>
                    <a:pt x="735" y="649"/>
                    <a:pt x="736" y="649"/>
                    <a:pt x="738" y="650"/>
                  </a:cubicBezTo>
                  <a:close/>
                  <a:moveTo>
                    <a:pt x="789" y="683"/>
                  </a:moveTo>
                  <a:lnTo>
                    <a:pt x="819" y="702"/>
                  </a:lnTo>
                  <a:cubicBezTo>
                    <a:pt x="821" y="703"/>
                    <a:pt x="821" y="704"/>
                    <a:pt x="820" y="705"/>
                  </a:cubicBezTo>
                  <a:cubicBezTo>
                    <a:pt x="820" y="707"/>
                    <a:pt x="818" y="707"/>
                    <a:pt x="817" y="706"/>
                  </a:cubicBezTo>
                  <a:lnTo>
                    <a:pt x="786" y="688"/>
                  </a:lnTo>
                  <a:cubicBezTo>
                    <a:pt x="785" y="687"/>
                    <a:pt x="785" y="685"/>
                    <a:pt x="785" y="684"/>
                  </a:cubicBezTo>
                  <a:cubicBezTo>
                    <a:pt x="786" y="683"/>
                    <a:pt x="788" y="683"/>
                    <a:pt x="789" y="683"/>
                  </a:cubicBezTo>
                  <a:close/>
                  <a:moveTo>
                    <a:pt x="841" y="715"/>
                  </a:moveTo>
                  <a:lnTo>
                    <a:pt x="872" y="734"/>
                  </a:lnTo>
                  <a:cubicBezTo>
                    <a:pt x="873" y="734"/>
                    <a:pt x="874" y="736"/>
                    <a:pt x="873" y="737"/>
                  </a:cubicBezTo>
                  <a:cubicBezTo>
                    <a:pt x="872" y="738"/>
                    <a:pt x="871" y="739"/>
                    <a:pt x="869" y="738"/>
                  </a:cubicBezTo>
                  <a:lnTo>
                    <a:pt x="839" y="719"/>
                  </a:lnTo>
                  <a:cubicBezTo>
                    <a:pt x="838" y="719"/>
                    <a:pt x="837" y="717"/>
                    <a:pt x="838" y="716"/>
                  </a:cubicBezTo>
                  <a:cubicBezTo>
                    <a:pt x="839" y="715"/>
                    <a:pt x="840" y="714"/>
                    <a:pt x="841" y="715"/>
                  </a:cubicBezTo>
                  <a:close/>
                  <a:moveTo>
                    <a:pt x="894" y="747"/>
                  </a:moveTo>
                  <a:lnTo>
                    <a:pt x="925" y="766"/>
                  </a:lnTo>
                  <a:cubicBezTo>
                    <a:pt x="926" y="766"/>
                    <a:pt x="926" y="768"/>
                    <a:pt x="925" y="769"/>
                  </a:cubicBezTo>
                  <a:cubicBezTo>
                    <a:pt x="925" y="770"/>
                    <a:pt x="923" y="771"/>
                    <a:pt x="922" y="770"/>
                  </a:cubicBezTo>
                  <a:lnTo>
                    <a:pt x="891" y="751"/>
                  </a:lnTo>
                  <a:cubicBezTo>
                    <a:pt x="890" y="751"/>
                    <a:pt x="890" y="749"/>
                    <a:pt x="890" y="748"/>
                  </a:cubicBezTo>
                  <a:cubicBezTo>
                    <a:pt x="891" y="747"/>
                    <a:pt x="893" y="746"/>
                    <a:pt x="894" y="747"/>
                  </a:cubicBezTo>
                  <a:close/>
                  <a:moveTo>
                    <a:pt x="946" y="779"/>
                  </a:moveTo>
                  <a:lnTo>
                    <a:pt x="978" y="795"/>
                  </a:lnTo>
                  <a:cubicBezTo>
                    <a:pt x="979" y="796"/>
                    <a:pt x="980" y="798"/>
                    <a:pt x="979" y="799"/>
                  </a:cubicBezTo>
                  <a:cubicBezTo>
                    <a:pt x="978" y="800"/>
                    <a:pt x="977" y="801"/>
                    <a:pt x="976" y="800"/>
                  </a:cubicBezTo>
                  <a:lnTo>
                    <a:pt x="944" y="783"/>
                  </a:lnTo>
                  <a:cubicBezTo>
                    <a:pt x="943" y="783"/>
                    <a:pt x="942" y="781"/>
                    <a:pt x="943" y="780"/>
                  </a:cubicBezTo>
                  <a:cubicBezTo>
                    <a:pt x="944" y="778"/>
                    <a:pt x="945" y="778"/>
                    <a:pt x="946" y="779"/>
                  </a:cubicBezTo>
                  <a:close/>
                  <a:moveTo>
                    <a:pt x="1001" y="807"/>
                  </a:moveTo>
                  <a:lnTo>
                    <a:pt x="1032" y="824"/>
                  </a:lnTo>
                  <a:cubicBezTo>
                    <a:pt x="1034" y="825"/>
                    <a:pt x="1034" y="826"/>
                    <a:pt x="1033" y="828"/>
                  </a:cubicBezTo>
                  <a:cubicBezTo>
                    <a:pt x="1033" y="829"/>
                    <a:pt x="1031" y="829"/>
                    <a:pt x="1030" y="829"/>
                  </a:cubicBezTo>
                  <a:lnTo>
                    <a:pt x="998" y="812"/>
                  </a:lnTo>
                  <a:cubicBezTo>
                    <a:pt x="997" y="811"/>
                    <a:pt x="997" y="810"/>
                    <a:pt x="997" y="808"/>
                  </a:cubicBezTo>
                  <a:cubicBezTo>
                    <a:pt x="998" y="807"/>
                    <a:pt x="999" y="807"/>
                    <a:pt x="1001" y="807"/>
                  </a:cubicBezTo>
                  <a:close/>
                  <a:moveTo>
                    <a:pt x="1055" y="836"/>
                  </a:moveTo>
                  <a:lnTo>
                    <a:pt x="1087" y="853"/>
                  </a:lnTo>
                  <a:cubicBezTo>
                    <a:pt x="1088" y="853"/>
                    <a:pt x="1088" y="855"/>
                    <a:pt x="1088" y="856"/>
                  </a:cubicBezTo>
                  <a:cubicBezTo>
                    <a:pt x="1087" y="857"/>
                    <a:pt x="1086" y="858"/>
                    <a:pt x="1084" y="857"/>
                  </a:cubicBezTo>
                  <a:lnTo>
                    <a:pt x="1053" y="841"/>
                  </a:lnTo>
                  <a:cubicBezTo>
                    <a:pt x="1051" y="840"/>
                    <a:pt x="1051" y="838"/>
                    <a:pt x="1052" y="837"/>
                  </a:cubicBezTo>
                  <a:cubicBezTo>
                    <a:pt x="1052" y="836"/>
                    <a:pt x="1054" y="835"/>
                    <a:pt x="1055" y="836"/>
                  </a:cubicBezTo>
                  <a:close/>
                  <a:moveTo>
                    <a:pt x="1109" y="865"/>
                  </a:moveTo>
                  <a:lnTo>
                    <a:pt x="1122" y="871"/>
                  </a:lnTo>
                  <a:lnTo>
                    <a:pt x="1141" y="880"/>
                  </a:lnTo>
                  <a:cubicBezTo>
                    <a:pt x="1143" y="881"/>
                    <a:pt x="1143" y="882"/>
                    <a:pt x="1143" y="884"/>
                  </a:cubicBezTo>
                  <a:cubicBezTo>
                    <a:pt x="1142" y="885"/>
                    <a:pt x="1141" y="885"/>
                    <a:pt x="1139" y="885"/>
                  </a:cubicBezTo>
                  <a:lnTo>
                    <a:pt x="1119" y="876"/>
                  </a:lnTo>
                  <a:lnTo>
                    <a:pt x="1107" y="869"/>
                  </a:lnTo>
                  <a:cubicBezTo>
                    <a:pt x="1106" y="869"/>
                    <a:pt x="1105" y="867"/>
                    <a:pt x="1106" y="866"/>
                  </a:cubicBezTo>
                  <a:cubicBezTo>
                    <a:pt x="1107" y="865"/>
                    <a:pt x="1108" y="864"/>
                    <a:pt x="1109" y="865"/>
                  </a:cubicBezTo>
                  <a:close/>
                  <a:moveTo>
                    <a:pt x="1165" y="891"/>
                  </a:moveTo>
                  <a:lnTo>
                    <a:pt x="1197" y="906"/>
                  </a:lnTo>
                  <a:cubicBezTo>
                    <a:pt x="1199" y="906"/>
                    <a:pt x="1199" y="908"/>
                    <a:pt x="1199" y="909"/>
                  </a:cubicBezTo>
                  <a:cubicBezTo>
                    <a:pt x="1198" y="910"/>
                    <a:pt x="1197" y="911"/>
                    <a:pt x="1195" y="910"/>
                  </a:cubicBezTo>
                  <a:lnTo>
                    <a:pt x="1163" y="896"/>
                  </a:lnTo>
                  <a:cubicBezTo>
                    <a:pt x="1161" y="895"/>
                    <a:pt x="1161" y="893"/>
                    <a:pt x="1161" y="892"/>
                  </a:cubicBezTo>
                  <a:cubicBezTo>
                    <a:pt x="1162" y="891"/>
                    <a:pt x="1163" y="890"/>
                    <a:pt x="1165" y="891"/>
                  </a:cubicBezTo>
                  <a:close/>
                  <a:moveTo>
                    <a:pt x="1221" y="916"/>
                  </a:moveTo>
                  <a:lnTo>
                    <a:pt x="1253" y="931"/>
                  </a:lnTo>
                  <a:cubicBezTo>
                    <a:pt x="1255" y="932"/>
                    <a:pt x="1255" y="933"/>
                    <a:pt x="1254" y="935"/>
                  </a:cubicBezTo>
                  <a:cubicBezTo>
                    <a:pt x="1254" y="936"/>
                    <a:pt x="1252" y="937"/>
                    <a:pt x="1251" y="936"/>
                  </a:cubicBezTo>
                  <a:lnTo>
                    <a:pt x="1219" y="921"/>
                  </a:lnTo>
                  <a:cubicBezTo>
                    <a:pt x="1217" y="920"/>
                    <a:pt x="1217" y="919"/>
                    <a:pt x="1217" y="918"/>
                  </a:cubicBezTo>
                  <a:cubicBezTo>
                    <a:pt x="1218" y="916"/>
                    <a:pt x="1219" y="916"/>
                    <a:pt x="1221" y="916"/>
                  </a:cubicBezTo>
                  <a:close/>
                  <a:moveTo>
                    <a:pt x="1277" y="942"/>
                  </a:moveTo>
                  <a:lnTo>
                    <a:pt x="1306" y="955"/>
                  </a:lnTo>
                  <a:lnTo>
                    <a:pt x="1309" y="957"/>
                  </a:lnTo>
                  <a:cubicBezTo>
                    <a:pt x="1310" y="957"/>
                    <a:pt x="1311" y="959"/>
                    <a:pt x="1311" y="960"/>
                  </a:cubicBezTo>
                  <a:cubicBezTo>
                    <a:pt x="1310" y="961"/>
                    <a:pt x="1309" y="962"/>
                    <a:pt x="1307" y="961"/>
                  </a:cubicBezTo>
                  <a:lnTo>
                    <a:pt x="1303" y="960"/>
                  </a:lnTo>
                  <a:lnTo>
                    <a:pt x="1274" y="947"/>
                  </a:lnTo>
                  <a:cubicBezTo>
                    <a:pt x="1273" y="946"/>
                    <a:pt x="1273" y="944"/>
                    <a:pt x="1273" y="943"/>
                  </a:cubicBezTo>
                  <a:cubicBezTo>
                    <a:pt x="1274" y="942"/>
                    <a:pt x="1275" y="941"/>
                    <a:pt x="1277" y="942"/>
                  </a:cubicBezTo>
                  <a:close/>
                  <a:moveTo>
                    <a:pt x="1333" y="966"/>
                  </a:moveTo>
                  <a:lnTo>
                    <a:pt x="1366" y="979"/>
                  </a:lnTo>
                  <a:cubicBezTo>
                    <a:pt x="1368" y="979"/>
                    <a:pt x="1368" y="981"/>
                    <a:pt x="1368" y="982"/>
                  </a:cubicBezTo>
                  <a:cubicBezTo>
                    <a:pt x="1367" y="983"/>
                    <a:pt x="1366" y="984"/>
                    <a:pt x="1364" y="984"/>
                  </a:cubicBezTo>
                  <a:lnTo>
                    <a:pt x="1331" y="971"/>
                  </a:lnTo>
                  <a:cubicBezTo>
                    <a:pt x="1330" y="970"/>
                    <a:pt x="1329" y="969"/>
                    <a:pt x="1330" y="967"/>
                  </a:cubicBezTo>
                  <a:cubicBezTo>
                    <a:pt x="1330" y="966"/>
                    <a:pt x="1332" y="965"/>
                    <a:pt x="1333" y="966"/>
                  </a:cubicBezTo>
                  <a:close/>
                  <a:moveTo>
                    <a:pt x="1390" y="988"/>
                  </a:moveTo>
                  <a:lnTo>
                    <a:pt x="1424" y="1001"/>
                  </a:lnTo>
                  <a:cubicBezTo>
                    <a:pt x="1425" y="1001"/>
                    <a:pt x="1426" y="1003"/>
                    <a:pt x="1425" y="1004"/>
                  </a:cubicBezTo>
                  <a:cubicBezTo>
                    <a:pt x="1425" y="1006"/>
                    <a:pt x="1423" y="1006"/>
                    <a:pt x="1422" y="1006"/>
                  </a:cubicBezTo>
                  <a:lnTo>
                    <a:pt x="1388" y="993"/>
                  </a:lnTo>
                  <a:cubicBezTo>
                    <a:pt x="1387" y="992"/>
                    <a:pt x="1386" y="991"/>
                    <a:pt x="1387" y="989"/>
                  </a:cubicBezTo>
                  <a:cubicBezTo>
                    <a:pt x="1387" y="988"/>
                    <a:pt x="1389" y="987"/>
                    <a:pt x="1390" y="988"/>
                  </a:cubicBezTo>
                  <a:close/>
                  <a:moveTo>
                    <a:pt x="1447" y="1010"/>
                  </a:moveTo>
                  <a:lnTo>
                    <a:pt x="1481" y="1023"/>
                  </a:lnTo>
                  <a:cubicBezTo>
                    <a:pt x="1482" y="1024"/>
                    <a:pt x="1483" y="1025"/>
                    <a:pt x="1482" y="1027"/>
                  </a:cubicBezTo>
                  <a:cubicBezTo>
                    <a:pt x="1482" y="1028"/>
                    <a:pt x="1480" y="1029"/>
                    <a:pt x="1479" y="1028"/>
                  </a:cubicBezTo>
                  <a:lnTo>
                    <a:pt x="1446" y="1015"/>
                  </a:lnTo>
                  <a:cubicBezTo>
                    <a:pt x="1444" y="1015"/>
                    <a:pt x="1444" y="1013"/>
                    <a:pt x="1444" y="1012"/>
                  </a:cubicBezTo>
                  <a:cubicBezTo>
                    <a:pt x="1445" y="1010"/>
                    <a:pt x="1446" y="1010"/>
                    <a:pt x="1447" y="1010"/>
                  </a:cubicBezTo>
                  <a:close/>
                  <a:moveTo>
                    <a:pt x="1505" y="1032"/>
                  </a:moveTo>
                  <a:lnTo>
                    <a:pt x="1539" y="1043"/>
                  </a:lnTo>
                  <a:cubicBezTo>
                    <a:pt x="1540" y="1043"/>
                    <a:pt x="1541" y="1045"/>
                    <a:pt x="1541" y="1046"/>
                  </a:cubicBezTo>
                  <a:cubicBezTo>
                    <a:pt x="1540" y="1047"/>
                    <a:pt x="1539" y="1048"/>
                    <a:pt x="1537" y="1048"/>
                  </a:cubicBezTo>
                  <a:lnTo>
                    <a:pt x="1503" y="1037"/>
                  </a:lnTo>
                  <a:cubicBezTo>
                    <a:pt x="1502" y="1036"/>
                    <a:pt x="1501" y="1035"/>
                    <a:pt x="1502" y="1033"/>
                  </a:cubicBezTo>
                  <a:cubicBezTo>
                    <a:pt x="1502" y="1032"/>
                    <a:pt x="1503" y="1031"/>
                    <a:pt x="1505" y="1032"/>
                  </a:cubicBezTo>
                  <a:close/>
                  <a:moveTo>
                    <a:pt x="1563" y="1051"/>
                  </a:moveTo>
                  <a:lnTo>
                    <a:pt x="1597" y="1062"/>
                  </a:lnTo>
                  <a:cubicBezTo>
                    <a:pt x="1599" y="1062"/>
                    <a:pt x="1599" y="1064"/>
                    <a:pt x="1599" y="1065"/>
                  </a:cubicBezTo>
                  <a:cubicBezTo>
                    <a:pt x="1599" y="1066"/>
                    <a:pt x="1597" y="1067"/>
                    <a:pt x="1596" y="1067"/>
                  </a:cubicBezTo>
                  <a:lnTo>
                    <a:pt x="1562" y="1056"/>
                  </a:lnTo>
                  <a:cubicBezTo>
                    <a:pt x="1560" y="1055"/>
                    <a:pt x="1560" y="1054"/>
                    <a:pt x="1560" y="1052"/>
                  </a:cubicBezTo>
                  <a:cubicBezTo>
                    <a:pt x="1560" y="1051"/>
                    <a:pt x="1562" y="1050"/>
                    <a:pt x="1563" y="1051"/>
                  </a:cubicBezTo>
                  <a:close/>
                  <a:moveTo>
                    <a:pt x="1622" y="1070"/>
                  </a:moveTo>
                  <a:lnTo>
                    <a:pt x="1656" y="1081"/>
                  </a:lnTo>
                  <a:cubicBezTo>
                    <a:pt x="1657" y="1081"/>
                    <a:pt x="1658" y="1082"/>
                    <a:pt x="1658" y="1084"/>
                  </a:cubicBezTo>
                  <a:cubicBezTo>
                    <a:pt x="1657" y="1085"/>
                    <a:pt x="1656" y="1086"/>
                    <a:pt x="1654" y="1085"/>
                  </a:cubicBezTo>
                  <a:lnTo>
                    <a:pt x="1620" y="1074"/>
                  </a:lnTo>
                  <a:cubicBezTo>
                    <a:pt x="1619" y="1074"/>
                    <a:pt x="1618" y="1073"/>
                    <a:pt x="1619" y="1071"/>
                  </a:cubicBezTo>
                  <a:cubicBezTo>
                    <a:pt x="1619" y="1070"/>
                    <a:pt x="1620" y="1069"/>
                    <a:pt x="1622" y="1070"/>
                  </a:cubicBezTo>
                  <a:close/>
                  <a:moveTo>
                    <a:pt x="1680" y="1088"/>
                  </a:moveTo>
                  <a:lnTo>
                    <a:pt x="1685" y="1090"/>
                  </a:lnTo>
                  <a:lnTo>
                    <a:pt x="1715" y="1098"/>
                  </a:lnTo>
                  <a:cubicBezTo>
                    <a:pt x="1716" y="1098"/>
                    <a:pt x="1717" y="1099"/>
                    <a:pt x="1716" y="1101"/>
                  </a:cubicBezTo>
                  <a:cubicBezTo>
                    <a:pt x="1716" y="1102"/>
                    <a:pt x="1715" y="1103"/>
                    <a:pt x="1713" y="1103"/>
                  </a:cubicBezTo>
                  <a:lnTo>
                    <a:pt x="1684" y="1095"/>
                  </a:lnTo>
                  <a:lnTo>
                    <a:pt x="1679" y="1093"/>
                  </a:lnTo>
                  <a:cubicBezTo>
                    <a:pt x="1677" y="1093"/>
                    <a:pt x="1677" y="1091"/>
                    <a:pt x="1677" y="1090"/>
                  </a:cubicBezTo>
                  <a:cubicBezTo>
                    <a:pt x="1677" y="1089"/>
                    <a:pt x="1679" y="1088"/>
                    <a:pt x="1680" y="1088"/>
                  </a:cubicBezTo>
                  <a:close/>
                  <a:moveTo>
                    <a:pt x="1739" y="1104"/>
                  </a:moveTo>
                  <a:lnTo>
                    <a:pt x="1774" y="1113"/>
                  </a:lnTo>
                  <a:cubicBezTo>
                    <a:pt x="1775" y="1114"/>
                    <a:pt x="1776" y="1115"/>
                    <a:pt x="1776" y="1116"/>
                  </a:cubicBezTo>
                  <a:cubicBezTo>
                    <a:pt x="1776" y="1118"/>
                    <a:pt x="1774" y="1118"/>
                    <a:pt x="1773" y="1118"/>
                  </a:cubicBezTo>
                  <a:lnTo>
                    <a:pt x="1738" y="1109"/>
                  </a:lnTo>
                  <a:cubicBezTo>
                    <a:pt x="1737" y="1109"/>
                    <a:pt x="1736" y="1107"/>
                    <a:pt x="1736" y="1106"/>
                  </a:cubicBezTo>
                  <a:cubicBezTo>
                    <a:pt x="1737" y="1105"/>
                    <a:pt x="1738" y="1104"/>
                    <a:pt x="1739" y="1104"/>
                  </a:cubicBezTo>
                  <a:close/>
                  <a:moveTo>
                    <a:pt x="1799" y="1120"/>
                  </a:moveTo>
                  <a:lnTo>
                    <a:pt x="1834" y="1129"/>
                  </a:lnTo>
                  <a:cubicBezTo>
                    <a:pt x="1835" y="1129"/>
                    <a:pt x="1836" y="1130"/>
                    <a:pt x="1835" y="1132"/>
                  </a:cubicBezTo>
                  <a:cubicBezTo>
                    <a:pt x="1835" y="1133"/>
                    <a:pt x="1834" y="1134"/>
                    <a:pt x="1832" y="1134"/>
                  </a:cubicBezTo>
                  <a:lnTo>
                    <a:pt x="1798" y="1125"/>
                  </a:lnTo>
                  <a:cubicBezTo>
                    <a:pt x="1796" y="1124"/>
                    <a:pt x="1795" y="1123"/>
                    <a:pt x="1796" y="1121"/>
                  </a:cubicBezTo>
                  <a:cubicBezTo>
                    <a:pt x="1796" y="1120"/>
                    <a:pt x="1798" y="1119"/>
                    <a:pt x="1799" y="1120"/>
                  </a:cubicBezTo>
                  <a:close/>
                  <a:moveTo>
                    <a:pt x="1858" y="1135"/>
                  </a:moveTo>
                  <a:lnTo>
                    <a:pt x="1881" y="1141"/>
                  </a:lnTo>
                  <a:lnTo>
                    <a:pt x="1893" y="1143"/>
                  </a:lnTo>
                  <a:cubicBezTo>
                    <a:pt x="1894" y="1144"/>
                    <a:pt x="1895" y="1145"/>
                    <a:pt x="1895" y="1146"/>
                  </a:cubicBezTo>
                  <a:cubicBezTo>
                    <a:pt x="1895" y="1148"/>
                    <a:pt x="1893" y="1149"/>
                    <a:pt x="1892" y="1148"/>
                  </a:cubicBezTo>
                  <a:lnTo>
                    <a:pt x="1880" y="1146"/>
                  </a:lnTo>
                  <a:lnTo>
                    <a:pt x="1857" y="1140"/>
                  </a:lnTo>
                  <a:cubicBezTo>
                    <a:pt x="1856" y="1140"/>
                    <a:pt x="1855" y="1138"/>
                    <a:pt x="1855" y="1137"/>
                  </a:cubicBezTo>
                  <a:cubicBezTo>
                    <a:pt x="1856" y="1136"/>
                    <a:pt x="1857" y="1135"/>
                    <a:pt x="1858" y="1135"/>
                  </a:cubicBezTo>
                  <a:close/>
                  <a:moveTo>
                    <a:pt x="1918" y="1148"/>
                  </a:moveTo>
                  <a:lnTo>
                    <a:pt x="1953" y="1156"/>
                  </a:lnTo>
                  <a:cubicBezTo>
                    <a:pt x="1955" y="1156"/>
                    <a:pt x="1956" y="1157"/>
                    <a:pt x="1955" y="1159"/>
                  </a:cubicBezTo>
                  <a:cubicBezTo>
                    <a:pt x="1955" y="1160"/>
                    <a:pt x="1954" y="1161"/>
                    <a:pt x="1952" y="1161"/>
                  </a:cubicBezTo>
                  <a:lnTo>
                    <a:pt x="1917" y="1153"/>
                  </a:lnTo>
                  <a:cubicBezTo>
                    <a:pt x="1916" y="1153"/>
                    <a:pt x="1915" y="1152"/>
                    <a:pt x="1915" y="1150"/>
                  </a:cubicBezTo>
                  <a:cubicBezTo>
                    <a:pt x="1915" y="1149"/>
                    <a:pt x="1917" y="1148"/>
                    <a:pt x="1918" y="1148"/>
                  </a:cubicBezTo>
                  <a:close/>
                  <a:moveTo>
                    <a:pt x="1978" y="1161"/>
                  </a:moveTo>
                  <a:lnTo>
                    <a:pt x="2013" y="1168"/>
                  </a:lnTo>
                  <a:cubicBezTo>
                    <a:pt x="2015" y="1168"/>
                    <a:pt x="2016" y="1169"/>
                    <a:pt x="2015" y="1171"/>
                  </a:cubicBezTo>
                  <a:cubicBezTo>
                    <a:pt x="2015" y="1172"/>
                    <a:pt x="2014" y="1173"/>
                    <a:pt x="2012" y="1173"/>
                  </a:cubicBezTo>
                  <a:lnTo>
                    <a:pt x="1977" y="1166"/>
                  </a:lnTo>
                  <a:cubicBezTo>
                    <a:pt x="1976" y="1165"/>
                    <a:pt x="1975" y="1164"/>
                    <a:pt x="1975" y="1163"/>
                  </a:cubicBezTo>
                  <a:cubicBezTo>
                    <a:pt x="1976" y="1161"/>
                    <a:pt x="1977" y="1160"/>
                    <a:pt x="1978" y="1161"/>
                  </a:cubicBezTo>
                  <a:close/>
                  <a:moveTo>
                    <a:pt x="2039" y="1173"/>
                  </a:moveTo>
                  <a:lnTo>
                    <a:pt x="2074" y="1180"/>
                  </a:lnTo>
                  <a:cubicBezTo>
                    <a:pt x="2075" y="1180"/>
                    <a:pt x="2076" y="1182"/>
                    <a:pt x="2076" y="1183"/>
                  </a:cubicBezTo>
                  <a:cubicBezTo>
                    <a:pt x="2075" y="1184"/>
                    <a:pt x="2074" y="1185"/>
                    <a:pt x="2073" y="1185"/>
                  </a:cubicBezTo>
                  <a:lnTo>
                    <a:pt x="2038" y="1178"/>
                  </a:lnTo>
                  <a:cubicBezTo>
                    <a:pt x="2036" y="1178"/>
                    <a:pt x="2035" y="1176"/>
                    <a:pt x="2036" y="1175"/>
                  </a:cubicBezTo>
                  <a:cubicBezTo>
                    <a:pt x="2036" y="1173"/>
                    <a:pt x="2037" y="1173"/>
                    <a:pt x="2039" y="1173"/>
                  </a:cubicBezTo>
                  <a:close/>
                  <a:moveTo>
                    <a:pt x="2099" y="1184"/>
                  </a:moveTo>
                  <a:lnTo>
                    <a:pt x="2134" y="1189"/>
                  </a:lnTo>
                  <a:cubicBezTo>
                    <a:pt x="2136" y="1189"/>
                    <a:pt x="2137" y="1190"/>
                    <a:pt x="2137" y="1192"/>
                  </a:cubicBezTo>
                  <a:cubicBezTo>
                    <a:pt x="2136" y="1193"/>
                    <a:pt x="2135" y="1194"/>
                    <a:pt x="2134" y="1194"/>
                  </a:cubicBezTo>
                  <a:lnTo>
                    <a:pt x="2098" y="1189"/>
                  </a:lnTo>
                  <a:cubicBezTo>
                    <a:pt x="2097" y="1189"/>
                    <a:pt x="2096" y="1187"/>
                    <a:pt x="2096" y="1186"/>
                  </a:cubicBezTo>
                  <a:cubicBezTo>
                    <a:pt x="2096" y="1184"/>
                    <a:pt x="2097" y="1184"/>
                    <a:pt x="2099" y="1184"/>
                  </a:cubicBezTo>
                  <a:close/>
                  <a:moveTo>
                    <a:pt x="2160" y="1192"/>
                  </a:moveTo>
                  <a:lnTo>
                    <a:pt x="2195" y="1197"/>
                  </a:lnTo>
                  <a:cubicBezTo>
                    <a:pt x="2197" y="1197"/>
                    <a:pt x="2198" y="1199"/>
                    <a:pt x="2197" y="1200"/>
                  </a:cubicBezTo>
                  <a:cubicBezTo>
                    <a:pt x="2197" y="1201"/>
                    <a:pt x="2196" y="1202"/>
                    <a:pt x="2194" y="1202"/>
                  </a:cubicBezTo>
                  <a:lnTo>
                    <a:pt x="2159" y="1197"/>
                  </a:lnTo>
                  <a:cubicBezTo>
                    <a:pt x="2158" y="1197"/>
                    <a:pt x="2157" y="1196"/>
                    <a:pt x="2157" y="1194"/>
                  </a:cubicBezTo>
                  <a:cubicBezTo>
                    <a:pt x="2157" y="1193"/>
                    <a:pt x="2158" y="1192"/>
                    <a:pt x="2160" y="1192"/>
                  </a:cubicBezTo>
                  <a:close/>
                  <a:moveTo>
                    <a:pt x="2221" y="1201"/>
                  </a:moveTo>
                  <a:lnTo>
                    <a:pt x="2256" y="1205"/>
                  </a:lnTo>
                  <a:cubicBezTo>
                    <a:pt x="2257" y="1206"/>
                    <a:pt x="2258" y="1207"/>
                    <a:pt x="2258" y="1208"/>
                  </a:cubicBezTo>
                  <a:cubicBezTo>
                    <a:pt x="2258" y="1210"/>
                    <a:pt x="2257" y="1211"/>
                    <a:pt x="2255" y="1211"/>
                  </a:cubicBezTo>
                  <a:lnTo>
                    <a:pt x="2220" y="1206"/>
                  </a:lnTo>
                  <a:cubicBezTo>
                    <a:pt x="2218" y="1205"/>
                    <a:pt x="2217" y="1204"/>
                    <a:pt x="2218" y="1203"/>
                  </a:cubicBezTo>
                  <a:cubicBezTo>
                    <a:pt x="2218" y="1201"/>
                    <a:pt x="2219" y="1200"/>
                    <a:pt x="2221" y="1201"/>
                  </a:cubicBezTo>
                  <a:close/>
                  <a:moveTo>
                    <a:pt x="2281" y="1209"/>
                  </a:moveTo>
                  <a:lnTo>
                    <a:pt x="2317" y="1212"/>
                  </a:lnTo>
                  <a:cubicBezTo>
                    <a:pt x="2318" y="1212"/>
                    <a:pt x="2319" y="1213"/>
                    <a:pt x="2319" y="1215"/>
                  </a:cubicBezTo>
                  <a:cubicBezTo>
                    <a:pt x="2319" y="1216"/>
                    <a:pt x="2318" y="1217"/>
                    <a:pt x="2317" y="1217"/>
                  </a:cubicBezTo>
                  <a:lnTo>
                    <a:pt x="2281" y="1214"/>
                  </a:lnTo>
                  <a:cubicBezTo>
                    <a:pt x="2279" y="1214"/>
                    <a:pt x="2278" y="1213"/>
                    <a:pt x="2278" y="1211"/>
                  </a:cubicBezTo>
                  <a:cubicBezTo>
                    <a:pt x="2279" y="1210"/>
                    <a:pt x="2280" y="1209"/>
                    <a:pt x="2281" y="1209"/>
                  </a:cubicBezTo>
                  <a:close/>
                  <a:moveTo>
                    <a:pt x="2342" y="1214"/>
                  </a:moveTo>
                  <a:lnTo>
                    <a:pt x="2378" y="1217"/>
                  </a:lnTo>
                  <a:cubicBezTo>
                    <a:pt x="2380" y="1217"/>
                    <a:pt x="2381" y="1218"/>
                    <a:pt x="2381" y="1219"/>
                  </a:cubicBezTo>
                  <a:cubicBezTo>
                    <a:pt x="2380" y="1221"/>
                    <a:pt x="2379" y="1222"/>
                    <a:pt x="2378" y="1222"/>
                  </a:cubicBezTo>
                  <a:lnTo>
                    <a:pt x="2342" y="1219"/>
                  </a:lnTo>
                  <a:cubicBezTo>
                    <a:pt x="2341" y="1219"/>
                    <a:pt x="2340" y="1218"/>
                    <a:pt x="2340" y="1216"/>
                  </a:cubicBezTo>
                  <a:cubicBezTo>
                    <a:pt x="2340" y="1215"/>
                    <a:pt x="2341" y="1214"/>
                    <a:pt x="2342" y="1214"/>
                  </a:cubicBezTo>
                  <a:close/>
                  <a:moveTo>
                    <a:pt x="2404" y="1219"/>
                  </a:moveTo>
                  <a:lnTo>
                    <a:pt x="2439" y="1221"/>
                  </a:lnTo>
                  <a:cubicBezTo>
                    <a:pt x="2441" y="1222"/>
                    <a:pt x="2442" y="1223"/>
                    <a:pt x="2442" y="1224"/>
                  </a:cubicBezTo>
                  <a:cubicBezTo>
                    <a:pt x="2442" y="1226"/>
                    <a:pt x="2440" y="1227"/>
                    <a:pt x="2439" y="1227"/>
                  </a:cubicBezTo>
                  <a:lnTo>
                    <a:pt x="2403" y="1224"/>
                  </a:lnTo>
                  <a:cubicBezTo>
                    <a:pt x="2402" y="1224"/>
                    <a:pt x="2401" y="1222"/>
                    <a:pt x="2401" y="1221"/>
                  </a:cubicBezTo>
                  <a:cubicBezTo>
                    <a:pt x="2401" y="1220"/>
                    <a:pt x="2402" y="1219"/>
                    <a:pt x="2404" y="1219"/>
                  </a:cubicBezTo>
                  <a:close/>
                  <a:moveTo>
                    <a:pt x="2465" y="1223"/>
                  </a:moveTo>
                  <a:lnTo>
                    <a:pt x="2484" y="1225"/>
                  </a:lnTo>
                  <a:lnTo>
                    <a:pt x="2501" y="1225"/>
                  </a:lnTo>
                  <a:cubicBezTo>
                    <a:pt x="2502" y="1225"/>
                    <a:pt x="2503" y="1227"/>
                    <a:pt x="2503" y="1228"/>
                  </a:cubicBezTo>
                  <a:cubicBezTo>
                    <a:pt x="2503" y="1229"/>
                    <a:pt x="2502" y="1230"/>
                    <a:pt x="2500" y="1230"/>
                  </a:cubicBezTo>
                  <a:lnTo>
                    <a:pt x="2483" y="1230"/>
                  </a:lnTo>
                  <a:lnTo>
                    <a:pt x="2465" y="1229"/>
                  </a:lnTo>
                  <a:cubicBezTo>
                    <a:pt x="2463" y="1228"/>
                    <a:pt x="2462" y="1227"/>
                    <a:pt x="2462" y="1226"/>
                  </a:cubicBezTo>
                  <a:cubicBezTo>
                    <a:pt x="2462" y="1224"/>
                    <a:pt x="2464" y="1223"/>
                    <a:pt x="2465" y="1223"/>
                  </a:cubicBezTo>
                  <a:close/>
                  <a:moveTo>
                    <a:pt x="2526" y="1226"/>
                  </a:moveTo>
                  <a:lnTo>
                    <a:pt x="2562" y="1227"/>
                  </a:lnTo>
                  <a:cubicBezTo>
                    <a:pt x="2563" y="1227"/>
                    <a:pt x="2565" y="1228"/>
                    <a:pt x="2565" y="1229"/>
                  </a:cubicBezTo>
                  <a:cubicBezTo>
                    <a:pt x="2564" y="1231"/>
                    <a:pt x="2563" y="1232"/>
                    <a:pt x="2562" y="1232"/>
                  </a:cubicBezTo>
                  <a:lnTo>
                    <a:pt x="2526" y="1231"/>
                  </a:lnTo>
                  <a:cubicBezTo>
                    <a:pt x="2525" y="1231"/>
                    <a:pt x="2524" y="1230"/>
                    <a:pt x="2524" y="1228"/>
                  </a:cubicBezTo>
                  <a:cubicBezTo>
                    <a:pt x="2524" y="1227"/>
                    <a:pt x="2525" y="1226"/>
                    <a:pt x="2526" y="1226"/>
                  </a:cubicBezTo>
                  <a:close/>
                  <a:moveTo>
                    <a:pt x="2588" y="1227"/>
                  </a:moveTo>
                  <a:lnTo>
                    <a:pt x="2623" y="1228"/>
                  </a:lnTo>
                  <a:cubicBezTo>
                    <a:pt x="2625" y="1228"/>
                    <a:pt x="2626" y="1230"/>
                    <a:pt x="2626" y="1231"/>
                  </a:cubicBezTo>
                  <a:cubicBezTo>
                    <a:pt x="2626" y="1232"/>
                    <a:pt x="2625" y="1233"/>
                    <a:pt x="2623" y="1233"/>
                  </a:cubicBezTo>
                  <a:lnTo>
                    <a:pt x="2587" y="1233"/>
                  </a:lnTo>
                  <a:cubicBezTo>
                    <a:pt x="2586" y="1233"/>
                    <a:pt x="2585" y="1231"/>
                    <a:pt x="2585" y="1230"/>
                  </a:cubicBezTo>
                  <a:cubicBezTo>
                    <a:pt x="2585" y="1229"/>
                    <a:pt x="2586" y="1227"/>
                    <a:pt x="2588" y="1227"/>
                  </a:cubicBezTo>
                  <a:close/>
                  <a:moveTo>
                    <a:pt x="2649" y="1229"/>
                  </a:moveTo>
                  <a:lnTo>
                    <a:pt x="2685" y="1230"/>
                  </a:lnTo>
                  <a:cubicBezTo>
                    <a:pt x="2686" y="1230"/>
                    <a:pt x="2687" y="1231"/>
                    <a:pt x="2687" y="1232"/>
                  </a:cubicBezTo>
                  <a:cubicBezTo>
                    <a:pt x="2687" y="1234"/>
                    <a:pt x="2686" y="1235"/>
                    <a:pt x="2685" y="1235"/>
                  </a:cubicBezTo>
                  <a:lnTo>
                    <a:pt x="2649" y="1234"/>
                  </a:lnTo>
                  <a:cubicBezTo>
                    <a:pt x="2647" y="1234"/>
                    <a:pt x="2646" y="1233"/>
                    <a:pt x="2646" y="1231"/>
                  </a:cubicBezTo>
                  <a:cubicBezTo>
                    <a:pt x="2646" y="1230"/>
                    <a:pt x="2648" y="1229"/>
                    <a:pt x="2649" y="1229"/>
                  </a:cubicBezTo>
                  <a:close/>
                  <a:moveTo>
                    <a:pt x="2710" y="1229"/>
                  </a:moveTo>
                  <a:lnTo>
                    <a:pt x="2746" y="1228"/>
                  </a:lnTo>
                  <a:cubicBezTo>
                    <a:pt x="2748" y="1228"/>
                    <a:pt x="2749" y="1229"/>
                    <a:pt x="2749" y="1230"/>
                  </a:cubicBezTo>
                  <a:cubicBezTo>
                    <a:pt x="2749" y="1232"/>
                    <a:pt x="2748" y="1233"/>
                    <a:pt x="2746" y="1233"/>
                  </a:cubicBezTo>
                  <a:lnTo>
                    <a:pt x="2710" y="1234"/>
                  </a:lnTo>
                  <a:cubicBezTo>
                    <a:pt x="2709" y="1234"/>
                    <a:pt x="2708" y="1233"/>
                    <a:pt x="2708" y="1232"/>
                  </a:cubicBezTo>
                  <a:cubicBezTo>
                    <a:pt x="2708" y="1230"/>
                    <a:pt x="2709" y="1229"/>
                    <a:pt x="2710" y="1229"/>
                  </a:cubicBezTo>
                  <a:close/>
                  <a:moveTo>
                    <a:pt x="2772" y="1227"/>
                  </a:moveTo>
                  <a:lnTo>
                    <a:pt x="2807" y="1225"/>
                  </a:lnTo>
                  <a:cubicBezTo>
                    <a:pt x="2809" y="1225"/>
                    <a:pt x="2810" y="1226"/>
                    <a:pt x="2810" y="1228"/>
                  </a:cubicBezTo>
                  <a:cubicBezTo>
                    <a:pt x="2810" y="1229"/>
                    <a:pt x="2809" y="1230"/>
                    <a:pt x="2808" y="1230"/>
                  </a:cubicBezTo>
                  <a:lnTo>
                    <a:pt x="2772" y="1232"/>
                  </a:lnTo>
                  <a:cubicBezTo>
                    <a:pt x="2770" y="1232"/>
                    <a:pt x="2769" y="1231"/>
                    <a:pt x="2769" y="1229"/>
                  </a:cubicBezTo>
                  <a:cubicBezTo>
                    <a:pt x="2769" y="1228"/>
                    <a:pt x="2770" y="1227"/>
                    <a:pt x="2772" y="1227"/>
                  </a:cubicBezTo>
                  <a:close/>
                  <a:moveTo>
                    <a:pt x="2833" y="1224"/>
                  </a:moveTo>
                  <a:lnTo>
                    <a:pt x="2869" y="1223"/>
                  </a:lnTo>
                  <a:cubicBezTo>
                    <a:pt x="2870" y="1223"/>
                    <a:pt x="2871" y="1224"/>
                    <a:pt x="2872" y="1225"/>
                  </a:cubicBezTo>
                  <a:cubicBezTo>
                    <a:pt x="2872" y="1227"/>
                    <a:pt x="2870" y="1228"/>
                    <a:pt x="2869" y="1228"/>
                  </a:cubicBezTo>
                  <a:lnTo>
                    <a:pt x="2833" y="1229"/>
                  </a:lnTo>
                  <a:cubicBezTo>
                    <a:pt x="2832" y="1230"/>
                    <a:pt x="2831" y="1228"/>
                    <a:pt x="2831" y="1227"/>
                  </a:cubicBezTo>
                  <a:cubicBezTo>
                    <a:pt x="2831" y="1226"/>
                    <a:pt x="2832" y="1224"/>
                    <a:pt x="2833" y="1224"/>
                  </a:cubicBezTo>
                  <a:close/>
                  <a:moveTo>
                    <a:pt x="2894" y="1222"/>
                  </a:moveTo>
                  <a:lnTo>
                    <a:pt x="2895" y="1222"/>
                  </a:lnTo>
                  <a:cubicBezTo>
                    <a:pt x="2897" y="1222"/>
                    <a:pt x="2898" y="1223"/>
                    <a:pt x="2898" y="1224"/>
                  </a:cubicBezTo>
                  <a:cubicBezTo>
                    <a:pt x="2898" y="1226"/>
                    <a:pt x="2897" y="1227"/>
                    <a:pt x="2896" y="1227"/>
                  </a:cubicBezTo>
                  <a:lnTo>
                    <a:pt x="2895" y="1227"/>
                  </a:lnTo>
                  <a:cubicBezTo>
                    <a:pt x="2893" y="1227"/>
                    <a:pt x="2892" y="1226"/>
                    <a:pt x="2892" y="1225"/>
                  </a:cubicBezTo>
                  <a:cubicBezTo>
                    <a:pt x="2892" y="1223"/>
                    <a:pt x="2893" y="1222"/>
                    <a:pt x="2894" y="1222"/>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45">
              <a:extLst>
                <a:ext uri="{FF2B5EF4-FFF2-40B4-BE49-F238E27FC236}">
                  <a16:creationId xmlns:a16="http://schemas.microsoft.com/office/drawing/2014/main" id="{BD66A4B3-6E32-45EC-BEF1-D1209444AB8B}"/>
                </a:ext>
              </a:extLst>
            </p:cNvPr>
            <p:cNvSpPr>
              <a:spLocks/>
            </p:cNvSpPr>
            <p:nvPr/>
          </p:nvSpPr>
          <p:spPr bwMode="auto">
            <a:xfrm>
              <a:off x="3841" y="2916"/>
              <a:ext cx="55" cy="52"/>
            </a:xfrm>
            <a:custGeom>
              <a:avLst/>
              <a:gdLst>
                <a:gd name="T0" fmla="*/ 0 w 55"/>
                <a:gd name="T1" fmla="*/ 0 h 52"/>
                <a:gd name="T2" fmla="*/ 55 w 55"/>
                <a:gd name="T3" fmla="*/ 21 h 52"/>
                <a:gd name="T4" fmla="*/ 4 w 55"/>
                <a:gd name="T5" fmla="*/ 52 h 52"/>
                <a:gd name="T6" fmla="*/ 0 w 55"/>
                <a:gd name="T7" fmla="*/ 0 h 52"/>
              </a:gdLst>
              <a:ahLst/>
              <a:cxnLst>
                <a:cxn ang="0">
                  <a:pos x="T0" y="T1"/>
                </a:cxn>
                <a:cxn ang="0">
                  <a:pos x="T2" y="T3"/>
                </a:cxn>
                <a:cxn ang="0">
                  <a:pos x="T4" y="T5"/>
                </a:cxn>
                <a:cxn ang="0">
                  <a:pos x="T6" y="T7"/>
                </a:cxn>
              </a:cxnLst>
              <a:rect l="0" t="0" r="r" b="b"/>
              <a:pathLst>
                <a:path w="55" h="52">
                  <a:moveTo>
                    <a:pt x="0" y="0"/>
                  </a:moveTo>
                  <a:lnTo>
                    <a:pt x="55" y="21"/>
                  </a:lnTo>
                  <a:lnTo>
                    <a:pt x="4" y="52"/>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6">
              <a:extLst>
                <a:ext uri="{FF2B5EF4-FFF2-40B4-BE49-F238E27FC236}">
                  <a16:creationId xmlns:a16="http://schemas.microsoft.com/office/drawing/2014/main" id="{28B82204-1B15-4C78-AFB8-4771A45595DF}"/>
                </a:ext>
              </a:extLst>
            </p:cNvPr>
            <p:cNvSpPr>
              <a:spLocks noChangeArrowheads="1"/>
            </p:cNvSpPr>
            <p:nvPr/>
          </p:nvSpPr>
          <p:spPr bwMode="auto">
            <a:xfrm>
              <a:off x="3041" y="2796"/>
              <a:ext cx="237" cy="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7">
              <a:extLst>
                <a:ext uri="{FF2B5EF4-FFF2-40B4-BE49-F238E27FC236}">
                  <a16:creationId xmlns:a16="http://schemas.microsoft.com/office/drawing/2014/main" id="{253A5B4B-6662-4608-A704-594A214EA55C}"/>
                </a:ext>
              </a:extLst>
            </p:cNvPr>
            <p:cNvSpPr>
              <a:spLocks noEditPoints="1"/>
            </p:cNvSpPr>
            <p:nvPr/>
          </p:nvSpPr>
          <p:spPr bwMode="auto">
            <a:xfrm>
              <a:off x="3043" y="2811"/>
              <a:ext cx="230" cy="37"/>
            </a:xfrm>
            <a:custGeom>
              <a:avLst/>
              <a:gdLst>
                <a:gd name="T0" fmla="*/ 62 w 513"/>
                <a:gd name="T1" fmla="*/ 15 h 83"/>
                <a:gd name="T2" fmla="*/ 14 w 513"/>
                <a:gd name="T3" fmla="*/ 28 h 83"/>
                <a:gd name="T4" fmla="*/ 48 w 513"/>
                <a:gd name="T5" fmla="*/ 72 h 83"/>
                <a:gd name="T6" fmla="*/ 34 w 513"/>
                <a:gd name="T7" fmla="*/ 40 h 83"/>
                <a:gd name="T8" fmla="*/ 65 w 513"/>
                <a:gd name="T9" fmla="*/ 38 h 83"/>
                <a:gd name="T10" fmla="*/ 58 w 513"/>
                <a:gd name="T11" fmla="*/ 79 h 83"/>
                <a:gd name="T12" fmla="*/ 3 w 513"/>
                <a:gd name="T13" fmla="*/ 59 h 83"/>
                <a:gd name="T14" fmla="*/ 49 w 513"/>
                <a:gd name="T15" fmla="*/ 0 h 83"/>
                <a:gd name="T16" fmla="*/ 132 w 513"/>
                <a:gd name="T17" fmla="*/ 50 h 83"/>
                <a:gd name="T18" fmla="*/ 101 w 513"/>
                <a:gd name="T19" fmla="*/ 73 h 83"/>
                <a:gd name="T20" fmla="*/ 129 w 513"/>
                <a:gd name="T21" fmla="*/ 70 h 83"/>
                <a:gd name="T22" fmla="*/ 129 w 513"/>
                <a:gd name="T23" fmla="*/ 78 h 83"/>
                <a:gd name="T24" fmla="*/ 96 w 513"/>
                <a:gd name="T25" fmla="*/ 81 h 83"/>
                <a:gd name="T26" fmla="*/ 96 w 513"/>
                <a:gd name="T27" fmla="*/ 23 h 83"/>
                <a:gd name="T28" fmla="*/ 132 w 513"/>
                <a:gd name="T29" fmla="*/ 50 h 83"/>
                <a:gd name="T30" fmla="*/ 92 w 513"/>
                <a:gd name="T31" fmla="*/ 40 h 83"/>
                <a:gd name="T32" fmla="*/ 175 w 513"/>
                <a:gd name="T33" fmla="*/ 81 h 83"/>
                <a:gd name="T34" fmla="*/ 152 w 513"/>
                <a:gd name="T35" fmla="*/ 72 h 83"/>
                <a:gd name="T36" fmla="*/ 141 w 513"/>
                <a:gd name="T37" fmla="*/ 25 h 83"/>
                <a:gd name="T38" fmla="*/ 151 w 513"/>
                <a:gd name="T39" fmla="*/ 8 h 83"/>
                <a:gd name="T40" fmla="*/ 161 w 513"/>
                <a:gd name="T41" fmla="*/ 8 h 83"/>
                <a:gd name="T42" fmla="*/ 177 w 513"/>
                <a:gd name="T43" fmla="*/ 25 h 83"/>
                <a:gd name="T44" fmla="*/ 163 w 513"/>
                <a:gd name="T45" fmla="*/ 71 h 83"/>
                <a:gd name="T46" fmla="*/ 177 w 513"/>
                <a:gd name="T47" fmla="*/ 72 h 83"/>
                <a:gd name="T48" fmla="*/ 283 w 513"/>
                <a:gd name="T49" fmla="*/ 73 h 83"/>
                <a:gd name="T50" fmla="*/ 259 w 513"/>
                <a:gd name="T51" fmla="*/ 83 h 83"/>
                <a:gd name="T52" fmla="*/ 235 w 513"/>
                <a:gd name="T53" fmla="*/ 11 h 83"/>
                <a:gd name="T54" fmla="*/ 281 w 513"/>
                <a:gd name="T55" fmla="*/ 7 h 83"/>
                <a:gd name="T56" fmla="*/ 283 w 513"/>
                <a:gd name="T57" fmla="*/ 16 h 83"/>
                <a:gd name="T58" fmla="*/ 260 w 513"/>
                <a:gd name="T59" fmla="*/ 9 h 83"/>
                <a:gd name="T60" fmla="*/ 242 w 513"/>
                <a:gd name="T61" fmla="*/ 65 h 83"/>
                <a:gd name="T62" fmla="*/ 282 w 513"/>
                <a:gd name="T63" fmla="*/ 65 h 83"/>
                <a:gd name="T64" fmla="*/ 343 w 513"/>
                <a:gd name="T65" fmla="*/ 64 h 83"/>
                <a:gd name="T66" fmla="*/ 290 w 513"/>
                <a:gd name="T67" fmla="*/ 65 h 83"/>
                <a:gd name="T68" fmla="*/ 329 w 513"/>
                <a:gd name="T69" fmla="*/ 23 h 83"/>
                <a:gd name="T70" fmla="*/ 330 w 513"/>
                <a:gd name="T71" fmla="*/ 36 h 83"/>
                <a:gd name="T72" fmla="*/ 299 w 513"/>
                <a:gd name="T73" fmla="*/ 52 h 83"/>
                <a:gd name="T74" fmla="*/ 330 w 513"/>
                <a:gd name="T75" fmla="*/ 68 h 83"/>
                <a:gd name="T76" fmla="*/ 402 w 513"/>
                <a:gd name="T77" fmla="*/ 82 h 83"/>
                <a:gd name="T78" fmla="*/ 395 w 513"/>
                <a:gd name="T79" fmla="*/ 73 h 83"/>
                <a:gd name="T80" fmla="*/ 356 w 513"/>
                <a:gd name="T81" fmla="*/ 58 h 83"/>
                <a:gd name="T82" fmla="*/ 364 w 513"/>
                <a:gd name="T83" fmla="*/ 22 h 83"/>
                <a:gd name="T84" fmla="*/ 369 w 513"/>
                <a:gd name="T85" fmla="*/ 70 h 83"/>
                <a:gd name="T86" fmla="*/ 394 w 513"/>
                <a:gd name="T87" fmla="*/ 23 h 83"/>
                <a:gd name="T88" fmla="*/ 404 w 513"/>
                <a:gd name="T89" fmla="*/ 23 h 83"/>
                <a:gd name="T90" fmla="*/ 466 w 513"/>
                <a:gd name="T91" fmla="*/ 82 h 83"/>
                <a:gd name="T92" fmla="*/ 458 w 513"/>
                <a:gd name="T93" fmla="*/ 47 h 83"/>
                <a:gd name="T94" fmla="*/ 430 w 513"/>
                <a:gd name="T95" fmla="*/ 41 h 83"/>
                <a:gd name="T96" fmla="*/ 423 w 513"/>
                <a:gd name="T97" fmla="*/ 82 h 83"/>
                <a:gd name="T98" fmla="*/ 421 w 513"/>
                <a:gd name="T99" fmla="*/ 22 h 83"/>
                <a:gd name="T100" fmla="*/ 429 w 513"/>
                <a:gd name="T101" fmla="*/ 24 h 83"/>
                <a:gd name="T102" fmla="*/ 468 w 513"/>
                <a:gd name="T103" fmla="*/ 35 h 83"/>
                <a:gd name="T104" fmla="*/ 511 w 513"/>
                <a:gd name="T105" fmla="*/ 81 h 83"/>
                <a:gd name="T106" fmla="*/ 488 w 513"/>
                <a:gd name="T107" fmla="*/ 72 h 83"/>
                <a:gd name="T108" fmla="*/ 477 w 513"/>
                <a:gd name="T109" fmla="*/ 25 h 83"/>
                <a:gd name="T110" fmla="*/ 487 w 513"/>
                <a:gd name="T111" fmla="*/ 8 h 83"/>
                <a:gd name="T112" fmla="*/ 497 w 513"/>
                <a:gd name="T113" fmla="*/ 8 h 83"/>
                <a:gd name="T114" fmla="*/ 513 w 513"/>
                <a:gd name="T115" fmla="*/ 25 h 83"/>
                <a:gd name="T116" fmla="*/ 499 w 513"/>
                <a:gd name="T117" fmla="*/ 71 h 83"/>
                <a:gd name="T118" fmla="*/ 513 w 513"/>
                <a:gd name="T119" fmla="*/ 7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3" h="83">
                  <a:moveTo>
                    <a:pt x="66" y="12"/>
                  </a:moveTo>
                  <a:cubicBezTo>
                    <a:pt x="66" y="13"/>
                    <a:pt x="66" y="13"/>
                    <a:pt x="66" y="14"/>
                  </a:cubicBezTo>
                  <a:cubicBezTo>
                    <a:pt x="66" y="14"/>
                    <a:pt x="66" y="15"/>
                    <a:pt x="66" y="15"/>
                  </a:cubicBezTo>
                  <a:cubicBezTo>
                    <a:pt x="65" y="16"/>
                    <a:pt x="65" y="16"/>
                    <a:pt x="65" y="16"/>
                  </a:cubicBezTo>
                  <a:cubicBezTo>
                    <a:pt x="65" y="16"/>
                    <a:pt x="64" y="16"/>
                    <a:pt x="64" y="16"/>
                  </a:cubicBezTo>
                  <a:cubicBezTo>
                    <a:pt x="64" y="16"/>
                    <a:pt x="63" y="16"/>
                    <a:pt x="62" y="15"/>
                  </a:cubicBezTo>
                  <a:cubicBezTo>
                    <a:pt x="60" y="14"/>
                    <a:pt x="59" y="14"/>
                    <a:pt x="57" y="13"/>
                  </a:cubicBezTo>
                  <a:cubicBezTo>
                    <a:pt x="55" y="12"/>
                    <a:pt x="53" y="11"/>
                    <a:pt x="50" y="10"/>
                  </a:cubicBezTo>
                  <a:cubicBezTo>
                    <a:pt x="47" y="9"/>
                    <a:pt x="44" y="9"/>
                    <a:pt x="40" y="9"/>
                  </a:cubicBezTo>
                  <a:cubicBezTo>
                    <a:pt x="36" y="9"/>
                    <a:pt x="32" y="10"/>
                    <a:pt x="28" y="11"/>
                  </a:cubicBezTo>
                  <a:cubicBezTo>
                    <a:pt x="25" y="13"/>
                    <a:pt x="22" y="15"/>
                    <a:pt x="19" y="18"/>
                  </a:cubicBezTo>
                  <a:cubicBezTo>
                    <a:pt x="17" y="21"/>
                    <a:pt x="15" y="24"/>
                    <a:pt x="14" y="28"/>
                  </a:cubicBezTo>
                  <a:cubicBezTo>
                    <a:pt x="12" y="32"/>
                    <a:pt x="12" y="37"/>
                    <a:pt x="12" y="41"/>
                  </a:cubicBezTo>
                  <a:cubicBezTo>
                    <a:pt x="12" y="46"/>
                    <a:pt x="12" y="51"/>
                    <a:pt x="14" y="55"/>
                  </a:cubicBezTo>
                  <a:cubicBezTo>
                    <a:pt x="15" y="59"/>
                    <a:pt x="17" y="62"/>
                    <a:pt x="20" y="65"/>
                  </a:cubicBezTo>
                  <a:cubicBezTo>
                    <a:pt x="22" y="68"/>
                    <a:pt x="25" y="70"/>
                    <a:pt x="29" y="71"/>
                  </a:cubicBezTo>
                  <a:cubicBezTo>
                    <a:pt x="32" y="73"/>
                    <a:pt x="36" y="73"/>
                    <a:pt x="40" y="73"/>
                  </a:cubicBezTo>
                  <a:cubicBezTo>
                    <a:pt x="43" y="73"/>
                    <a:pt x="45" y="73"/>
                    <a:pt x="48" y="72"/>
                  </a:cubicBezTo>
                  <a:cubicBezTo>
                    <a:pt x="51" y="72"/>
                    <a:pt x="53" y="71"/>
                    <a:pt x="55" y="70"/>
                  </a:cubicBezTo>
                  <a:lnTo>
                    <a:pt x="55" y="46"/>
                  </a:lnTo>
                  <a:lnTo>
                    <a:pt x="36" y="46"/>
                  </a:lnTo>
                  <a:cubicBezTo>
                    <a:pt x="36" y="46"/>
                    <a:pt x="35" y="46"/>
                    <a:pt x="35" y="45"/>
                  </a:cubicBezTo>
                  <a:cubicBezTo>
                    <a:pt x="34" y="44"/>
                    <a:pt x="34" y="43"/>
                    <a:pt x="34" y="42"/>
                  </a:cubicBezTo>
                  <a:cubicBezTo>
                    <a:pt x="34" y="41"/>
                    <a:pt x="34" y="40"/>
                    <a:pt x="34" y="40"/>
                  </a:cubicBezTo>
                  <a:cubicBezTo>
                    <a:pt x="34" y="39"/>
                    <a:pt x="35" y="39"/>
                    <a:pt x="35" y="38"/>
                  </a:cubicBezTo>
                  <a:cubicBezTo>
                    <a:pt x="35" y="38"/>
                    <a:pt x="35" y="38"/>
                    <a:pt x="35" y="38"/>
                  </a:cubicBezTo>
                  <a:cubicBezTo>
                    <a:pt x="36" y="37"/>
                    <a:pt x="36" y="37"/>
                    <a:pt x="36" y="37"/>
                  </a:cubicBezTo>
                  <a:lnTo>
                    <a:pt x="62" y="37"/>
                  </a:lnTo>
                  <a:cubicBezTo>
                    <a:pt x="63" y="37"/>
                    <a:pt x="63" y="37"/>
                    <a:pt x="63" y="38"/>
                  </a:cubicBezTo>
                  <a:cubicBezTo>
                    <a:pt x="64" y="38"/>
                    <a:pt x="64" y="38"/>
                    <a:pt x="65" y="38"/>
                  </a:cubicBezTo>
                  <a:cubicBezTo>
                    <a:pt x="65" y="39"/>
                    <a:pt x="65" y="39"/>
                    <a:pt x="66" y="40"/>
                  </a:cubicBezTo>
                  <a:cubicBezTo>
                    <a:pt x="66" y="40"/>
                    <a:pt x="66" y="41"/>
                    <a:pt x="66" y="42"/>
                  </a:cubicBezTo>
                  <a:lnTo>
                    <a:pt x="66" y="73"/>
                  </a:lnTo>
                  <a:cubicBezTo>
                    <a:pt x="66" y="74"/>
                    <a:pt x="66" y="75"/>
                    <a:pt x="65" y="75"/>
                  </a:cubicBezTo>
                  <a:cubicBezTo>
                    <a:pt x="65" y="76"/>
                    <a:pt x="64" y="77"/>
                    <a:pt x="63" y="77"/>
                  </a:cubicBezTo>
                  <a:cubicBezTo>
                    <a:pt x="62" y="78"/>
                    <a:pt x="60" y="79"/>
                    <a:pt x="58" y="79"/>
                  </a:cubicBezTo>
                  <a:cubicBezTo>
                    <a:pt x="56" y="80"/>
                    <a:pt x="54" y="81"/>
                    <a:pt x="52" y="81"/>
                  </a:cubicBezTo>
                  <a:cubicBezTo>
                    <a:pt x="50" y="82"/>
                    <a:pt x="48" y="82"/>
                    <a:pt x="46" y="82"/>
                  </a:cubicBezTo>
                  <a:cubicBezTo>
                    <a:pt x="44" y="83"/>
                    <a:pt x="42" y="83"/>
                    <a:pt x="40" y="83"/>
                  </a:cubicBezTo>
                  <a:cubicBezTo>
                    <a:pt x="34" y="83"/>
                    <a:pt x="28" y="82"/>
                    <a:pt x="23" y="80"/>
                  </a:cubicBezTo>
                  <a:cubicBezTo>
                    <a:pt x="18" y="78"/>
                    <a:pt x="14" y="75"/>
                    <a:pt x="11" y="72"/>
                  </a:cubicBezTo>
                  <a:cubicBezTo>
                    <a:pt x="7" y="68"/>
                    <a:pt x="5" y="64"/>
                    <a:pt x="3" y="59"/>
                  </a:cubicBezTo>
                  <a:cubicBezTo>
                    <a:pt x="1" y="54"/>
                    <a:pt x="0" y="48"/>
                    <a:pt x="0" y="42"/>
                  </a:cubicBezTo>
                  <a:cubicBezTo>
                    <a:pt x="0" y="36"/>
                    <a:pt x="1" y="30"/>
                    <a:pt x="3" y="25"/>
                  </a:cubicBezTo>
                  <a:cubicBezTo>
                    <a:pt x="5" y="19"/>
                    <a:pt x="8" y="15"/>
                    <a:pt x="11" y="11"/>
                  </a:cubicBezTo>
                  <a:cubicBezTo>
                    <a:pt x="15" y="8"/>
                    <a:pt x="19" y="5"/>
                    <a:pt x="24" y="3"/>
                  </a:cubicBezTo>
                  <a:cubicBezTo>
                    <a:pt x="29" y="1"/>
                    <a:pt x="34" y="0"/>
                    <a:pt x="40" y="0"/>
                  </a:cubicBezTo>
                  <a:cubicBezTo>
                    <a:pt x="44" y="0"/>
                    <a:pt x="46" y="0"/>
                    <a:pt x="49" y="0"/>
                  </a:cubicBezTo>
                  <a:cubicBezTo>
                    <a:pt x="52" y="1"/>
                    <a:pt x="54" y="2"/>
                    <a:pt x="56" y="2"/>
                  </a:cubicBezTo>
                  <a:cubicBezTo>
                    <a:pt x="58" y="3"/>
                    <a:pt x="60" y="4"/>
                    <a:pt x="62" y="5"/>
                  </a:cubicBezTo>
                  <a:cubicBezTo>
                    <a:pt x="63" y="6"/>
                    <a:pt x="64" y="6"/>
                    <a:pt x="65" y="7"/>
                  </a:cubicBezTo>
                  <a:cubicBezTo>
                    <a:pt x="65" y="7"/>
                    <a:pt x="66" y="8"/>
                    <a:pt x="66" y="9"/>
                  </a:cubicBezTo>
                  <a:cubicBezTo>
                    <a:pt x="66" y="9"/>
                    <a:pt x="66" y="10"/>
                    <a:pt x="66" y="12"/>
                  </a:cubicBezTo>
                  <a:close/>
                  <a:moveTo>
                    <a:pt x="132" y="50"/>
                  </a:moveTo>
                  <a:cubicBezTo>
                    <a:pt x="132" y="51"/>
                    <a:pt x="132" y="52"/>
                    <a:pt x="131" y="53"/>
                  </a:cubicBezTo>
                  <a:cubicBezTo>
                    <a:pt x="130" y="54"/>
                    <a:pt x="129" y="54"/>
                    <a:pt x="128" y="54"/>
                  </a:cubicBezTo>
                  <a:lnTo>
                    <a:pt x="91" y="54"/>
                  </a:lnTo>
                  <a:cubicBezTo>
                    <a:pt x="91" y="57"/>
                    <a:pt x="91" y="60"/>
                    <a:pt x="92" y="62"/>
                  </a:cubicBezTo>
                  <a:cubicBezTo>
                    <a:pt x="93" y="65"/>
                    <a:pt x="94" y="67"/>
                    <a:pt x="95" y="69"/>
                  </a:cubicBezTo>
                  <a:cubicBezTo>
                    <a:pt x="97" y="71"/>
                    <a:pt x="99" y="72"/>
                    <a:pt x="101" y="73"/>
                  </a:cubicBezTo>
                  <a:cubicBezTo>
                    <a:pt x="103" y="74"/>
                    <a:pt x="106" y="74"/>
                    <a:pt x="109" y="74"/>
                  </a:cubicBezTo>
                  <a:cubicBezTo>
                    <a:pt x="112" y="74"/>
                    <a:pt x="115" y="74"/>
                    <a:pt x="117" y="74"/>
                  </a:cubicBezTo>
                  <a:cubicBezTo>
                    <a:pt x="119" y="73"/>
                    <a:pt x="121" y="73"/>
                    <a:pt x="122" y="72"/>
                  </a:cubicBezTo>
                  <a:cubicBezTo>
                    <a:pt x="124" y="72"/>
                    <a:pt x="125" y="71"/>
                    <a:pt x="126" y="71"/>
                  </a:cubicBezTo>
                  <a:cubicBezTo>
                    <a:pt x="127" y="70"/>
                    <a:pt x="128" y="70"/>
                    <a:pt x="128" y="70"/>
                  </a:cubicBezTo>
                  <a:cubicBezTo>
                    <a:pt x="128" y="70"/>
                    <a:pt x="129" y="70"/>
                    <a:pt x="129" y="70"/>
                  </a:cubicBezTo>
                  <a:cubicBezTo>
                    <a:pt x="129" y="71"/>
                    <a:pt x="129" y="71"/>
                    <a:pt x="129" y="71"/>
                  </a:cubicBezTo>
                  <a:cubicBezTo>
                    <a:pt x="130" y="71"/>
                    <a:pt x="130" y="72"/>
                    <a:pt x="130" y="72"/>
                  </a:cubicBezTo>
                  <a:cubicBezTo>
                    <a:pt x="130" y="73"/>
                    <a:pt x="130" y="73"/>
                    <a:pt x="130" y="74"/>
                  </a:cubicBezTo>
                  <a:cubicBezTo>
                    <a:pt x="130" y="75"/>
                    <a:pt x="130" y="75"/>
                    <a:pt x="130" y="76"/>
                  </a:cubicBezTo>
                  <a:cubicBezTo>
                    <a:pt x="130" y="76"/>
                    <a:pt x="130" y="76"/>
                    <a:pt x="130" y="77"/>
                  </a:cubicBezTo>
                  <a:cubicBezTo>
                    <a:pt x="130" y="77"/>
                    <a:pt x="129" y="77"/>
                    <a:pt x="129" y="78"/>
                  </a:cubicBezTo>
                  <a:cubicBezTo>
                    <a:pt x="129" y="78"/>
                    <a:pt x="129" y="78"/>
                    <a:pt x="129" y="78"/>
                  </a:cubicBezTo>
                  <a:cubicBezTo>
                    <a:pt x="128" y="78"/>
                    <a:pt x="128" y="79"/>
                    <a:pt x="127" y="79"/>
                  </a:cubicBezTo>
                  <a:cubicBezTo>
                    <a:pt x="126" y="80"/>
                    <a:pt x="124" y="80"/>
                    <a:pt x="122" y="81"/>
                  </a:cubicBezTo>
                  <a:cubicBezTo>
                    <a:pt x="120" y="81"/>
                    <a:pt x="118" y="82"/>
                    <a:pt x="116" y="82"/>
                  </a:cubicBezTo>
                  <a:cubicBezTo>
                    <a:pt x="114" y="83"/>
                    <a:pt x="111" y="83"/>
                    <a:pt x="109" y="83"/>
                  </a:cubicBezTo>
                  <a:cubicBezTo>
                    <a:pt x="104" y="83"/>
                    <a:pt x="100" y="82"/>
                    <a:pt x="96" y="81"/>
                  </a:cubicBezTo>
                  <a:cubicBezTo>
                    <a:pt x="93" y="80"/>
                    <a:pt x="90" y="78"/>
                    <a:pt x="88" y="75"/>
                  </a:cubicBezTo>
                  <a:cubicBezTo>
                    <a:pt x="85" y="73"/>
                    <a:pt x="83" y="69"/>
                    <a:pt x="82" y="66"/>
                  </a:cubicBezTo>
                  <a:cubicBezTo>
                    <a:pt x="81" y="62"/>
                    <a:pt x="80" y="57"/>
                    <a:pt x="80" y="52"/>
                  </a:cubicBezTo>
                  <a:cubicBezTo>
                    <a:pt x="80" y="47"/>
                    <a:pt x="81" y="43"/>
                    <a:pt x="82" y="39"/>
                  </a:cubicBezTo>
                  <a:cubicBezTo>
                    <a:pt x="84" y="35"/>
                    <a:pt x="85" y="32"/>
                    <a:pt x="88" y="29"/>
                  </a:cubicBezTo>
                  <a:cubicBezTo>
                    <a:pt x="90" y="27"/>
                    <a:pt x="93" y="25"/>
                    <a:pt x="96" y="23"/>
                  </a:cubicBezTo>
                  <a:cubicBezTo>
                    <a:pt x="100" y="22"/>
                    <a:pt x="103" y="21"/>
                    <a:pt x="107" y="21"/>
                  </a:cubicBezTo>
                  <a:cubicBezTo>
                    <a:pt x="112" y="21"/>
                    <a:pt x="116" y="22"/>
                    <a:pt x="119" y="23"/>
                  </a:cubicBezTo>
                  <a:cubicBezTo>
                    <a:pt x="122" y="25"/>
                    <a:pt x="124" y="26"/>
                    <a:pt x="126" y="29"/>
                  </a:cubicBezTo>
                  <a:cubicBezTo>
                    <a:pt x="128" y="31"/>
                    <a:pt x="130" y="34"/>
                    <a:pt x="131" y="37"/>
                  </a:cubicBezTo>
                  <a:cubicBezTo>
                    <a:pt x="132" y="41"/>
                    <a:pt x="132" y="44"/>
                    <a:pt x="132" y="48"/>
                  </a:cubicBezTo>
                  <a:lnTo>
                    <a:pt x="132" y="50"/>
                  </a:lnTo>
                  <a:close/>
                  <a:moveTo>
                    <a:pt x="122" y="46"/>
                  </a:moveTo>
                  <a:cubicBezTo>
                    <a:pt x="122" y="41"/>
                    <a:pt x="121" y="37"/>
                    <a:pt x="118" y="34"/>
                  </a:cubicBezTo>
                  <a:cubicBezTo>
                    <a:pt x="116" y="31"/>
                    <a:pt x="112" y="29"/>
                    <a:pt x="107" y="29"/>
                  </a:cubicBezTo>
                  <a:cubicBezTo>
                    <a:pt x="104" y="29"/>
                    <a:pt x="102" y="30"/>
                    <a:pt x="100" y="31"/>
                  </a:cubicBezTo>
                  <a:cubicBezTo>
                    <a:pt x="98" y="31"/>
                    <a:pt x="97" y="33"/>
                    <a:pt x="95" y="34"/>
                  </a:cubicBezTo>
                  <a:cubicBezTo>
                    <a:pt x="94" y="36"/>
                    <a:pt x="93" y="38"/>
                    <a:pt x="92" y="40"/>
                  </a:cubicBezTo>
                  <a:cubicBezTo>
                    <a:pt x="92" y="42"/>
                    <a:pt x="91" y="44"/>
                    <a:pt x="91" y="46"/>
                  </a:cubicBezTo>
                  <a:lnTo>
                    <a:pt x="122" y="46"/>
                  </a:lnTo>
                  <a:close/>
                  <a:moveTo>
                    <a:pt x="177" y="76"/>
                  </a:moveTo>
                  <a:cubicBezTo>
                    <a:pt x="177" y="77"/>
                    <a:pt x="177" y="78"/>
                    <a:pt x="177" y="79"/>
                  </a:cubicBezTo>
                  <a:cubicBezTo>
                    <a:pt x="177" y="80"/>
                    <a:pt x="177" y="80"/>
                    <a:pt x="176" y="80"/>
                  </a:cubicBezTo>
                  <a:cubicBezTo>
                    <a:pt x="176" y="81"/>
                    <a:pt x="176" y="81"/>
                    <a:pt x="175" y="81"/>
                  </a:cubicBezTo>
                  <a:cubicBezTo>
                    <a:pt x="174" y="82"/>
                    <a:pt x="173" y="82"/>
                    <a:pt x="173" y="82"/>
                  </a:cubicBezTo>
                  <a:cubicBezTo>
                    <a:pt x="172" y="82"/>
                    <a:pt x="171" y="82"/>
                    <a:pt x="170" y="83"/>
                  </a:cubicBezTo>
                  <a:cubicBezTo>
                    <a:pt x="169" y="83"/>
                    <a:pt x="168" y="83"/>
                    <a:pt x="167" y="83"/>
                  </a:cubicBezTo>
                  <a:cubicBezTo>
                    <a:pt x="164" y="83"/>
                    <a:pt x="162" y="82"/>
                    <a:pt x="160" y="82"/>
                  </a:cubicBezTo>
                  <a:cubicBezTo>
                    <a:pt x="157" y="81"/>
                    <a:pt x="156" y="80"/>
                    <a:pt x="154" y="78"/>
                  </a:cubicBezTo>
                  <a:cubicBezTo>
                    <a:pt x="153" y="76"/>
                    <a:pt x="152" y="75"/>
                    <a:pt x="152" y="72"/>
                  </a:cubicBezTo>
                  <a:cubicBezTo>
                    <a:pt x="151" y="70"/>
                    <a:pt x="151" y="67"/>
                    <a:pt x="151" y="64"/>
                  </a:cubicBezTo>
                  <a:lnTo>
                    <a:pt x="151" y="31"/>
                  </a:lnTo>
                  <a:lnTo>
                    <a:pt x="143" y="31"/>
                  </a:lnTo>
                  <a:cubicBezTo>
                    <a:pt x="142" y="31"/>
                    <a:pt x="142" y="30"/>
                    <a:pt x="141" y="30"/>
                  </a:cubicBezTo>
                  <a:cubicBezTo>
                    <a:pt x="141" y="29"/>
                    <a:pt x="141" y="28"/>
                    <a:pt x="141" y="27"/>
                  </a:cubicBezTo>
                  <a:cubicBezTo>
                    <a:pt x="141" y="26"/>
                    <a:pt x="141" y="25"/>
                    <a:pt x="141" y="25"/>
                  </a:cubicBezTo>
                  <a:cubicBezTo>
                    <a:pt x="141" y="24"/>
                    <a:pt x="141" y="24"/>
                    <a:pt x="141" y="23"/>
                  </a:cubicBezTo>
                  <a:cubicBezTo>
                    <a:pt x="141" y="23"/>
                    <a:pt x="142" y="23"/>
                    <a:pt x="142" y="22"/>
                  </a:cubicBezTo>
                  <a:cubicBezTo>
                    <a:pt x="142" y="22"/>
                    <a:pt x="142" y="22"/>
                    <a:pt x="143" y="22"/>
                  </a:cubicBezTo>
                  <a:lnTo>
                    <a:pt x="151" y="22"/>
                  </a:lnTo>
                  <a:lnTo>
                    <a:pt x="151" y="9"/>
                  </a:lnTo>
                  <a:cubicBezTo>
                    <a:pt x="151" y="9"/>
                    <a:pt x="151" y="8"/>
                    <a:pt x="151" y="8"/>
                  </a:cubicBezTo>
                  <a:cubicBezTo>
                    <a:pt x="151" y="8"/>
                    <a:pt x="151" y="8"/>
                    <a:pt x="152" y="7"/>
                  </a:cubicBezTo>
                  <a:cubicBezTo>
                    <a:pt x="152" y="7"/>
                    <a:pt x="153" y="7"/>
                    <a:pt x="153" y="7"/>
                  </a:cubicBezTo>
                  <a:cubicBezTo>
                    <a:pt x="154" y="7"/>
                    <a:pt x="155" y="7"/>
                    <a:pt x="156" y="7"/>
                  </a:cubicBezTo>
                  <a:cubicBezTo>
                    <a:pt x="157" y="7"/>
                    <a:pt x="158" y="7"/>
                    <a:pt x="158" y="7"/>
                  </a:cubicBezTo>
                  <a:cubicBezTo>
                    <a:pt x="159" y="7"/>
                    <a:pt x="159" y="7"/>
                    <a:pt x="160" y="7"/>
                  </a:cubicBezTo>
                  <a:cubicBezTo>
                    <a:pt x="160" y="8"/>
                    <a:pt x="160" y="8"/>
                    <a:pt x="161" y="8"/>
                  </a:cubicBezTo>
                  <a:cubicBezTo>
                    <a:pt x="161" y="8"/>
                    <a:pt x="161" y="9"/>
                    <a:pt x="161" y="9"/>
                  </a:cubicBezTo>
                  <a:lnTo>
                    <a:pt x="161" y="22"/>
                  </a:lnTo>
                  <a:lnTo>
                    <a:pt x="175" y="22"/>
                  </a:lnTo>
                  <a:cubicBezTo>
                    <a:pt x="176" y="22"/>
                    <a:pt x="176" y="22"/>
                    <a:pt x="176" y="22"/>
                  </a:cubicBezTo>
                  <a:cubicBezTo>
                    <a:pt x="176" y="23"/>
                    <a:pt x="177" y="23"/>
                    <a:pt x="177" y="23"/>
                  </a:cubicBezTo>
                  <a:cubicBezTo>
                    <a:pt x="177" y="24"/>
                    <a:pt x="177" y="24"/>
                    <a:pt x="177" y="25"/>
                  </a:cubicBezTo>
                  <a:cubicBezTo>
                    <a:pt x="177" y="25"/>
                    <a:pt x="177" y="26"/>
                    <a:pt x="177" y="27"/>
                  </a:cubicBezTo>
                  <a:cubicBezTo>
                    <a:pt x="177" y="28"/>
                    <a:pt x="177" y="29"/>
                    <a:pt x="177" y="30"/>
                  </a:cubicBezTo>
                  <a:cubicBezTo>
                    <a:pt x="176" y="30"/>
                    <a:pt x="176" y="31"/>
                    <a:pt x="175" y="31"/>
                  </a:cubicBezTo>
                  <a:lnTo>
                    <a:pt x="161" y="31"/>
                  </a:lnTo>
                  <a:lnTo>
                    <a:pt x="161" y="62"/>
                  </a:lnTo>
                  <a:cubicBezTo>
                    <a:pt x="161" y="66"/>
                    <a:pt x="161" y="69"/>
                    <a:pt x="163" y="71"/>
                  </a:cubicBezTo>
                  <a:cubicBezTo>
                    <a:pt x="164" y="73"/>
                    <a:pt x="166" y="74"/>
                    <a:pt x="169" y="74"/>
                  </a:cubicBezTo>
                  <a:cubicBezTo>
                    <a:pt x="170" y="74"/>
                    <a:pt x="171" y="74"/>
                    <a:pt x="171" y="74"/>
                  </a:cubicBezTo>
                  <a:cubicBezTo>
                    <a:pt x="172" y="73"/>
                    <a:pt x="173" y="73"/>
                    <a:pt x="173" y="73"/>
                  </a:cubicBezTo>
                  <a:cubicBezTo>
                    <a:pt x="174" y="73"/>
                    <a:pt x="174" y="73"/>
                    <a:pt x="175" y="72"/>
                  </a:cubicBezTo>
                  <a:cubicBezTo>
                    <a:pt x="175" y="72"/>
                    <a:pt x="176" y="72"/>
                    <a:pt x="176" y="72"/>
                  </a:cubicBezTo>
                  <a:cubicBezTo>
                    <a:pt x="176" y="72"/>
                    <a:pt x="176" y="72"/>
                    <a:pt x="177" y="72"/>
                  </a:cubicBezTo>
                  <a:cubicBezTo>
                    <a:pt x="177" y="72"/>
                    <a:pt x="177" y="73"/>
                    <a:pt x="177" y="73"/>
                  </a:cubicBezTo>
                  <a:cubicBezTo>
                    <a:pt x="177" y="73"/>
                    <a:pt x="177" y="74"/>
                    <a:pt x="177" y="74"/>
                  </a:cubicBezTo>
                  <a:cubicBezTo>
                    <a:pt x="177" y="75"/>
                    <a:pt x="177" y="75"/>
                    <a:pt x="177" y="76"/>
                  </a:cubicBezTo>
                  <a:close/>
                  <a:moveTo>
                    <a:pt x="283" y="70"/>
                  </a:moveTo>
                  <a:cubicBezTo>
                    <a:pt x="283" y="71"/>
                    <a:pt x="283" y="71"/>
                    <a:pt x="283" y="72"/>
                  </a:cubicBezTo>
                  <a:cubicBezTo>
                    <a:pt x="283" y="72"/>
                    <a:pt x="283" y="73"/>
                    <a:pt x="283" y="73"/>
                  </a:cubicBezTo>
                  <a:cubicBezTo>
                    <a:pt x="283" y="74"/>
                    <a:pt x="283" y="74"/>
                    <a:pt x="283" y="74"/>
                  </a:cubicBezTo>
                  <a:cubicBezTo>
                    <a:pt x="282" y="75"/>
                    <a:pt x="282" y="75"/>
                    <a:pt x="282" y="75"/>
                  </a:cubicBezTo>
                  <a:cubicBezTo>
                    <a:pt x="281" y="76"/>
                    <a:pt x="280" y="76"/>
                    <a:pt x="279" y="77"/>
                  </a:cubicBezTo>
                  <a:cubicBezTo>
                    <a:pt x="278" y="78"/>
                    <a:pt x="276" y="79"/>
                    <a:pt x="274" y="80"/>
                  </a:cubicBezTo>
                  <a:cubicBezTo>
                    <a:pt x="272" y="81"/>
                    <a:pt x="270" y="81"/>
                    <a:pt x="267" y="82"/>
                  </a:cubicBezTo>
                  <a:cubicBezTo>
                    <a:pt x="265" y="82"/>
                    <a:pt x="262" y="83"/>
                    <a:pt x="259" y="83"/>
                  </a:cubicBezTo>
                  <a:cubicBezTo>
                    <a:pt x="254" y="83"/>
                    <a:pt x="249" y="82"/>
                    <a:pt x="245" y="80"/>
                  </a:cubicBezTo>
                  <a:cubicBezTo>
                    <a:pt x="241" y="78"/>
                    <a:pt x="237" y="76"/>
                    <a:pt x="234" y="72"/>
                  </a:cubicBezTo>
                  <a:cubicBezTo>
                    <a:pt x="231" y="69"/>
                    <a:pt x="229" y="65"/>
                    <a:pt x="227" y="60"/>
                  </a:cubicBezTo>
                  <a:cubicBezTo>
                    <a:pt x="225" y="55"/>
                    <a:pt x="225" y="49"/>
                    <a:pt x="225" y="42"/>
                  </a:cubicBezTo>
                  <a:cubicBezTo>
                    <a:pt x="225" y="36"/>
                    <a:pt x="226" y="30"/>
                    <a:pt x="227" y="24"/>
                  </a:cubicBezTo>
                  <a:cubicBezTo>
                    <a:pt x="229" y="19"/>
                    <a:pt x="231" y="15"/>
                    <a:pt x="235" y="11"/>
                  </a:cubicBezTo>
                  <a:cubicBezTo>
                    <a:pt x="238" y="7"/>
                    <a:pt x="241" y="5"/>
                    <a:pt x="246" y="3"/>
                  </a:cubicBezTo>
                  <a:cubicBezTo>
                    <a:pt x="250" y="1"/>
                    <a:pt x="255" y="0"/>
                    <a:pt x="260" y="0"/>
                  </a:cubicBezTo>
                  <a:cubicBezTo>
                    <a:pt x="263" y="0"/>
                    <a:pt x="265" y="0"/>
                    <a:pt x="267" y="0"/>
                  </a:cubicBezTo>
                  <a:cubicBezTo>
                    <a:pt x="269" y="1"/>
                    <a:pt x="271" y="1"/>
                    <a:pt x="273" y="2"/>
                  </a:cubicBezTo>
                  <a:cubicBezTo>
                    <a:pt x="275" y="3"/>
                    <a:pt x="277" y="4"/>
                    <a:pt x="278" y="4"/>
                  </a:cubicBezTo>
                  <a:cubicBezTo>
                    <a:pt x="280" y="5"/>
                    <a:pt x="281" y="6"/>
                    <a:pt x="281" y="7"/>
                  </a:cubicBezTo>
                  <a:cubicBezTo>
                    <a:pt x="282" y="7"/>
                    <a:pt x="282" y="8"/>
                    <a:pt x="282" y="8"/>
                  </a:cubicBezTo>
                  <a:cubicBezTo>
                    <a:pt x="282" y="8"/>
                    <a:pt x="283" y="8"/>
                    <a:pt x="283" y="9"/>
                  </a:cubicBezTo>
                  <a:cubicBezTo>
                    <a:pt x="283" y="9"/>
                    <a:pt x="283" y="10"/>
                    <a:pt x="283" y="10"/>
                  </a:cubicBezTo>
                  <a:cubicBezTo>
                    <a:pt x="283" y="11"/>
                    <a:pt x="283" y="11"/>
                    <a:pt x="283" y="12"/>
                  </a:cubicBezTo>
                  <a:cubicBezTo>
                    <a:pt x="283" y="13"/>
                    <a:pt x="283" y="14"/>
                    <a:pt x="283" y="14"/>
                  </a:cubicBezTo>
                  <a:cubicBezTo>
                    <a:pt x="283" y="15"/>
                    <a:pt x="283" y="15"/>
                    <a:pt x="283" y="16"/>
                  </a:cubicBezTo>
                  <a:cubicBezTo>
                    <a:pt x="282" y="16"/>
                    <a:pt x="282" y="16"/>
                    <a:pt x="282" y="17"/>
                  </a:cubicBezTo>
                  <a:cubicBezTo>
                    <a:pt x="282" y="17"/>
                    <a:pt x="281" y="17"/>
                    <a:pt x="281" y="17"/>
                  </a:cubicBezTo>
                  <a:cubicBezTo>
                    <a:pt x="280" y="17"/>
                    <a:pt x="280" y="17"/>
                    <a:pt x="279" y="16"/>
                  </a:cubicBezTo>
                  <a:cubicBezTo>
                    <a:pt x="278" y="15"/>
                    <a:pt x="276" y="14"/>
                    <a:pt x="275" y="13"/>
                  </a:cubicBezTo>
                  <a:cubicBezTo>
                    <a:pt x="273" y="12"/>
                    <a:pt x="271" y="11"/>
                    <a:pt x="269" y="10"/>
                  </a:cubicBezTo>
                  <a:cubicBezTo>
                    <a:pt x="266" y="10"/>
                    <a:pt x="263" y="9"/>
                    <a:pt x="260" y="9"/>
                  </a:cubicBezTo>
                  <a:cubicBezTo>
                    <a:pt x="256" y="9"/>
                    <a:pt x="253" y="10"/>
                    <a:pt x="250" y="11"/>
                  </a:cubicBezTo>
                  <a:cubicBezTo>
                    <a:pt x="247" y="13"/>
                    <a:pt x="245" y="15"/>
                    <a:pt x="243" y="18"/>
                  </a:cubicBezTo>
                  <a:cubicBezTo>
                    <a:pt x="241" y="20"/>
                    <a:pt x="239" y="24"/>
                    <a:pt x="238" y="28"/>
                  </a:cubicBezTo>
                  <a:cubicBezTo>
                    <a:pt x="237" y="32"/>
                    <a:pt x="236" y="36"/>
                    <a:pt x="236" y="42"/>
                  </a:cubicBezTo>
                  <a:cubicBezTo>
                    <a:pt x="236" y="47"/>
                    <a:pt x="237" y="51"/>
                    <a:pt x="238" y="55"/>
                  </a:cubicBezTo>
                  <a:cubicBezTo>
                    <a:pt x="239" y="59"/>
                    <a:pt x="240" y="62"/>
                    <a:pt x="242" y="65"/>
                  </a:cubicBezTo>
                  <a:cubicBezTo>
                    <a:pt x="245" y="68"/>
                    <a:pt x="247" y="70"/>
                    <a:pt x="250" y="71"/>
                  </a:cubicBezTo>
                  <a:cubicBezTo>
                    <a:pt x="253" y="72"/>
                    <a:pt x="257" y="73"/>
                    <a:pt x="260" y="73"/>
                  </a:cubicBezTo>
                  <a:cubicBezTo>
                    <a:pt x="264" y="73"/>
                    <a:pt x="266" y="73"/>
                    <a:pt x="269" y="72"/>
                  </a:cubicBezTo>
                  <a:cubicBezTo>
                    <a:pt x="271" y="71"/>
                    <a:pt x="273" y="70"/>
                    <a:pt x="275" y="69"/>
                  </a:cubicBezTo>
                  <a:cubicBezTo>
                    <a:pt x="277" y="68"/>
                    <a:pt x="278" y="67"/>
                    <a:pt x="279" y="67"/>
                  </a:cubicBezTo>
                  <a:cubicBezTo>
                    <a:pt x="280" y="66"/>
                    <a:pt x="281" y="65"/>
                    <a:pt x="282" y="65"/>
                  </a:cubicBezTo>
                  <a:cubicBezTo>
                    <a:pt x="282" y="65"/>
                    <a:pt x="282" y="66"/>
                    <a:pt x="282" y="66"/>
                  </a:cubicBezTo>
                  <a:cubicBezTo>
                    <a:pt x="283" y="66"/>
                    <a:pt x="283" y="66"/>
                    <a:pt x="283" y="66"/>
                  </a:cubicBezTo>
                  <a:cubicBezTo>
                    <a:pt x="283" y="67"/>
                    <a:pt x="283" y="67"/>
                    <a:pt x="283" y="68"/>
                  </a:cubicBezTo>
                  <a:cubicBezTo>
                    <a:pt x="283" y="68"/>
                    <a:pt x="283" y="69"/>
                    <a:pt x="283" y="70"/>
                  </a:cubicBezTo>
                  <a:close/>
                  <a:moveTo>
                    <a:pt x="344" y="51"/>
                  </a:moveTo>
                  <a:cubicBezTo>
                    <a:pt x="344" y="56"/>
                    <a:pt x="344" y="60"/>
                    <a:pt x="343" y="64"/>
                  </a:cubicBezTo>
                  <a:cubicBezTo>
                    <a:pt x="341" y="68"/>
                    <a:pt x="340" y="71"/>
                    <a:pt x="337" y="74"/>
                  </a:cubicBezTo>
                  <a:cubicBezTo>
                    <a:pt x="335" y="77"/>
                    <a:pt x="332" y="79"/>
                    <a:pt x="328" y="80"/>
                  </a:cubicBezTo>
                  <a:cubicBezTo>
                    <a:pt x="325" y="82"/>
                    <a:pt x="320" y="83"/>
                    <a:pt x="316" y="83"/>
                  </a:cubicBezTo>
                  <a:cubicBezTo>
                    <a:pt x="311" y="83"/>
                    <a:pt x="307" y="82"/>
                    <a:pt x="304" y="81"/>
                  </a:cubicBezTo>
                  <a:cubicBezTo>
                    <a:pt x="300" y="79"/>
                    <a:pt x="297" y="77"/>
                    <a:pt x="295" y="75"/>
                  </a:cubicBezTo>
                  <a:cubicBezTo>
                    <a:pt x="293" y="72"/>
                    <a:pt x="291" y="69"/>
                    <a:pt x="290" y="65"/>
                  </a:cubicBezTo>
                  <a:cubicBezTo>
                    <a:pt x="289" y="61"/>
                    <a:pt x="288" y="57"/>
                    <a:pt x="288" y="52"/>
                  </a:cubicBezTo>
                  <a:cubicBezTo>
                    <a:pt x="288" y="48"/>
                    <a:pt x="289" y="44"/>
                    <a:pt x="290" y="40"/>
                  </a:cubicBezTo>
                  <a:cubicBezTo>
                    <a:pt x="291" y="36"/>
                    <a:pt x="293" y="33"/>
                    <a:pt x="295" y="30"/>
                  </a:cubicBezTo>
                  <a:cubicBezTo>
                    <a:pt x="298" y="27"/>
                    <a:pt x="301" y="25"/>
                    <a:pt x="304" y="23"/>
                  </a:cubicBezTo>
                  <a:cubicBezTo>
                    <a:pt x="308" y="22"/>
                    <a:pt x="312" y="21"/>
                    <a:pt x="317" y="21"/>
                  </a:cubicBezTo>
                  <a:cubicBezTo>
                    <a:pt x="322" y="21"/>
                    <a:pt x="326" y="22"/>
                    <a:pt x="329" y="23"/>
                  </a:cubicBezTo>
                  <a:cubicBezTo>
                    <a:pt x="332" y="24"/>
                    <a:pt x="335" y="26"/>
                    <a:pt x="338" y="29"/>
                  </a:cubicBezTo>
                  <a:cubicBezTo>
                    <a:pt x="340" y="32"/>
                    <a:pt x="342" y="35"/>
                    <a:pt x="343" y="39"/>
                  </a:cubicBezTo>
                  <a:cubicBezTo>
                    <a:pt x="344" y="42"/>
                    <a:pt x="344" y="47"/>
                    <a:pt x="344" y="51"/>
                  </a:cubicBezTo>
                  <a:close/>
                  <a:moveTo>
                    <a:pt x="334" y="52"/>
                  </a:moveTo>
                  <a:cubicBezTo>
                    <a:pt x="334" y="49"/>
                    <a:pt x="333" y="46"/>
                    <a:pt x="333" y="43"/>
                  </a:cubicBezTo>
                  <a:cubicBezTo>
                    <a:pt x="332" y="41"/>
                    <a:pt x="331" y="38"/>
                    <a:pt x="330" y="36"/>
                  </a:cubicBezTo>
                  <a:cubicBezTo>
                    <a:pt x="329" y="34"/>
                    <a:pt x="327" y="33"/>
                    <a:pt x="325" y="31"/>
                  </a:cubicBezTo>
                  <a:cubicBezTo>
                    <a:pt x="323" y="30"/>
                    <a:pt x="320" y="30"/>
                    <a:pt x="317" y="30"/>
                  </a:cubicBezTo>
                  <a:cubicBezTo>
                    <a:pt x="313" y="30"/>
                    <a:pt x="311" y="30"/>
                    <a:pt x="309" y="31"/>
                  </a:cubicBezTo>
                  <a:cubicBezTo>
                    <a:pt x="306" y="32"/>
                    <a:pt x="305" y="34"/>
                    <a:pt x="303" y="36"/>
                  </a:cubicBezTo>
                  <a:cubicBezTo>
                    <a:pt x="302" y="38"/>
                    <a:pt x="301" y="40"/>
                    <a:pt x="300" y="43"/>
                  </a:cubicBezTo>
                  <a:cubicBezTo>
                    <a:pt x="299" y="46"/>
                    <a:pt x="299" y="49"/>
                    <a:pt x="299" y="52"/>
                  </a:cubicBezTo>
                  <a:cubicBezTo>
                    <a:pt x="299" y="55"/>
                    <a:pt x="299" y="58"/>
                    <a:pt x="300" y="60"/>
                  </a:cubicBezTo>
                  <a:cubicBezTo>
                    <a:pt x="300" y="63"/>
                    <a:pt x="301" y="66"/>
                    <a:pt x="303" y="68"/>
                  </a:cubicBezTo>
                  <a:cubicBezTo>
                    <a:pt x="304" y="70"/>
                    <a:pt x="306" y="71"/>
                    <a:pt x="308" y="72"/>
                  </a:cubicBezTo>
                  <a:cubicBezTo>
                    <a:pt x="310" y="74"/>
                    <a:pt x="313" y="74"/>
                    <a:pt x="316" y="74"/>
                  </a:cubicBezTo>
                  <a:cubicBezTo>
                    <a:pt x="319" y="74"/>
                    <a:pt x="322" y="74"/>
                    <a:pt x="324" y="73"/>
                  </a:cubicBezTo>
                  <a:cubicBezTo>
                    <a:pt x="326" y="71"/>
                    <a:pt x="328" y="70"/>
                    <a:pt x="330" y="68"/>
                  </a:cubicBezTo>
                  <a:cubicBezTo>
                    <a:pt x="331" y="66"/>
                    <a:pt x="332" y="64"/>
                    <a:pt x="333" y="61"/>
                  </a:cubicBezTo>
                  <a:cubicBezTo>
                    <a:pt x="333" y="58"/>
                    <a:pt x="334" y="55"/>
                    <a:pt x="334" y="52"/>
                  </a:cubicBezTo>
                  <a:close/>
                  <a:moveTo>
                    <a:pt x="404" y="80"/>
                  </a:moveTo>
                  <a:cubicBezTo>
                    <a:pt x="404" y="80"/>
                    <a:pt x="404" y="81"/>
                    <a:pt x="404" y="81"/>
                  </a:cubicBezTo>
                  <a:cubicBezTo>
                    <a:pt x="404" y="81"/>
                    <a:pt x="404" y="81"/>
                    <a:pt x="403" y="82"/>
                  </a:cubicBezTo>
                  <a:cubicBezTo>
                    <a:pt x="403" y="82"/>
                    <a:pt x="402" y="82"/>
                    <a:pt x="402" y="82"/>
                  </a:cubicBezTo>
                  <a:cubicBezTo>
                    <a:pt x="401" y="82"/>
                    <a:pt x="401" y="82"/>
                    <a:pt x="400" y="82"/>
                  </a:cubicBezTo>
                  <a:cubicBezTo>
                    <a:pt x="399" y="82"/>
                    <a:pt x="398" y="82"/>
                    <a:pt x="397" y="82"/>
                  </a:cubicBezTo>
                  <a:cubicBezTo>
                    <a:pt x="397" y="82"/>
                    <a:pt x="396" y="82"/>
                    <a:pt x="396" y="82"/>
                  </a:cubicBezTo>
                  <a:cubicBezTo>
                    <a:pt x="396" y="81"/>
                    <a:pt x="395" y="81"/>
                    <a:pt x="395" y="81"/>
                  </a:cubicBezTo>
                  <a:cubicBezTo>
                    <a:pt x="395" y="81"/>
                    <a:pt x="395" y="80"/>
                    <a:pt x="395" y="80"/>
                  </a:cubicBezTo>
                  <a:lnTo>
                    <a:pt x="395" y="73"/>
                  </a:lnTo>
                  <a:cubicBezTo>
                    <a:pt x="392" y="76"/>
                    <a:pt x="389" y="79"/>
                    <a:pt x="385" y="80"/>
                  </a:cubicBezTo>
                  <a:cubicBezTo>
                    <a:pt x="382" y="82"/>
                    <a:pt x="379" y="83"/>
                    <a:pt x="376" y="83"/>
                  </a:cubicBezTo>
                  <a:cubicBezTo>
                    <a:pt x="372" y="83"/>
                    <a:pt x="369" y="82"/>
                    <a:pt x="367" y="81"/>
                  </a:cubicBezTo>
                  <a:cubicBezTo>
                    <a:pt x="364" y="80"/>
                    <a:pt x="362" y="78"/>
                    <a:pt x="360" y="76"/>
                  </a:cubicBezTo>
                  <a:cubicBezTo>
                    <a:pt x="359" y="74"/>
                    <a:pt x="358" y="71"/>
                    <a:pt x="357" y="68"/>
                  </a:cubicBezTo>
                  <a:cubicBezTo>
                    <a:pt x="356" y="66"/>
                    <a:pt x="356" y="62"/>
                    <a:pt x="356" y="58"/>
                  </a:cubicBezTo>
                  <a:lnTo>
                    <a:pt x="356" y="24"/>
                  </a:lnTo>
                  <a:cubicBezTo>
                    <a:pt x="356" y="24"/>
                    <a:pt x="356" y="23"/>
                    <a:pt x="356" y="23"/>
                  </a:cubicBezTo>
                  <a:cubicBezTo>
                    <a:pt x="356" y="23"/>
                    <a:pt x="356" y="23"/>
                    <a:pt x="357" y="22"/>
                  </a:cubicBezTo>
                  <a:cubicBezTo>
                    <a:pt x="357" y="22"/>
                    <a:pt x="358" y="22"/>
                    <a:pt x="359" y="22"/>
                  </a:cubicBezTo>
                  <a:cubicBezTo>
                    <a:pt x="359" y="22"/>
                    <a:pt x="360" y="22"/>
                    <a:pt x="361" y="22"/>
                  </a:cubicBezTo>
                  <a:cubicBezTo>
                    <a:pt x="362" y="22"/>
                    <a:pt x="363" y="22"/>
                    <a:pt x="364" y="22"/>
                  </a:cubicBezTo>
                  <a:cubicBezTo>
                    <a:pt x="364" y="22"/>
                    <a:pt x="365" y="22"/>
                    <a:pt x="365" y="22"/>
                  </a:cubicBezTo>
                  <a:cubicBezTo>
                    <a:pt x="366" y="23"/>
                    <a:pt x="366" y="23"/>
                    <a:pt x="366" y="23"/>
                  </a:cubicBezTo>
                  <a:cubicBezTo>
                    <a:pt x="366" y="23"/>
                    <a:pt x="366" y="24"/>
                    <a:pt x="366" y="24"/>
                  </a:cubicBezTo>
                  <a:lnTo>
                    <a:pt x="366" y="57"/>
                  </a:lnTo>
                  <a:cubicBezTo>
                    <a:pt x="366" y="60"/>
                    <a:pt x="366" y="63"/>
                    <a:pt x="367" y="64"/>
                  </a:cubicBezTo>
                  <a:cubicBezTo>
                    <a:pt x="367" y="66"/>
                    <a:pt x="368" y="68"/>
                    <a:pt x="369" y="70"/>
                  </a:cubicBezTo>
                  <a:cubicBezTo>
                    <a:pt x="370" y="71"/>
                    <a:pt x="371" y="72"/>
                    <a:pt x="373" y="73"/>
                  </a:cubicBezTo>
                  <a:cubicBezTo>
                    <a:pt x="374" y="74"/>
                    <a:pt x="376" y="74"/>
                    <a:pt x="378" y="74"/>
                  </a:cubicBezTo>
                  <a:cubicBezTo>
                    <a:pt x="381" y="74"/>
                    <a:pt x="383" y="73"/>
                    <a:pt x="386" y="71"/>
                  </a:cubicBezTo>
                  <a:cubicBezTo>
                    <a:pt x="388" y="69"/>
                    <a:pt x="391" y="67"/>
                    <a:pt x="394" y="63"/>
                  </a:cubicBezTo>
                  <a:lnTo>
                    <a:pt x="394" y="24"/>
                  </a:lnTo>
                  <a:cubicBezTo>
                    <a:pt x="394" y="24"/>
                    <a:pt x="394" y="23"/>
                    <a:pt x="394" y="23"/>
                  </a:cubicBezTo>
                  <a:cubicBezTo>
                    <a:pt x="394" y="23"/>
                    <a:pt x="395" y="23"/>
                    <a:pt x="395" y="22"/>
                  </a:cubicBezTo>
                  <a:cubicBezTo>
                    <a:pt x="395" y="22"/>
                    <a:pt x="396" y="22"/>
                    <a:pt x="397" y="22"/>
                  </a:cubicBezTo>
                  <a:cubicBezTo>
                    <a:pt x="397" y="22"/>
                    <a:pt x="398" y="22"/>
                    <a:pt x="399" y="22"/>
                  </a:cubicBezTo>
                  <a:cubicBezTo>
                    <a:pt x="400" y="22"/>
                    <a:pt x="401" y="22"/>
                    <a:pt x="402" y="22"/>
                  </a:cubicBezTo>
                  <a:cubicBezTo>
                    <a:pt x="402" y="22"/>
                    <a:pt x="403" y="22"/>
                    <a:pt x="403" y="22"/>
                  </a:cubicBezTo>
                  <a:cubicBezTo>
                    <a:pt x="404" y="23"/>
                    <a:pt x="404" y="23"/>
                    <a:pt x="404" y="23"/>
                  </a:cubicBezTo>
                  <a:cubicBezTo>
                    <a:pt x="404" y="23"/>
                    <a:pt x="404" y="24"/>
                    <a:pt x="404" y="24"/>
                  </a:cubicBezTo>
                  <a:lnTo>
                    <a:pt x="404" y="80"/>
                  </a:lnTo>
                  <a:close/>
                  <a:moveTo>
                    <a:pt x="469" y="80"/>
                  </a:moveTo>
                  <a:cubicBezTo>
                    <a:pt x="469" y="80"/>
                    <a:pt x="469" y="81"/>
                    <a:pt x="468" y="81"/>
                  </a:cubicBezTo>
                  <a:cubicBezTo>
                    <a:pt x="468" y="81"/>
                    <a:pt x="468" y="81"/>
                    <a:pt x="468" y="82"/>
                  </a:cubicBezTo>
                  <a:cubicBezTo>
                    <a:pt x="467" y="82"/>
                    <a:pt x="467" y="82"/>
                    <a:pt x="466" y="82"/>
                  </a:cubicBezTo>
                  <a:cubicBezTo>
                    <a:pt x="465" y="82"/>
                    <a:pt x="464" y="82"/>
                    <a:pt x="463" y="82"/>
                  </a:cubicBezTo>
                  <a:cubicBezTo>
                    <a:pt x="462" y="82"/>
                    <a:pt x="462" y="82"/>
                    <a:pt x="461" y="82"/>
                  </a:cubicBezTo>
                  <a:cubicBezTo>
                    <a:pt x="460" y="82"/>
                    <a:pt x="460" y="82"/>
                    <a:pt x="459" y="82"/>
                  </a:cubicBezTo>
                  <a:cubicBezTo>
                    <a:pt x="459" y="81"/>
                    <a:pt x="459" y="81"/>
                    <a:pt x="459" y="81"/>
                  </a:cubicBezTo>
                  <a:cubicBezTo>
                    <a:pt x="458" y="81"/>
                    <a:pt x="458" y="80"/>
                    <a:pt x="458" y="80"/>
                  </a:cubicBezTo>
                  <a:lnTo>
                    <a:pt x="458" y="47"/>
                  </a:lnTo>
                  <a:cubicBezTo>
                    <a:pt x="458" y="44"/>
                    <a:pt x="458" y="41"/>
                    <a:pt x="458" y="39"/>
                  </a:cubicBezTo>
                  <a:cubicBezTo>
                    <a:pt x="457" y="37"/>
                    <a:pt x="456" y="36"/>
                    <a:pt x="455" y="34"/>
                  </a:cubicBezTo>
                  <a:cubicBezTo>
                    <a:pt x="454" y="33"/>
                    <a:pt x="453" y="32"/>
                    <a:pt x="452" y="31"/>
                  </a:cubicBezTo>
                  <a:cubicBezTo>
                    <a:pt x="450" y="30"/>
                    <a:pt x="448" y="30"/>
                    <a:pt x="446" y="30"/>
                  </a:cubicBezTo>
                  <a:cubicBezTo>
                    <a:pt x="444" y="30"/>
                    <a:pt x="441" y="31"/>
                    <a:pt x="439" y="33"/>
                  </a:cubicBezTo>
                  <a:cubicBezTo>
                    <a:pt x="436" y="35"/>
                    <a:pt x="433" y="37"/>
                    <a:pt x="430" y="41"/>
                  </a:cubicBezTo>
                  <a:lnTo>
                    <a:pt x="430" y="80"/>
                  </a:lnTo>
                  <a:cubicBezTo>
                    <a:pt x="430" y="80"/>
                    <a:pt x="430" y="81"/>
                    <a:pt x="430" y="81"/>
                  </a:cubicBezTo>
                  <a:cubicBezTo>
                    <a:pt x="430" y="81"/>
                    <a:pt x="430" y="81"/>
                    <a:pt x="429" y="82"/>
                  </a:cubicBezTo>
                  <a:cubicBezTo>
                    <a:pt x="429" y="82"/>
                    <a:pt x="429" y="82"/>
                    <a:pt x="428" y="82"/>
                  </a:cubicBezTo>
                  <a:cubicBezTo>
                    <a:pt x="427" y="82"/>
                    <a:pt x="426" y="82"/>
                    <a:pt x="425" y="82"/>
                  </a:cubicBezTo>
                  <a:cubicBezTo>
                    <a:pt x="424" y="82"/>
                    <a:pt x="423" y="82"/>
                    <a:pt x="423" y="82"/>
                  </a:cubicBezTo>
                  <a:cubicBezTo>
                    <a:pt x="422" y="82"/>
                    <a:pt x="422" y="82"/>
                    <a:pt x="421" y="82"/>
                  </a:cubicBezTo>
                  <a:cubicBezTo>
                    <a:pt x="421" y="81"/>
                    <a:pt x="421" y="81"/>
                    <a:pt x="420" y="81"/>
                  </a:cubicBezTo>
                  <a:cubicBezTo>
                    <a:pt x="420" y="81"/>
                    <a:pt x="420" y="80"/>
                    <a:pt x="420" y="80"/>
                  </a:cubicBezTo>
                  <a:lnTo>
                    <a:pt x="420" y="24"/>
                  </a:lnTo>
                  <a:cubicBezTo>
                    <a:pt x="420" y="24"/>
                    <a:pt x="420" y="23"/>
                    <a:pt x="420" y="23"/>
                  </a:cubicBezTo>
                  <a:cubicBezTo>
                    <a:pt x="420" y="23"/>
                    <a:pt x="421" y="23"/>
                    <a:pt x="421" y="22"/>
                  </a:cubicBezTo>
                  <a:cubicBezTo>
                    <a:pt x="421" y="22"/>
                    <a:pt x="422" y="22"/>
                    <a:pt x="423" y="22"/>
                  </a:cubicBezTo>
                  <a:cubicBezTo>
                    <a:pt x="423" y="22"/>
                    <a:pt x="424" y="22"/>
                    <a:pt x="425" y="22"/>
                  </a:cubicBezTo>
                  <a:cubicBezTo>
                    <a:pt x="426" y="22"/>
                    <a:pt x="427" y="22"/>
                    <a:pt x="427" y="22"/>
                  </a:cubicBezTo>
                  <a:cubicBezTo>
                    <a:pt x="428" y="22"/>
                    <a:pt x="428" y="22"/>
                    <a:pt x="429" y="22"/>
                  </a:cubicBezTo>
                  <a:cubicBezTo>
                    <a:pt x="429" y="23"/>
                    <a:pt x="429" y="23"/>
                    <a:pt x="429" y="23"/>
                  </a:cubicBezTo>
                  <a:cubicBezTo>
                    <a:pt x="429" y="23"/>
                    <a:pt x="429" y="24"/>
                    <a:pt x="429" y="24"/>
                  </a:cubicBezTo>
                  <a:lnTo>
                    <a:pt x="429" y="31"/>
                  </a:lnTo>
                  <a:cubicBezTo>
                    <a:pt x="433" y="28"/>
                    <a:pt x="436" y="25"/>
                    <a:pt x="439" y="23"/>
                  </a:cubicBezTo>
                  <a:cubicBezTo>
                    <a:pt x="442" y="22"/>
                    <a:pt x="445" y="21"/>
                    <a:pt x="448" y="21"/>
                  </a:cubicBezTo>
                  <a:cubicBezTo>
                    <a:pt x="452" y="21"/>
                    <a:pt x="455" y="22"/>
                    <a:pt x="458" y="23"/>
                  </a:cubicBezTo>
                  <a:cubicBezTo>
                    <a:pt x="461" y="24"/>
                    <a:pt x="463" y="26"/>
                    <a:pt x="464" y="28"/>
                  </a:cubicBezTo>
                  <a:cubicBezTo>
                    <a:pt x="466" y="30"/>
                    <a:pt x="467" y="33"/>
                    <a:pt x="468" y="35"/>
                  </a:cubicBezTo>
                  <a:cubicBezTo>
                    <a:pt x="468" y="38"/>
                    <a:pt x="469" y="42"/>
                    <a:pt x="469" y="46"/>
                  </a:cubicBezTo>
                  <a:lnTo>
                    <a:pt x="469" y="80"/>
                  </a:lnTo>
                  <a:close/>
                  <a:moveTo>
                    <a:pt x="513" y="76"/>
                  </a:moveTo>
                  <a:cubicBezTo>
                    <a:pt x="513" y="77"/>
                    <a:pt x="513" y="78"/>
                    <a:pt x="513" y="79"/>
                  </a:cubicBezTo>
                  <a:cubicBezTo>
                    <a:pt x="513" y="80"/>
                    <a:pt x="513" y="80"/>
                    <a:pt x="512" y="80"/>
                  </a:cubicBezTo>
                  <a:cubicBezTo>
                    <a:pt x="512" y="81"/>
                    <a:pt x="512" y="81"/>
                    <a:pt x="511" y="81"/>
                  </a:cubicBezTo>
                  <a:cubicBezTo>
                    <a:pt x="510" y="82"/>
                    <a:pt x="509" y="82"/>
                    <a:pt x="509" y="82"/>
                  </a:cubicBezTo>
                  <a:cubicBezTo>
                    <a:pt x="508" y="82"/>
                    <a:pt x="507" y="82"/>
                    <a:pt x="506" y="83"/>
                  </a:cubicBezTo>
                  <a:cubicBezTo>
                    <a:pt x="505" y="83"/>
                    <a:pt x="504" y="83"/>
                    <a:pt x="503" y="83"/>
                  </a:cubicBezTo>
                  <a:cubicBezTo>
                    <a:pt x="500" y="83"/>
                    <a:pt x="498" y="82"/>
                    <a:pt x="496" y="82"/>
                  </a:cubicBezTo>
                  <a:cubicBezTo>
                    <a:pt x="493" y="81"/>
                    <a:pt x="492" y="80"/>
                    <a:pt x="490" y="78"/>
                  </a:cubicBezTo>
                  <a:cubicBezTo>
                    <a:pt x="489" y="76"/>
                    <a:pt x="488" y="75"/>
                    <a:pt x="488" y="72"/>
                  </a:cubicBezTo>
                  <a:cubicBezTo>
                    <a:pt x="487" y="70"/>
                    <a:pt x="487" y="67"/>
                    <a:pt x="487" y="64"/>
                  </a:cubicBezTo>
                  <a:lnTo>
                    <a:pt x="487" y="31"/>
                  </a:lnTo>
                  <a:lnTo>
                    <a:pt x="479" y="31"/>
                  </a:lnTo>
                  <a:cubicBezTo>
                    <a:pt x="478" y="31"/>
                    <a:pt x="478" y="30"/>
                    <a:pt x="477" y="30"/>
                  </a:cubicBezTo>
                  <a:cubicBezTo>
                    <a:pt x="477" y="29"/>
                    <a:pt x="477" y="28"/>
                    <a:pt x="477" y="27"/>
                  </a:cubicBezTo>
                  <a:cubicBezTo>
                    <a:pt x="477" y="26"/>
                    <a:pt x="477" y="25"/>
                    <a:pt x="477" y="25"/>
                  </a:cubicBezTo>
                  <a:cubicBezTo>
                    <a:pt x="477" y="24"/>
                    <a:pt x="477" y="24"/>
                    <a:pt x="477" y="23"/>
                  </a:cubicBezTo>
                  <a:cubicBezTo>
                    <a:pt x="477" y="23"/>
                    <a:pt x="478" y="23"/>
                    <a:pt x="478" y="22"/>
                  </a:cubicBezTo>
                  <a:cubicBezTo>
                    <a:pt x="478" y="22"/>
                    <a:pt x="478" y="22"/>
                    <a:pt x="479" y="22"/>
                  </a:cubicBezTo>
                  <a:lnTo>
                    <a:pt x="487" y="22"/>
                  </a:lnTo>
                  <a:lnTo>
                    <a:pt x="487" y="9"/>
                  </a:lnTo>
                  <a:cubicBezTo>
                    <a:pt x="487" y="9"/>
                    <a:pt x="487" y="8"/>
                    <a:pt x="487" y="8"/>
                  </a:cubicBezTo>
                  <a:cubicBezTo>
                    <a:pt x="487" y="8"/>
                    <a:pt x="487" y="8"/>
                    <a:pt x="488" y="7"/>
                  </a:cubicBezTo>
                  <a:cubicBezTo>
                    <a:pt x="488" y="7"/>
                    <a:pt x="489" y="7"/>
                    <a:pt x="489" y="7"/>
                  </a:cubicBezTo>
                  <a:cubicBezTo>
                    <a:pt x="490" y="7"/>
                    <a:pt x="491" y="7"/>
                    <a:pt x="492" y="7"/>
                  </a:cubicBezTo>
                  <a:cubicBezTo>
                    <a:pt x="493" y="7"/>
                    <a:pt x="494" y="7"/>
                    <a:pt x="494" y="7"/>
                  </a:cubicBezTo>
                  <a:cubicBezTo>
                    <a:pt x="495" y="7"/>
                    <a:pt x="495" y="7"/>
                    <a:pt x="496" y="7"/>
                  </a:cubicBezTo>
                  <a:cubicBezTo>
                    <a:pt x="496" y="8"/>
                    <a:pt x="496" y="8"/>
                    <a:pt x="497" y="8"/>
                  </a:cubicBezTo>
                  <a:cubicBezTo>
                    <a:pt x="497" y="8"/>
                    <a:pt x="497" y="9"/>
                    <a:pt x="497" y="9"/>
                  </a:cubicBezTo>
                  <a:lnTo>
                    <a:pt x="497" y="22"/>
                  </a:lnTo>
                  <a:lnTo>
                    <a:pt x="511" y="22"/>
                  </a:lnTo>
                  <a:cubicBezTo>
                    <a:pt x="512" y="22"/>
                    <a:pt x="512" y="22"/>
                    <a:pt x="512" y="22"/>
                  </a:cubicBezTo>
                  <a:cubicBezTo>
                    <a:pt x="512" y="23"/>
                    <a:pt x="513" y="23"/>
                    <a:pt x="513" y="23"/>
                  </a:cubicBezTo>
                  <a:cubicBezTo>
                    <a:pt x="513" y="24"/>
                    <a:pt x="513" y="24"/>
                    <a:pt x="513" y="25"/>
                  </a:cubicBezTo>
                  <a:cubicBezTo>
                    <a:pt x="513" y="25"/>
                    <a:pt x="513" y="26"/>
                    <a:pt x="513" y="27"/>
                  </a:cubicBezTo>
                  <a:cubicBezTo>
                    <a:pt x="513" y="28"/>
                    <a:pt x="513" y="29"/>
                    <a:pt x="513" y="30"/>
                  </a:cubicBezTo>
                  <a:cubicBezTo>
                    <a:pt x="512" y="30"/>
                    <a:pt x="512" y="31"/>
                    <a:pt x="511" y="31"/>
                  </a:cubicBezTo>
                  <a:lnTo>
                    <a:pt x="497" y="31"/>
                  </a:lnTo>
                  <a:lnTo>
                    <a:pt x="497" y="62"/>
                  </a:lnTo>
                  <a:cubicBezTo>
                    <a:pt x="497" y="66"/>
                    <a:pt x="497" y="69"/>
                    <a:pt x="499" y="71"/>
                  </a:cubicBezTo>
                  <a:cubicBezTo>
                    <a:pt x="500" y="73"/>
                    <a:pt x="502" y="74"/>
                    <a:pt x="505" y="74"/>
                  </a:cubicBezTo>
                  <a:cubicBezTo>
                    <a:pt x="506" y="74"/>
                    <a:pt x="507" y="74"/>
                    <a:pt x="507" y="74"/>
                  </a:cubicBezTo>
                  <a:cubicBezTo>
                    <a:pt x="508" y="73"/>
                    <a:pt x="509" y="73"/>
                    <a:pt x="509" y="73"/>
                  </a:cubicBezTo>
                  <a:cubicBezTo>
                    <a:pt x="510" y="73"/>
                    <a:pt x="510" y="73"/>
                    <a:pt x="511" y="72"/>
                  </a:cubicBezTo>
                  <a:cubicBezTo>
                    <a:pt x="511" y="72"/>
                    <a:pt x="512" y="72"/>
                    <a:pt x="512" y="72"/>
                  </a:cubicBezTo>
                  <a:cubicBezTo>
                    <a:pt x="512" y="72"/>
                    <a:pt x="512" y="72"/>
                    <a:pt x="513" y="72"/>
                  </a:cubicBezTo>
                  <a:cubicBezTo>
                    <a:pt x="513" y="72"/>
                    <a:pt x="513" y="73"/>
                    <a:pt x="513" y="73"/>
                  </a:cubicBezTo>
                  <a:cubicBezTo>
                    <a:pt x="513" y="73"/>
                    <a:pt x="513" y="74"/>
                    <a:pt x="513" y="74"/>
                  </a:cubicBezTo>
                  <a:cubicBezTo>
                    <a:pt x="513" y="75"/>
                    <a:pt x="513" y="75"/>
                    <a:pt x="513" y="76"/>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48">
              <a:extLst>
                <a:ext uri="{FF2B5EF4-FFF2-40B4-BE49-F238E27FC236}">
                  <a16:creationId xmlns:a16="http://schemas.microsoft.com/office/drawing/2014/main" id="{422DB216-598A-45D0-BDEB-BCC3CE7CC870}"/>
                </a:ext>
              </a:extLst>
            </p:cNvPr>
            <p:cNvSpPr>
              <a:spLocks noEditPoints="1"/>
            </p:cNvSpPr>
            <p:nvPr/>
          </p:nvSpPr>
          <p:spPr bwMode="auto">
            <a:xfrm>
              <a:off x="2554" y="1580"/>
              <a:ext cx="1309" cy="561"/>
            </a:xfrm>
            <a:custGeom>
              <a:avLst/>
              <a:gdLst>
                <a:gd name="T0" fmla="*/ 2922 w 2924"/>
                <a:gd name="T1" fmla="*/ 5 h 1253"/>
                <a:gd name="T2" fmla="*/ 2861 w 2924"/>
                <a:gd name="T3" fmla="*/ 12 h 1253"/>
                <a:gd name="T4" fmla="*/ 2800 w 2924"/>
                <a:gd name="T5" fmla="*/ 19 h 1253"/>
                <a:gd name="T6" fmla="*/ 2738 w 2924"/>
                <a:gd name="T7" fmla="*/ 21 h 1253"/>
                <a:gd name="T8" fmla="*/ 2677 w 2924"/>
                <a:gd name="T9" fmla="*/ 29 h 1253"/>
                <a:gd name="T10" fmla="*/ 2616 w 2924"/>
                <a:gd name="T11" fmla="*/ 39 h 1253"/>
                <a:gd name="T12" fmla="*/ 2556 w 2924"/>
                <a:gd name="T13" fmla="*/ 48 h 1253"/>
                <a:gd name="T14" fmla="*/ 2495 w 2924"/>
                <a:gd name="T15" fmla="*/ 59 h 1253"/>
                <a:gd name="T16" fmla="*/ 2435 w 2924"/>
                <a:gd name="T17" fmla="*/ 70 h 1253"/>
                <a:gd name="T18" fmla="*/ 2374 w 2924"/>
                <a:gd name="T19" fmla="*/ 82 h 1253"/>
                <a:gd name="T20" fmla="*/ 2314 w 2924"/>
                <a:gd name="T21" fmla="*/ 94 h 1253"/>
                <a:gd name="T22" fmla="*/ 2254 w 2924"/>
                <a:gd name="T23" fmla="*/ 108 h 1253"/>
                <a:gd name="T24" fmla="*/ 2194 w 2924"/>
                <a:gd name="T25" fmla="*/ 122 h 1253"/>
                <a:gd name="T26" fmla="*/ 2100 w 2924"/>
                <a:gd name="T27" fmla="*/ 145 h 1253"/>
                <a:gd name="T28" fmla="*/ 2039 w 2924"/>
                <a:gd name="T29" fmla="*/ 165 h 1253"/>
                <a:gd name="T30" fmla="*/ 1980 w 2924"/>
                <a:gd name="T31" fmla="*/ 181 h 1253"/>
                <a:gd name="T32" fmla="*/ 1924 w 2924"/>
                <a:gd name="T33" fmla="*/ 200 h 1253"/>
                <a:gd name="T34" fmla="*/ 1899 w 2924"/>
                <a:gd name="T35" fmla="*/ 207 h 1253"/>
                <a:gd name="T36" fmla="*/ 1841 w 2924"/>
                <a:gd name="T37" fmla="*/ 225 h 1253"/>
                <a:gd name="T38" fmla="*/ 1782 w 2924"/>
                <a:gd name="T39" fmla="*/ 244 h 1253"/>
                <a:gd name="T40" fmla="*/ 1724 w 2924"/>
                <a:gd name="T41" fmla="*/ 263 h 1253"/>
                <a:gd name="T42" fmla="*/ 1666 w 2924"/>
                <a:gd name="T43" fmla="*/ 284 h 1253"/>
                <a:gd name="T44" fmla="*/ 1666 w 2924"/>
                <a:gd name="T45" fmla="*/ 284 h 1253"/>
                <a:gd name="T46" fmla="*/ 1610 w 2924"/>
                <a:gd name="T47" fmla="*/ 302 h 1253"/>
                <a:gd name="T48" fmla="*/ 1552 w 2924"/>
                <a:gd name="T49" fmla="*/ 323 h 1253"/>
                <a:gd name="T50" fmla="*/ 1495 w 2924"/>
                <a:gd name="T51" fmla="*/ 346 h 1253"/>
                <a:gd name="T52" fmla="*/ 1438 w 2924"/>
                <a:gd name="T53" fmla="*/ 369 h 1253"/>
                <a:gd name="T54" fmla="*/ 1364 w 2924"/>
                <a:gd name="T55" fmla="*/ 396 h 1253"/>
                <a:gd name="T56" fmla="*/ 1289 w 2924"/>
                <a:gd name="T57" fmla="*/ 430 h 1253"/>
                <a:gd name="T58" fmla="*/ 1233 w 2924"/>
                <a:gd name="T59" fmla="*/ 455 h 1253"/>
                <a:gd name="T60" fmla="*/ 1176 w 2924"/>
                <a:gd name="T61" fmla="*/ 483 h 1253"/>
                <a:gd name="T62" fmla="*/ 1124 w 2924"/>
                <a:gd name="T63" fmla="*/ 512 h 1253"/>
                <a:gd name="T64" fmla="*/ 1069 w 2924"/>
                <a:gd name="T65" fmla="*/ 539 h 1253"/>
                <a:gd name="T66" fmla="*/ 1014 w 2924"/>
                <a:gd name="T67" fmla="*/ 567 h 1253"/>
                <a:gd name="T68" fmla="*/ 960 w 2924"/>
                <a:gd name="T69" fmla="*/ 596 h 1253"/>
                <a:gd name="T70" fmla="*/ 906 w 2924"/>
                <a:gd name="T71" fmla="*/ 625 h 1253"/>
                <a:gd name="T72" fmla="*/ 852 w 2924"/>
                <a:gd name="T73" fmla="*/ 655 h 1253"/>
                <a:gd name="T74" fmla="*/ 827 w 2924"/>
                <a:gd name="T75" fmla="*/ 669 h 1253"/>
                <a:gd name="T76" fmla="*/ 830 w 2924"/>
                <a:gd name="T77" fmla="*/ 667 h 1253"/>
                <a:gd name="T78" fmla="*/ 777 w 2924"/>
                <a:gd name="T79" fmla="*/ 698 h 1253"/>
                <a:gd name="T80" fmla="*/ 725 w 2924"/>
                <a:gd name="T81" fmla="*/ 730 h 1253"/>
                <a:gd name="T82" fmla="*/ 669 w 2924"/>
                <a:gd name="T83" fmla="*/ 757 h 1253"/>
                <a:gd name="T84" fmla="*/ 617 w 2924"/>
                <a:gd name="T85" fmla="*/ 790 h 1253"/>
                <a:gd name="T86" fmla="*/ 566 w 2924"/>
                <a:gd name="T87" fmla="*/ 824 h 1253"/>
                <a:gd name="T88" fmla="*/ 514 w 2924"/>
                <a:gd name="T89" fmla="*/ 857 h 1253"/>
                <a:gd name="T90" fmla="*/ 463 w 2924"/>
                <a:gd name="T91" fmla="*/ 892 h 1253"/>
                <a:gd name="T92" fmla="*/ 413 w 2924"/>
                <a:gd name="T93" fmla="*/ 927 h 1253"/>
                <a:gd name="T94" fmla="*/ 363 w 2924"/>
                <a:gd name="T95" fmla="*/ 963 h 1253"/>
                <a:gd name="T96" fmla="*/ 313 w 2924"/>
                <a:gd name="T97" fmla="*/ 998 h 1253"/>
                <a:gd name="T98" fmla="*/ 264 w 2924"/>
                <a:gd name="T99" fmla="*/ 1036 h 1253"/>
                <a:gd name="T100" fmla="*/ 216 w 2924"/>
                <a:gd name="T101" fmla="*/ 1073 h 1253"/>
                <a:gd name="T102" fmla="*/ 139 w 2924"/>
                <a:gd name="T103" fmla="*/ 1133 h 1253"/>
                <a:gd name="T104" fmla="*/ 91 w 2924"/>
                <a:gd name="T105" fmla="*/ 1176 h 1253"/>
                <a:gd name="T106" fmla="*/ 44 w 2924"/>
                <a:gd name="T107" fmla="*/ 1216 h 1253"/>
                <a:gd name="T108" fmla="*/ 4 w 2924"/>
                <a:gd name="T109" fmla="*/ 1252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24" h="1253">
                  <a:moveTo>
                    <a:pt x="2922" y="5"/>
                  </a:moveTo>
                  <a:lnTo>
                    <a:pt x="2886" y="9"/>
                  </a:lnTo>
                  <a:cubicBezTo>
                    <a:pt x="2885" y="9"/>
                    <a:pt x="2883" y="8"/>
                    <a:pt x="2883" y="7"/>
                  </a:cubicBezTo>
                  <a:cubicBezTo>
                    <a:pt x="2883" y="5"/>
                    <a:pt x="2884" y="4"/>
                    <a:pt x="2886" y="4"/>
                  </a:cubicBezTo>
                  <a:lnTo>
                    <a:pt x="2921" y="0"/>
                  </a:lnTo>
                  <a:cubicBezTo>
                    <a:pt x="2923" y="0"/>
                    <a:pt x="2924" y="1"/>
                    <a:pt x="2924" y="2"/>
                  </a:cubicBezTo>
                  <a:cubicBezTo>
                    <a:pt x="2924" y="4"/>
                    <a:pt x="2923" y="5"/>
                    <a:pt x="2922" y="5"/>
                  </a:cubicBezTo>
                  <a:close/>
                  <a:moveTo>
                    <a:pt x="2861" y="12"/>
                  </a:moveTo>
                  <a:lnTo>
                    <a:pt x="2825" y="16"/>
                  </a:lnTo>
                  <a:cubicBezTo>
                    <a:pt x="2824" y="16"/>
                    <a:pt x="2822" y="15"/>
                    <a:pt x="2822" y="14"/>
                  </a:cubicBezTo>
                  <a:cubicBezTo>
                    <a:pt x="2822" y="12"/>
                    <a:pt x="2823" y="11"/>
                    <a:pt x="2825" y="11"/>
                  </a:cubicBezTo>
                  <a:lnTo>
                    <a:pt x="2860" y="7"/>
                  </a:lnTo>
                  <a:cubicBezTo>
                    <a:pt x="2862" y="7"/>
                    <a:pt x="2863" y="8"/>
                    <a:pt x="2863" y="9"/>
                  </a:cubicBezTo>
                  <a:cubicBezTo>
                    <a:pt x="2863" y="11"/>
                    <a:pt x="2862" y="12"/>
                    <a:pt x="2861" y="12"/>
                  </a:cubicBezTo>
                  <a:close/>
                  <a:moveTo>
                    <a:pt x="2800" y="19"/>
                  </a:moveTo>
                  <a:lnTo>
                    <a:pt x="2764" y="23"/>
                  </a:lnTo>
                  <a:cubicBezTo>
                    <a:pt x="2763" y="23"/>
                    <a:pt x="2761" y="22"/>
                    <a:pt x="2761" y="21"/>
                  </a:cubicBezTo>
                  <a:cubicBezTo>
                    <a:pt x="2761" y="19"/>
                    <a:pt x="2762" y="18"/>
                    <a:pt x="2763" y="18"/>
                  </a:cubicBezTo>
                  <a:lnTo>
                    <a:pt x="2799" y="14"/>
                  </a:lnTo>
                  <a:cubicBezTo>
                    <a:pt x="2801" y="14"/>
                    <a:pt x="2802" y="15"/>
                    <a:pt x="2802" y="16"/>
                  </a:cubicBezTo>
                  <a:cubicBezTo>
                    <a:pt x="2802" y="17"/>
                    <a:pt x="2801" y="19"/>
                    <a:pt x="2800" y="19"/>
                  </a:cubicBezTo>
                  <a:close/>
                  <a:moveTo>
                    <a:pt x="2739" y="26"/>
                  </a:moveTo>
                  <a:lnTo>
                    <a:pt x="2720" y="28"/>
                  </a:lnTo>
                  <a:lnTo>
                    <a:pt x="2703" y="31"/>
                  </a:lnTo>
                  <a:cubicBezTo>
                    <a:pt x="2702" y="31"/>
                    <a:pt x="2701" y="30"/>
                    <a:pt x="2700" y="28"/>
                  </a:cubicBezTo>
                  <a:cubicBezTo>
                    <a:pt x="2700" y="27"/>
                    <a:pt x="2701" y="26"/>
                    <a:pt x="2702" y="26"/>
                  </a:cubicBezTo>
                  <a:lnTo>
                    <a:pt x="2719" y="23"/>
                  </a:lnTo>
                  <a:lnTo>
                    <a:pt x="2738" y="21"/>
                  </a:lnTo>
                  <a:cubicBezTo>
                    <a:pt x="2739" y="21"/>
                    <a:pt x="2741" y="22"/>
                    <a:pt x="2741" y="23"/>
                  </a:cubicBezTo>
                  <a:cubicBezTo>
                    <a:pt x="2741" y="24"/>
                    <a:pt x="2740" y="26"/>
                    <a:pt x="2739" y="26"/>
                  </a:cubicBezTo>
                  <a:close/>
                  <a:moveTo>
                    <a:pt x="2678" y="34"/>
                  </a:moveTo>
                  <a:lnTo>
                    <a:pt x="2643" y="40"/>
                  </a:lnTo>
                  <a:cubicBezTo>
                    <a:pt x="2641" y="40"/>
                    <a:pt x="2640" y="39"/>
                    <a:pt x="2640" y="38"/>
                  </a:cubicBezTo>
                  <a:cubicBezTo>
                    <a:pt x="2639" y="36"/>
                    <a:pt x="2640" y="35"/>
                    <a:pt x="2642" y="35"/>
                  </a:cubicBezTo>
                  <a:lnTo>
                    <a:pt x="2677" y="29"/>
                  </a:lnTo>
                  <a:cubicBezTo>
                    <a:pt x="2679" y="29"/>
                    <a:pt x="2680" y="30"/>
                    <a:pt x="2680" y="32"/>
                  </a:cubicBezTo>
                  <a:cubicBezTo>
                    <a:pt x="2680" y="33"/>
                    <a:pt x="2679" y="34"/>
                    <a:pt x="2678" y="34"/>
                  </a:cubicBezTo>
                  <a:close/>
                  <a:moveTo>
                    <a:pt x="2617" y="44"/>
                  </a:moveTo>
                  <a:lnTo>
                    <a:pt x="2582" y="49"/>
                  </a:lnTo>
                  <a:cubicBezTo>
                    <a:pt x="2580" y="50"/>
                    <a:pt x="2579" y="49"/>
                    <a:pt x="2579" y="47"/>
                  </a:cubicBezTo>
                  <a:cubicBezTo>
                    <a:pt x="2579" y="46"/>
                    <a:pt x="2580" y="45"/>
                    <a:pt x="2581" y="44"/>
                  </a:cubicBezTo>
                  <a:lnTo>
                    <a:pt x="2616" y="39"/>
                  </a:lnTo>
                  <a:cubicBezTo>
                    <a:pt x="2618" y="39"/>
                    <a:pt x="2619" y="40"/>
                    <a:pt x="2619" y="41"/>
                  </a:cubicBezTo>
                  <a:cubicBezTo>
                    <a:pt x="2620" y="42"/>
                    <a:pt x="2619" y="44"/>
                    <a:pt x="2617" y="44"/>
                  </a:cubicBezTo>
                  <a:close/>
                  <a:moveTo>
                    <a:pt x="2557" y="53"/>
                  </a:moveTo>
                  <a:lnTo>
                    <a:pt x="2521" y="59"/>
                  </a:lnTo>
                  <a:cubicBezTo>
                    <a:pt x="2520" y="59"/>
                    <a:pt x="2518" y="58"/>
                    <a:pt x="2518" y="57"/>
                  </a:cubicBezTo>
                  <a:cubicBezTo>
                    <a:pt x="2518" y="55"/>
                    <a:pt x="2519" y="54"/>
                    <a:pt x="2520" y="54"/>
                  </a:cubicBezTo>
                  <a:lnTo>
                    <a:pt x="2556" y="48"/>
                  </a:lnTo>
                  <a:cubicBezTo>
                    <a:pt x="2557" y="48"/>
                    <a:pt x="2558" y="49"/>
                    <a:pt x="2559" y="50"/>
                  </a:cubicBezTo>
                  <a:cubicBezTo>
                    <a:pt x="2559" y="52"/>
                    <a:pt x="2558" y="53"/>
                    <a:pt x="2557" y="53"/>
                  </a:cubicBezTo>
                  <a:close/>
                  <a:moveTo>
                    <a:pt x="2496" y="64"/>
                  </a:moveTo>
                  <a:lnTo>
                    <a:pt x="2461" y="70"/>
                  </a:lnTo>
                  <a:cubicBezTo>
                    <a:pt x="2459" y="71"/>
                    <a:pt x="2458" y="70"/>
                    <a:pt x="2458" y="68"/>
                  </a:cubicBezTo>
                  <a:cubicBezTo>
                    <a:pt x="2458" y="67"/>
                    <a:pt x="2458" y="66"/>
                    <a:pt x="2460" y="65"/>
                  </a:cubicBezTo>
                  <a:lnTo>
                    <a:pt x="2495" y="59"/>
                  </a:lnTo>
                  <a:cubicBezTo>
                    <a:pt x="2496" y="58"/>
                    <a:pt x="2498" y="59"/>
                    <a:pt x="2498" y="61"/>
                  </a:cubicBezTo>
                  <a:cubicBezTo>
                    <a:pt x="2498" y="62"/>
                    <a:pt x="2497" y="63"/>
                    <a:pt x="2496" y="64"/>
                  </a:cubicBezTo>
                  <a:close/>
                  <a:moveTo>
                    <a:pt x="2436" y="75"/>
                  </a:moveTo>
                  <a:lnTo>
                    <a:pt x="2401" y="82"/>
                  </a:lnTo>
                  <a:cubicBezTo>
                    <a:pt x="2399" y="82"/>
                    <a:pt x="2398" y="81"/>
                    <a:pt x="2398" y="80"/>
                  </a:cubicBezTo>
                  <a:cubicBezTo>
                    <a:pt x="2397" y="78"/>
                    <a:pt x="2398" y="77"/>
                    <a:pt x="2400" y="77"/>
                  </a:cubicBezTo>
                  <a:lnTo>
                    <a:pt x="2435" y="70"/>
                  </a:lnTo>
                  <a:cubicBezTo>
                    <a:pt x="2436" y="70"/>
                    <a:pt x="2437" y="71"/>
                    <a:pt x="2438" y="72"/>
                  </a:cubicBezTo>
                  <a:cubicBezTo>
                    <a:pt x="2438" y="74"/>
                    <a:pt x="2437" y="75"/>
                    <a:pt x="2436" y="75"/>
                  </a:cubicBezTo>
                  <a:close/>
                  <a:moveTo>
                    <a:pt x="2375" y="87"/>
                  </a:moveTo>
                  <a:lnTo>
                    <a:pt x="2340" y="93"/>
                  </a:lnTo>
                  <a:cubicBezTo>
                    <a:pt x="2339" y="94"/>
                    <a:pt x="2337" y="93"/>
                    <a:pt x="2337" y="91"/>
                  </a:cubicBezTo>
                  <a:cubicBezTo>
                    <a:pt x="2337" y="90"/>
                    <a:pt x="2338" y="89"/>
                    <a:pt x="2339" y="88"/>
                  </a:cubicBezTo>
                  <a:lnTo>
                    <a:pt x="2374" y="82"/>
                  </a:lnTo>
                  <a:cubicBezTo>
                    <a:pt x="2376" y="81"/>
                    <a:pt x="2377" y="82"/>
                    <a:pt x="2377" y="84"/>
                  </a:cubicBezTo>
                  <a:cubicBezTo>
                    <a:pt x="2378" y="85"/>
                    <a:pt x="2377" y="86"/>
                    <a:pt x="2375" y="87"/>
                  </a:cubicBezTo>
                  <a:close/>
                  <a:moveTo>
                    <a:pt x="2315" y="99"/>
                  </a:moveTo>
                  <a:lnTo>
                    <a:pt x="2280" y="107"/>
                  </a:lnTo>
                  <a:cubicBezTo>
                    <a:pt x="2279" y="107"/>
                    <a:pt x="2278" y="106"/>
                    <a:pt x="2277" y="105"/>
                  </a:cubicBezTo>
                  <a:cubicBezTo>
                    <a:pt x="2277" y="103"/>
                    <a:pt x="2278" y="102"/>
                    <a:pt x="2279" y="102"/>
                  </a:cubicBezTo>
                  <a:lnTo>
                    <a:pt x="2314" y="94"/>
                  </a:lnTo>
                  <a:cubicBezTo>
                    <a:pt x="2315" y="93"/>
                    <a:pt x="2317" y="94"/>
                    <a:pt x="2317" y="95"/>
                  </a:cubicBezTo>
                  <a:cubicBezTo>
                    <a:pt x="2317" y="97"/>
                    <a:pt x="2317" y="98"/>
                    <a:pt x="2315" y="99"/>
                  </a:cubicBezTo>
                  <a:close/>
                  <a:moveTo>
                    <a:pt x="2255" y="113"/>
                  </a:moveTo>
                  <a:lnTo>
                    <a:pt x="2221" y="121"/>
                  </a:lnTo>
                  <a:cubicBezTo>
                    <a:pt x="2219" y="121"/>
                    <a:pt x="2218" y="120"/>
                    <a:pt x="2217" y="119"/>
                  </a:cubicBezTo>
                  <a:cubicBezTo>
                    <a:pt x="2217" y="118"/>
                    <a:pt x="2218" y="116"/>
                    <a:pt x="2219" y="116"/>
                  </a:cubicBezTo>
                  <a:lnTo>
                    <a:pt x="2254" y="108"/>
                  </a:lnTo>
                  <a:cubicBezTo>
                    <a:pt x="2256" y="107"/>
                    <a:pt x="2257" y="108"/>
                    <a:pt x="2257" y="110"/>
                  </a:cubicBezTo>
                  <a:cubicBezTo>
                    <a:pt x="2258" y="111"/>
                    <a:pt x="2257" y="112"/>
                    <a:pt x="2255" y="113"/>
                  </a:cubicBezTo>
                  <a:close/>
                  <a:moveTo>
                    <a:pt x="2196" y="127"/>
                  </a:moveTo>
                  <a:lnTo>
                    <a:pt x="2161" y="135"/>
                  </a:lnTo>
                  <a:cubicBezTo>
                    <a:pt x="2159" y="135"/>
                    <a:pt x="2158" y="134"/>
                    <a:pt x="2158" y="133"/>
                  </a:cubicBezTo>
                  <a:cubicBezTo>
                    <a:pt x="2157" y="132"/>
                    <a:pt x="2158" y="130"/>
                    <a:pt x="2160" y="130"/>
                  </a:cubicBezTo>
                  <a:lnTo>
                    <a:pt x="2194" y="122"/>
                  </a:lnTo>
                  <a:cubicBezTo>
                    <a:pt x="2196" y="121"/>
                    <a:pt x="2197" y="122"/>
                    <a:pt x="2197" y="124"/>
                  </a:cubicBezTo>
                  <a:cubicBezTo>
                    <a:pt x="2198" y="125"/>
                    <a:pt x="2197" y="126"/>
                    <a:pt x="2196" y="127"/>
                  </a:cubicBezTo>
                  <a:close/>
                  <a:moveTo>
                    <a:pt x="2136" y="141"/>
                  </a:moveTo>
                  <a:lnTo>
                    <a:pt x="2126" y="143"/>
                  </a:lnTo>
                  <a:lnTo>
                    <a:pt x="2101" y="150"/>
                  </a:lnTo>
                  <a:cubicBezTo>
                    <a:pt x="2100" y="150"/>
                    <a:pt x="2098" y="149"/>
                    <a:pt x="2098" y="148"/>
                  </a:cubicBezTo>
                  <a:cubicBezTo>
                    <a:pt x="2098" y="147"/>
                    <a:pt x="2099" y="145"/>
                    <a:pt x="2100" y="145"/>
                  </a:cubicBezTo>
                  <a:lnTo>
                    <a:pt x="2125" y="138"/>
                  </a:lnTo>
                  <a:lnTo>
                    <a:pt x="2135" y="136"/>
                  </a:lnTo>
                  <a:cubicBezTo>
                    <a:pt x="2136" y="135"/>
                    <a:pt x="2137" y="136"/>
                    <a:pt x="2138" y="138"/>
                  </a:cubicBezTo>
                  <a:cubicBezTo>
                    <a:pt x="2138" y="139"/>
                    <a:pt x="2137" y="140"/>
                    <a:pt x="2136" y="141"/>
                  </a:cubicBezTo>
                  <a:close/>
                  <a:moveTo>
                    <a:pt x="2077" y="157"/>
                  </a:moveTo>
                  <a:lnTo>
                    <a:pt x="2042" y="166"/>
                  </a:lnTo>
                  <a:cubicBezTo>
                    <a:pt x="2041" y="167"/>
                    <a:pt x="2039" y="166"/>
                    <a:pt x="2039" y="165"/>
                  </a:cubicBezTo>
                  <a:cubicBezTo>
                    <a:pt x="2039" y="163"/>
                    <a:pt x="2039" y="162"/>
                    <a:pt x="2041" y="161"/>
                  </a:cubicBezTo>
                  <a:lnTo>
                    <a:pt x="2075" y="152"/>
                  </a:lnTo>
                  <a:cubicBezTo>
                    <a:pt x="2077" y="151"/>
                    <a:pt x="2078" y="152"/>
                    <a:pt x="2078" y="154"/>
                  </a:cubicBezTo>
                  <a:cubicBezTo>
                    <a:pt x="2079" y="155"/>
                    <a:pt x="2078" y="156"/>
                    <a:pt x="2077" y="157"/>
                  </a:cubicBezTo>
                  <a:close/>
                  <a:moveTo>
                    <a:pt x="2017" y="173"/>
                  </a:moveTo>
                  <a:lnTo>
                    <a:pt x="1983" y="183"/>
                  </a:lnTo>
                  <a:cubicBezTo>
                    <a:pt x="1982" y="183"/>
                    <a:pt x="1980" y="182"/>
                    <a:pt x="1980" y="181"/>
                  </a:cubicBezTo>
                  <a:cubicBezTo>
                    <a:pt x="1979" y="180"/>
                    <a:pt x="1980" y="178"/>
                    <a:pt x="1982" y="178"/>
                  </a:cubicBezTo>
                  <a:lnTo>
                    <a:pt x="2016" y="168"/>
                  </a:lnTo>
                  <a:cubicBezTo>
                    <a:pt x="2017" y="168"/>
                    <a:pt x="2019" y="169"/>
                    <a:pt x="2019" y="170"/>
                  </a:cubicBezTo>
                  <a:cubicBezTo>
                    <a:pt x="2020" y="171"/>
                    <a:pt x="2019" y="173"/>
                    <a:pt x="2017" y="173"/>
                  </a:cubicBezTo>
                  <a:close/>
                  <a:moveTo>
                    <a:pt x="1958" y="190"/>
                  </a:moveTo>
                  <a:lnTo>
                    <a:pt x="1932" y="197"/>
                  </a:lnTo>
                  <a:lnTo>
                    <a:pt x="1924" y="200"/>
                  </a:lnTo>
                  <a:cubicBezTo>
                    <a:pt x="1923" y="200"/>
                    <a:pt x="1921" y="199"/>
                    <a:pt x="1921" y="198"/>
                  </a:cubicBezTo>
                  <a:cubicBezTo>
                    <a:pt x="1920" y="196"/>
                    <a:pt x="1921" y="195"/>
                    <a:pt x="1922" y="195"/>
                  </a:cubicBezTo>
                  <a:lnTo>
                    <a:pt x="1931" y="192"/>
                  </a:lnTo>
                  <a:lnTo>
                    <a:pt x="1957" y="185"/>
                  </a:lnTo>
                  <a:cubicBezTo>
                    <a:pt x="1958" y="184"/>
                    <a:pt x="1960" y="185"/>
                    <a:pt x="1960" y="187"/>
                  </a:cubicBezTo>
                  <a:cubicBezTo>
                    <a:pt x="1960" y="188"/>
                    <a:pt x="1960" y="189"/>
                    <a:pt x="1958" y="190"/>
                  </a:cubicBezTo>
                  <a:close/>
                  <a:moveTo>
                    <a:pt x="1899" y="207"/>
                  </a:moveTo>
                  <a:lnTo>
                    <a:pt x="1865" y="218"/>
                  </a:lnTo>
                  <a:cubicBezTo>
                    <a:pt x="1864" y="218"/>
                    <a:pt x="1862" y="218"/>
                    <a:pt x="1862" y="216"/>
                  </a:cubicBezTo>
                  <a:cubicBezTo>
                    <a:pt x="1862" y="215"/>
                    <a:pt x="1862" y="213"/>
                    <a:pt x="1864" y="213"/>
                  </a:cubicBezTo>
                  <a:lnTo>
                    <a:pt x="1898" y="202"/>
                  </a:lnTo>
                  <a:cubicBezTo>
                    <a:pt x="1899" y="202"/>
                    <a:pt x="1901" y="203"/>
                    <a:pt x="1901" y="204"/>
                  </a:cubicBezTo>
                  <a:cubicBezTo>
                    <a:pt x="1902" y="205"/>
                    <a:pt x="1901" y="207"/>
                    <a:pt x="1899" y="207"/>
                  </a:cubicBezTo>
                  <a:close/>
                  <a:moveTo>
                    <a:pt x="1841" y="225"/>
                  </a:moveTo>
                  <a:lnTo>
                    <a:pt x="1807" y="236"/>
                  </a:lnTo>
                  <a:cubicBezTo>
                    <a:pt x="1805" y="237"/>
                    <a:pt x="1804" y="236"/>
                    <a:pt x="1803" y="234"/>
                  </a:cubicBezTo>
                  <a:cubicBezTo>
                    <a:pt x="1803" y="233"/>
                    <a:pt x="1804" y="232"/>
                    <a:pt x="1805" y="231"/>
                  </a:cubicBezTo>
                  <a:lnTo>
                    <a:pt x="1839" y="221"/>
                  </a:lnTo>
                  <a:cubicBezTo>
                    <a:pt x="1841" y="220"/>
                    <a:pt x="1842" y="221"/>
                    <a:pt x="1842" y="222"/>
                  </a:cubicBezTo>
                  <a:cubicBezTo>
                    <a:pt x="1843" y="224"/>
                    <a:pt x="1842" y="225"/>
                    <a:pt x="1841" y="225"/>
                  </a:cubicBezTo>
                  <a:close/>
                  <a:moveTo>
                    <a:pt x="1782" y="244"/>
                  </a:moveTo>
                  <a:lnTo>
                    <a:pt x="1748" y="255"/>
                  </a:lnTo>
                  <a:cubicBezTo>
                    <a:pt x="1747" y="255"/>
                    <a:pt x="1745" y="254"/>
                    <a:pt x="1745" y="253"/>
                  </a:cubicBezTo>
                  <a:cubicBezTo>
                    <a:pt x="1744" y="251"/>
                    <a:pt x="1745" y="250"/>
                    <a:pt x="1746" y="250"/>
                  </a:cubicBezTo>
                  <a:lnTo>
                    <a:pt x="1781" y="239"/>
                  </a:lnTo>
                  <a:cubicBezTo>
                    <a:pt x="1782" y="239"/>
                    <a:pt x="1783" y="239"/>
                    <a:pt x="1784" y="241"/>
                  </a:cubicBezTo>
                  <a:cubicBezTo>
                    <a:pt x="1784" y="242"/>
                    <a:pt x="1784" y="243"/>
                    <a:pt x="1782" y="244"/>
                  </a:cubicBezTo>
                  <a:close/>
                  <a:moveTo>
                    <a:pt x="1724" y="263"/>
                  </a:moveTo>
                  <a:lnTo>
                    <a:pt x="1690" y="275"/>
                  </a:lnTo>
                  <a:cubicBezTo>
                    <a:pt x="1689" y="276"/>
                    <a:pt x="1687" y="275"/>
                    <a:pt x="1687" y="274"/>
                  </a:cubicBezTo>
                  <a:cubicBezTo>
                    <a:pt x="1686" y="272"/>
                    <a:pt x="1687" y="271"/>
                    <a:pt x="1688" y="270"/>
                  </a:cubicBezTo>
                  <a:lnTo>
                    <a:pt x="1722" y="258"/>
                  </a:lnTo>
                  <a:cubicBezTo>
                    <a:pt x="1723" y="258"/>
                    <a:pt x="1725" y="258"/>
                    <a:pt x="1725" y="260"/>
                  </a:cubicBezTo>
                  <a:cubicBezTo>
                    <a:pt x="1726" y="261"/>
                    <a:pt x="1725" y="262"/>
                    <a:pt x="1724" y="263"/>
                  </a:cubicBezTo>
                  <a:close/>
                  <a:moveTo>
                    <a:pt x="1666" y="284"/>
                  </a:moveTo>
                  <a:lnTo>
                    <a:pt x="1633" y="296"/>
                  </a:lnTo>
                  <a:cubicBezTo>
                    <a:pt x="1631" y="297"/>
                    <a:pt x="1630" y="296"/>
                    <a:pt x="1629" y="295"/>
                  </a:cubicBezTo>
                  <a:cubicBezTo>
                    <a:pt x="1629" y="293"/>
                    <a:pt x="1629" y="292"/>
                    <a:pt x="1631" y="291"/>
                  </a:cubicBezTo>
                  <a:lnTo>
                    <a:pt x="1631" y="291"/>
                  </a:lnTo>
                  <a:lnTo>
                    <a:pt x="1664" y="279"/>
                  </a:lnTo>
                  <a:cubicBezTo>
                    <a:pt x="1666" y="279"/>
                    <a:pt x="1667" y="279"/>
                    <a:pt x="1668" y="281"/>
                  </a:cubicBezTo>
                  <a:cubicBezTo>
                    <a:pt x="1668" y="282"/>
                    <a:pt x="1668" y="283"/>
                    <a:pt x="1666" y="284"/>
                  </a:cubicBezTo>
                  <a:close/>
                  <a:moveTo>
                    <a:pt x="1608" y="305"/>
                  </a:moveTo>
                  <a:lnTo>
                    <a:pt x="1575" y="317"/>
                  </a:lnTo>
                  <a:cubicBezTo>
                    <a:pt x="1573" y="318"/>
                    <a:pt x="1572" y="317"/>
                    <a:pt x="1572" y="316"/>
                  </a:cubicBezTo>
                  <a:cubicBezTo>
                    <a:pt x="1571" y="314"/>
                    <a:pt x="1572" y="313"/>
                    <a:pt x="1573" y="312"/>
                  </a:cubicBezTo>
                  <a:lnTo>
                    <a:pt x="1573" y="312"/>
                  </a:lnTo>
                  <a:lnTo>
                    <a:pt x="1607" y="300"/>
                  </a:lnTo>
                  <a:cubicBezTo>
                    <a:pt x="1608" y="300"/>
                    <a:pt x="1610" y="300"/>
                    <a:pt x="1610" y="302"/>
                  </a:cubicBezTo>
                  <a:cubicBezTo>
                    <a:pt x="1610" y="303"/>
                    <a:pt x="1610" y="305"/>
                    <a:pt x="1608" y="305"/>
                  </a:cubicBezTo>
                  <a:close/>
                  <a:moveTo>
                    <a:pt x="1551" y="326"/>
                  </a:moveTo>
                  <a:lnTo>
                    <a:pt x="1518" y="339"/>
                  </a:lnTo>
                  <a:cubicBezTo>
                    <a:pt x="1516" y="340"/>
                    <a:pt x="1515" y="339"/>
                    <a:pt x="1514" y="338"/>
                  </a:cubicBezTo>
                  <a:cubicBezTo>
                    <a:pt x="1514" y="337"/>
                    <a:pt x="1514" y="335"/>
                    <a:pt x="1516" y="335"/>
                  </a:cubicBezTo>
                  <a:lnTo>
                    <a:pt x="1549" y="321"/>
                  </a:lnTo>
                  <a:cubicBezTo>
                    <a:pt x="1550" y="321"/>
                    <a:pt x="1552" y="321"/>
                    <a:pt x="1552" y="323"/>
                  </a:cubicBezTo>
                  <a:cubicBezTo>
                    <a:pt x="1553" y="324"/>
                    <a:pt x="1552" y="326"/>
                    <a:pt x="1551" y="326"/>
                  </a:cubicBezTo>
                  <a:close/>
                  <a:moveTo>
                    <a:pt x="1494" y="349"/>
                  </a:moveTo>
                  <a:lnTo>
                    <a:pt x="1461" y="362"/>
                  </a:lnTo>
                  <a:cubicBezTo>
                    <a:pt x="1459" y="363"/>
                    <a:pt x="1458" y="362"/>
                    <a:pt x="1457" y="361"/>
                  </a:cubicBezTo>
                  <a:cubicBezTo>
                    <a:pt x="1457" y="360"/>
                    <a:pt x="1457" y="358"/>
                    <a:pt x="1459" y="358"/>
                  </a:cubicBezTo>
                  <a:lnTo>
                    <a:pt x="1492" y="344"/>
                  </a:lnTo>
                  <a:cubicBezTo>
                    <a:pt x="1493" y="344"/>
                    <a:pt x="1495" y="344"/>
                    <a:pt x="1495" y="346"/>
                  </a:cubicBezTo>
                  <a:cubicBezTo>
                    <a:pt x="1496" y="347"/>
                    <a:pt x="1495" y="349"/>
                    <a:pt x="1494" y="349"/>
                  </a:cubicBezTo>
                  <a:close/>
                  <a:moveTo>
                    <a:pt x="1437" y="372"/>
                  </a:moveTo>
                  <a:lnTo>
                    <a:pt x="1404" y="385"/>
                  </a:lnTo>
                  <a:cubicBezTo>
                    <a:pt x="1402" y="386"/>
                    <a:pt x="1401" y="385"/>
                    <a:pt x="1400" y="384"/>
                  </a:cubicBezTo>
                  <a:cubicBezTo>
                    <a:pt x="1400" y="383"/>
                    <a:pt x="1400" y="381"/>
                    <a:pt x="1402" y="381"/>
                  </a:cubicBezTo>
                  <a:lnTo>
                    <a:pt x="1435" y="367"/>
                  </a:lnTo>
                  <a:cubicBezTo>
                    <a:pt x="1436" y="367"/>
                    <a:pt x="1438" y="367"/>
                    <a:pt x="1438" y="369"/>
                  </a:cubicBezTo>
                  <a:cubicBezTo>
                    <a:pt x="1439" y="370"/>
                    <a:pt x="1438" y="371"/>
                    <a:pt x="1437" y="372"/>
                  </a:cubicBezTo>
                  <a:close/>
                  <a:moveTo>
                    <a:pt x="1380" y="395"/>
                  </a:moveTo>
                  <a:lnTo>
                    <a:pt x="1365" y="401"/>
                  </a:lnTo>
                  <a:lnTo>
                    <a:pt x="1347" y="409"/>
                  </a:lnTo>
                  <a:cubicBezTo>
                    <a:pt x="1346" y="410"/>
                    <a:pt x="1344" y="409"/>
                    <a:pt x="1344" y="408"/>
                  </a:cubicBezTo>
                  <a:cubicBezTo>
                    <a:pt x="1343" y="406"/>
                    <a:pt x="1344" y="405"/>
                    <a:pt x="1345" y="404"/>
                  </a:cubicBezTo>
                  <a:lnTo>
                    <a:pt x="1364" y="396"/>
                  </a:lnTo>
                  <a:lnTo>
                    <a:pt x="1378" y="390"/>
                  </a:lnTo>
                  <a:cubicBezTo>
                    <a:pt x="1379" y="390"/>
                    <a:pt x="1381" y="390"/>
                    <a:pt x="1381" y="392"/>
                  </a:cubicBezTo>
                  <a:cubicBezTo>
                    <a:pt x="1382" y="393"/>
                    <a:pt x="1381" y="394"/>
                    <a:pt x="1380" y="395"/>
                  </a:cubicBezTo>
                  <a:close/>
                  <a:moveTo>
                    <a:pt x="1324" y="420"/>
                  </a:moveTo>
                  <a:lnTo>
                    <a:pt x="1291" y="434"/>
                  </a:lnTo>
                  <a:cubicBezTo>
                    <a:pt x="1290" y="435"/>
                    <a:pt x="1288" y="434"/>
                    <a:pt x="1288" y="433"/>
                  </a:cubicBezTo>
                  <a:cubicBezTo>
                    <a:pt x="1287" y="432"/>
                    <a:pt x="1288" y="430"/>
                    <a:pt x="1289" y="430"/>
                  </a:cubicBezTo>
                  <a:lnTo>
                    <a:pt x="1322" y="415"/>
                  </a:lnTo>
                  <a:cubicBezTo>
                    <a:pt x="1323" y="414"/>
                    <a:pt x="1324" y="415"/>
                    <a:pt x="1325" y="416"/>
                  </a:cubicBezTo>
                  <a:cubicBezTo>
                    <a:pt x="1326" y="417"/>
                    <a:pt x="1325" y="419"/>
                    <a:pt x="1324" y="420"/>
                  </a:cubicBezTo>
                  <a:close/>
                  <a:moveTo>
                    <a:pt x="1268" y="445"/>
                  </a:moveTo>
                  <a:lnTo>
                    <a:pt x="1235" y="459"/>
                  </a:lnTo>
                  <a:cubicBezTo>
                    <a:pt x="1234" y="460"/>
                    <a:pt x="1232" y="459"/>
                    <a:pt x="1232" y="458"/>
                  </a:cubicBezTo>
                  <a:cubicBezTo>
                    <a:pt x="1231" y="457"/>
                    <a:pt x="1232" y="455"/>
                    <a:pt x="1233" y="455"/>
                  </a:cubicBezTo>
                  <a:lnTo>
                    <a:pt x="1266" y="440"/>
                  </a:lnTo>
                  <a:cubicBezTo>
                    <a:pt x="1267" y="439"/>
                    <a:pt x="1268" y="440"/>
                    <a:pt x="1269" y="441"/>
                  </a:cubicBezTo>
                  <a:cubicBezTo>
                    <a:pt x="1270" y="443"/>
                    <a:pt x="1269" y="444"/>
                    <a:pt x="1268" y="445"/>
                  </a:cubicBezTo>
                  <a:close/>
                  <a:moveTo>
                    <a:pt x="1212" y="470"/>
                  </a:moveTo>
                  <a:lnTo>
                    <a:pt x="1183" y="483"/>
                  </a:lnTo>
                  <a:lnTo>
                    <a:pt x="1179" y="485"/>
                  </a:lnTo>
                  <a:cubicBezTo>
                    <a:pt x="1178" y="485"/>
                    <a:pt x="1176" y="485"/>
                    <a:pt x="1176" y="483"/>
                  </a:cubicBezTo>
                  <a:cubicBezTo>
                    <a:pt x="1175" y="482"/>
                    <a:pt x="1176" y="481"/>
                    <a:pt x="1177" y="480"/>
                  </a:cubicBezTo>
                  <a:lnTo>
                    <a:pt x="1180" y="478"/>
                  </a:lnTo>
                  <a:lnTo>
                    <a:pt x="1210" y="465"/>
                  </a:lnTo>
                  <a:cubicBezTo>
                    <a:pt x="1211" y="465"/>
                    <a:pt x="1212" y="465"/>
                    <a:pt x="1213" y="466"/>
                  </a:cubicBezTo>
                  <a:cubicBezTo>
                    <a:pt x="1213" y="468"/>
                    <a:pt x="1213" y="469"/>
                    <a:pt x="1212" y="470"/>
                  </a:cubicBezTo>
                  <a:close/>
                  <a:moveTo>
                    <a:pt x="1156" y="496"/>
                  </a:moveTo>
                  <a:lnTo>
                    <a:pt x="1124" y="512"/>
                  </a:lnTo>
                  <a:cubicBezTo>
                    <a:pt x="1123" y="513"/>
                    <a:pt x="1121" y="512"/>
                    <a:pt x="1121" y="511"/>
                  </a:cubicBezTo>
                  <a:cubicBezTo>
                    <a:pt x="1120" y="510"/>
                    <a:pt x="1121" y="508"/>
                    <a:pt x="1122" y="507"/>
                  </a:cubicBezTo>
                  <a:lnTo>
                    <a:pt x="1154" y="491"/>
                  </a:lnTo>
                  <a:cubicBezTo>
                    <a:pt x="1155" y="491"/>
                    <a:pt x="1157" y="491"/>
                    <a:pt x="1157" y="493"/>
                  </a:cubicBezTo>
                  <a:cubicBezTo>
                    <a:pt x="1158" y="494"/>
                    <a:pt x="1157" y="495"/>
                    <a:pt x="1156" y="496"/>
                  </a:cubicBezTo>
                  <a:close/>
                  <a:moveTo>
                    <a:pt x="1101" y="523"/>
                  </a:moveTo>
                  <a:lnTo>
                    <a:pt x="1069" y="539"/>
                  </a:lnTo>
                  <a:cubicBezTo>
                    <a:pt x="1068" y="540"/>
                    <a:pt x="1066" y="540"/>
                    <a:pt x="1066" y="538"/>
                  </a:cubicBezTo>
                  <a:cubicBezTo>
                    <a:pt x="1065" y="537"/>
                    <a:pt x="1066" y="536"/>
                    <a:pt x="1067" y="535"/>
                  </a:cubicBezTo>
                  <a:lnTo>
                    <a:pt x="1099" y="519"/>
                  </a:lnTo>
                  <a:cubicBezTo>
                    <a:pt x="1100" y="518"/>
                    <a:pt x="1102" y="519"/>
                    <a:pt x="1102" y="520"/>
                  </a:cubicBezTo>
                  <a:cubicBezTo>
                    <a:pt x="1103" y="521"/>
                    <a:pt x="1102" y="523"/>
                    <a:pt x="1101" y="523"/>
                  </a:cubicBezTo>
                  <a:close/>
                  <a:moveTo>
                    <a:pt x="1046" y="551"/>
                  </a:moveTo>
                  <a:lnTo>
                    <a:pt x="1014" y="567"/>
                  </a:lnTo>
                  <a:cubicBezTo>
                    <a:pt x="1013" y="568"/>
                    <a:pt x="1011" y="567"/>
                    <a:pt x="1011" y="566"/>
                  </a:cubicBezTo>
                  <a:cubicBezTo>
                    <a:pt x="1010" y="565"/>
                    <a:pt x="1011" y="563"/>
                    <a:pt x="1012" y="562"/>
                  </a:cubicBezTo>
                  <a:lnTo>
                    <a:pt x="1044" y="546"/>
                  </a:lnTo>
                  <a:cubicBezTo>
                    <a:pt x="1045" y="546"/>
                    <a:pt x="1047" y="546"/>
                    <a:pt x="1047" y="547"/>
                  </a:cubicBezTo>
                  <a:cubicBezTo>
                    <a:pt x="1048" y="549"/>
                    <a:pt x="1048" y="550"/>
                    <a:pt x="1046" y="551"/>
                  </a:cubicBezTo>
                  <a:close/>
                  <a:moveTo>
                    <a:pt x="992" y="579"/>
                  </a:moveTo>
                  <a:lnTo>
                    <a:pt x="960" y="596"/>
                  </a:lnTo>
                  <a:cubicBezTo>
                    <a:pt x="959" y="597"/>
                    <a:pt x="957" y="596"/>
                    <a:pt x="957" y="595"/>
                  </a:cubicBezTo>
                  <a:cubicBezTo>
                    <a:pt x="956" y="594"/>
                    <a:pt x="956" y="592"/>
                    <a:pt x="958" y="591"/>
                  </a:cubicBezTo>
                  <a:lnTo>
                    <a:pt x="989" y="574"/>
                  </a:lnTo>
                  <a:cubicBezTo>
                    <a:pt x="990" y="574"/>
                    <a:pt x="992" y="574"/>
                    <a:pt x="993" y="575"/>
                  </a:cubicBezTo>
                  <a:cubicBezTo>
                    <a:pt x="993" y="577"/>
                    <a:pt x="993" y="578"/>
                    <a:pt x="992" y="579"/>
                  </a:cubicBezTo>
                  <a:close/>
                  <a:moveTo>
                    <a:pt x="938" y="608"/>
                  </a:moveTo>
                  <a:lnTo>
                    <a:pt x="906" y="625"/>
                  </a:lnTo>
                  <a:cubicBezTo>
                    <a:pt x="905" y="626"/>
                    <a:pt x="903" y="626"/>
                    <a:pt x="903" y="624"/>
                  </a:cubicBezTo>
                  <a:cubicBezTo>
                    <a:pt x="902" y="623"/>
                    <a:pt x="903" y="622"/>
                    <a:pt x="904" y="621"/>
                  </a:cubicBezTo>
                  <a:lnTo>
                    <a:pt x="935" y="604"/>
                  </a:lnTo>
                  <a:cubicBezTo>
                    <a:pt x="936" y="603"/>
                    <a:pt x="938" y="603"/>
                    <a:pt x="939" y="605"/>
                  </a:cubicBezTo>
                  <a:cubicBezTo>
                    <a:pt x="939" y="606"/>
                    <a:pt x="939" y="608"/>
                    <a:pt x="938" y="608"/>
                  </a:cubicBezTo>
                  <a:close/>
                  <a:moveTo>
                    <a:pt x="884" y="638"/>
                  </a:moveTo>
                  <a:lnTo>
                    <a:pt x="852" y="655"/>
                  </a:lnTo>
                  <a:cubicBezTo>
                    <a:pt x="851" y="655"/>
                    <a:pt x="849" y="655"/>
                    <a:pt x="849" y="654"/>
                  </a:cubicBezTo>
                  <a:cubicBezTo>
                    <a:pt x="848" y="652"/>
                    <a:pt x="849" y="651"/>
                    <a:pt x="850" y="650"/>
                  </a:cubicBezTo>
                  <a:lnTo>
                    <a:pt x="881" y="633"/>
                  </a:lnTo>
                  <a:cubicBezTo>
                    <a:pt x="883" y="632"/>
                    <a:pt x="884" y="633"/>
                    <a:pt x="885" y="634"/>
                  </a:cubicBezTo>
                  <a:cubicBezTo>
                    <a:pt x="885" y="635"/>
                    <a:pt x="885" y="637"/>
                    <a:pt x="884" y="638"/>
                  </a:cubicBezTo>
                  <a:close/>
                  <a:moveTo>
                    <a:pt x="830" y="667"/>
                  </a:moveTo>
                  <a:lnTo>
                    <a:pt x="827" y="669"/>
                  </a:lnTo>
                  <a:lnTo>
                    <a:pt x="799" y="685"/>
                  </a:lnTo>
                  <a:cubicBezTo>
                    <a:pt x="798" y="686"/>
                    <a:pt x="796" y="686"/>
                    <a:pt x="796" y="684"/>
                  </a:cubicBezTo>
                  <a:cubicBezTo>
                    <a:pt x="795" y="683"/>
                    <a:pt x="795" y="682"/>
                    <a:pt x="796" y="681"/>
                  </a:cubicBezTo>
                  <a:lnTo>
                    <a:pt x="824" y="664"/>
                  </a:lnTo>
                  <a:lnTo>
                    <a:pt x="827" y="663"/>
                  </a:lnTo>
                  <a:cubicBezTo>
                    <a:pt x="829" y="662"/>
                    <a:pt x="830" y="662"/>
                    <a:pt x="831" y="664"/>
                  </a:cubicBezTo>
                  <a:cubicBezTo>
                    <a:pt x="832" y="665"/>
                    <a:pt x="831" y="666"/>
                    <a:pt x="830" y="667"/>
                  </a:cubicBezTo>
                  <a:close/>
                  <a:moveTo>
                    <a:pt x="777" y="698"/>
                  </a:moveTo>
                  <a:lnTo>
                    <a:pt x="746" y="717"/>
                  </a:lnTo>
                  <a:cubicBezTo>
                    <a:pt x="745" y="718"/>
                    <a:pt x="744" y="717"/>
                    <a:pt x="743" y="716"/>
                  </a:cubicBezTo>
                  <a:cubicBezTo>
                    <a:pt x="742" y="715"/>
                    <a:pt x="743" y="713"/>
                    <a:pt x="744" y="713"/>
                  </a:cubicBezTo>
                  <a:lnTo>
                    <a:pt x="775" y="694"/>
                  </a:lnTo>
                  <a:cubicBezTo>
                    <a:pt x="776" y="693"/>
                    <a:pt x="777" y="694"/>
                    <a:pt x="778" y="695"/>
                  </a:cubicBezTo>
                  <a:cubicBezTo>
                    <a:pt x="779" y="696"/>
                    <a:pt x="778" y="698"/>
                    <a:pt x="777" y="698"/>
                  </a:cubicBezTo>
                  <a:close/>
                  <a:moveTo>
                    <a:pt x="725" y="730"/>
                  </a:moveTo>
                  <a:lnTo>
                    <a:pt x="694" y="749"/>
                  </a:lnTo>
                  <a:cubicBezTo>
                    <a:pt x="693" y="749"/>
                    <a:pt x="691" y="749"/>
                    <a:pt x="690" y="748"/>
                  </a:cubicBezTo>
                  <a:cubicBezTo>
                    <a:pt x="690" y="747"/>
                    <a:pt x="690" y="745"/>
                    <a:pt x="691" y="744"/>
                  </a:cubicBezTo>
                  <a:lnTo>
                    <a:pt x="722" y="726"/>
                  </a:lnTo>
                  <a:cubicBezTo>
                    <a:pt x="723" y="725"/>
                    <a:pt x="725" y="725"/>
                    <a:pt x="725" y="727"/>
                  </a:cubicBezTo>
                  <a:cubicBezTo>
                    <a:pt x="726" y="728"/>
                    <a:pt x="726" y="729"/>
                    <a:pt x="725" y="730"/>
                  </a:cubicBezTo>
                  <a:close/>
                  <a:moveTo>
                    <a:pt x="672" y="762"/>
                  </a:moveTo>
                  <a:lnTo>
                    <a:pt x="654" y="773"/>
                  </a:lnTo>
                  <a:lnTo>
                    <a:pt x="642" y="781"/>
                  </a:lnTo>
                  <a:cubicBezTo>
                    <a:pt x="640" y="781"/>
                    <a:pt x="639" y="781"/>
                    <a:pt x="638" y="780"/>
                  </a:cubicBezTo>
                  <a:cubicBezTo>
                    <a:pt x="637" y="779"/>
                    <a:pt x="638" y="777"/>
                    <a:pt x="639" y="776"/>
                  </a:cubicBezTo>
                  <a:lnTo>
                    <a:pt x="651" y="768"/>
                  </a:lnTo>
                  <a:lnTo>
                    <a:pt x="669" y="757"/>
                  </a:lnTo>
                  <a:cubicBezTo>
                    <a:pt x="670" y="757"/>
                    <a:pt x="672" y="757"/>
                    <a:pt x="673" y="758"/>
                  </a:cubicBezTo>
                  <a:cubicBezTo>
                    <a:pt x="673" y="759"/>
                    <a:pt x="673" y="761"/>
                    <a:pt x="672" y="762"/>
                  </a:cubicBezTo>
                  <a:close/>
                  <a:moveTo>
                    <a:pt x="620" y="795"/>
                  </a:moveTo>
                  <a:lnTo>
                    <a:pt x="590" y="814"/>
                  </a:lnTo>
                  <a:cubicBezTo>
                    <a:pt x="589" y="815"/>
                    <a:pt x="587" y="815"/>
                    <a:pt x="586" y="813"/>
                  </a:cubicBezTo>
                  <a:cubicBezTo>
                    <a:pt x="586" y="812"/>
                    <a:pt x="586" y="811"/>
                    <a:pt x="587" y="810"/>
                  </a:cubicBezTo>
                  <a:lnTo>
                    <a:pt x="617" y="790"/>
                  </a:lnTo>
                  <a:cubicBezTo>
                    <a:pt x="618" y="790"/>
                    <a:pt x="620" y="790"/>
                    <a:pt x="621" y="791"/>
                  </a:cubicBezTo>
                  <a:cubicBezTo>
                    <a:pt x="622" y="792"/>
                    <a:pt x="621" y="794"/>
                    <a:pt x="620" y="795"/>
                  </a:cubicBezTo>
                  <a:close/>
                  <a:moveTo>
                    <a:pt x="569" y="828"/>
                  </a:moveTo>
                  <a:lnTo>
                    <a:pt x="539" y="848"/>
                  </a:lnTo>
                  <a:cubicBezTo>
                    <a:pt x="537" y="848"/>
                    <a:pt x="536" y="848"/>
                    <a:pt x="535" y="847"/>
                  </a:cubicBezTo>
                  <a:cubicBezTo>
                    <a:pt x="534" y="846"/>
                    <a:pt x="535" y="844"/>
                    <a:pt x="536" y="843"/>
                  </a:cubicBezTo>
                  <a:lnTo>
                    <a:pt x="566" y="824"/>
                  </a:lnTo>
                  <a:cubicBezTo>
                    <a:pt x="567" y="823"/>
                    <a:pt x="569" y="823"/>
                    <a:pt x="569" y="825"/>
                  </a:cubicBezTo>
                  <a:cubicBezTo>
                    <a:pt x="570" y="826"/>
                    <a:pt x="570" y="827"/>
                    <a:pt x="569" y="828"/>
                  </a:cubicBezTo>
                  <a:close/>
                  <a:moveTo>
                    <a:pt x="517" y="862"/>
                  </a:moveTo>
                  <a:lnTo>
                    <a:pt x="487" y="881"/>
                  </a:lnTo>
                  <a:cubicBezTo>
                    <a:pt x="486" y="882"/>
                    <a:pt x="484" y="882"/>
                    <a:pt x="484" y="880"/>
                  </a:cubicBezTo>
                  <a:cubicBezTo>
                    <a:pt x="483" y="879"/>
                    <a:pt x="483" y="878"/>
                    <a:pt x="484" y="877"/>
                  </a:cubicBezTo>
                  <a:lnTo>
                    <a:pt x="514" y="857"/>
                  </a:lnTo>
                  <a:cubicBezTo>
                    <a:pt x="515" y="857"/>
                    <a:pt x="517" y="857"/>
                    <a:pt x="518" y="858"/>
                  </a:cubicBezTo>
                  <a:cubicBezTo>
                    <a:pt x="519" y="859"/>
                    <a:pt x="518" y="861"/>
                    <a:pt x="517" y="862"/>
                  </a:cubicBezTo>
                  <a:close/>
                  <a:moveTo>
                    <a:pt x="466" y="896"/>
                  </a:moveTo>
                  <a:lnTo>
                    <a:pt x="437" y="917"/>
                  </a:lnTo>
                  <a:cubicBezTo>
                    <a:pt x="436" y="917"/>
                    <a:pt x="434" y="917"/>
                    <a:pt x="433" y="916"/>
                  </a:cubicBezTo>
                  <a:cubicBezTo>
                    <a:pt x="433" y="915"/>
                    <a:pt x="433" y="913"/>
                    <a:pt x="434" y="912"/>
                  </a:cubicBezTo>
                  <a:lnTo>
                    <a:pt x="463" y="892"/>
                  </a:lnTo>
                  <a:cubicBezTo>
                    <a:pt x="464" y="891"/>
                    <a:pt x="466" y="891"/>
                    <a:pt x="467" y="892"/>
                  </a:cubicBezTo>
                  <a:cubicBezTo>
                    <a:pt x="468" y="893"/>
                    <a:pt x="467" y="895"/>
                    <a:pt x="466" y="896"/>
                  </a:cubicBezTo>
                  <a:close/>
                  <a:moveTo>
                    <a:pt x="416" y="931"/>
                  </a:moveTo>
                  <a:lnTo>
                    <a:pt x="387" y="952"/>
                  </a:lnTo>
                  <a:cubicBezTo>
                    <a:pt x="386" y="953"/>
                    <a:pt x="384" y="953"/>
                    <a:pt x="383" y="952"/>
                  </a:cubicBezTo>
                  <a:cubicBezTo>
                    <a:pt x="382" y="950"/>
                    <a:pt x="383" y="949"/>
                    <a:pt x="384" y="948"/>
                  </a:cubicBezTo>
                  <a:lnTo>
                    <a:pt x="413" y="927"/>
                  </a:lnTo>
                  <a:cubicBezTo>
                    <a:pt x="414" y="926"/>
                    <a:pt x="416" y="927"/>
                    <a:pt x="417" y="928"/>
                  </a:cubicBezTo>
                  <a:cubicBezTo>
                    <a:pt x="418" y="929"/>
                    <a:pt x="417" y="931"/>
                    <a:pt x="416" y="931"/>
                  </a:cubicBezTo>
                  <a:close/>
                  <a:moveTo>
                    <a:pt x="366" y="967"/>
                  </a:moveTo>
                  <a:lnTo>
                    <a:pt x="337" y="988"/>
                  </a:lnTo>
                  <a:cubicBezTo>
                    <a:pt x="336" y="988"/>
                    <a:pt x="334" y="988"/>
                    <a:pt x="333" y="987"/>
                  </a:cubicBezTo>
                  <a:cubicBezTo>
                    <a:pt x="332" y="986"/>
                    <a:pt x="333" y="984"/>
                    <a:pt x="334" y="983"/>
                  </a:cubicBezTo>
                  <a:lnTo>
                    <a:pt x="363" y="963"/>
                  </a:lnTo>
                  <a:cubicBezTo>
                    <a:pt x="364" y="962"/>
                    <a:pt x="366" y="962"/>
                    <a:pt x="367" y="963"/>
                  </a:cubicBezTo>
                  <a:cubicBezTo>
                    <a:pt x="367" y="965"/>
                    <a:pt x="367" y="966"/>
                    <a:pt x="366" y="967"/>
                  </a:cubicBezTo>
                  <a:close/>
                  <a:moveTo>
                    <a:pt x="316" y="1003"/>
                  </a:moveTo>
                  <a:lnTo>
                    <a:pt x="288" y="1024"/>
                  </a:lnTo>
                  <a:cubicBezTo>
                    <a:pt x="287" y="1025"/>
                    <a:pt x="285" y="1025"/>
                    <a:pt x="284" y="1024"/>
                  </a:cubicBezTo>
                  <a:cubicBezTo>
                    <a:pt x="283" y="1023"/>
                    <a:pt x="283" y="1021"/>
                    <a:pt x="285" y="1020"/>
                  </a:cubicBezTo>
                  <a:lnTo>
                    <a:pt x="313" y="998"/>
                  </a:lnTo>
                  <a:cubicBezTo>
                    <a:pt x="314" y="998"/>
                    <a:pt x="316" y="998"/>
                    <a:pt x="317" y="999"/>
                  </a:cubicBezTo>
                  <a:cubicBezTo>
                    <a:pt x="317" y="1000"/>
                    <a:pt x="317" y="1002"/>
                    <a:pt x="316" y="1003"/>
                  </a:cubicBezTo>
                  <a:close/>
                  <a:moveTo>
                    <a:pt x="267" y="1040"/>
                  </a:moveTo>
                  <a:lnTo>
                    <a:pt x="239" y="1062"/>
                  </a:lnTo>
                  <a:cubicBezTo>
                    <a:pt x="238" y="1063"/>
                    <a:pt x="236" y="1062"/>
                    <a:pt x="235" y="1061"/>
                  </a:cubicBezTo>
                  <a:cubicBezTo>
                    <a:pt x="234" y="1060"/>
                    <a:pt x="235" y="1059"/>
                    <a:pt x="236" y="1058"/>
                  </a:cubicBezTo>
                  <a:lnTo>
                    <a:pt x="264" y="1036"/>
                  </a:lnTo>
                  <a:cubicBezTo>
                    <a:pt x="265" y="1035"/>
                    <a:pt x="267" y="1035"/>
                    <a:pt x="268" y="1036"/>
                  </a:cubicBezTo>
                  <a:cubicBezTo>
                    <a:pt x="269" y="1038"/>
                    <a:pt x="268" y="1039"/>
                    <a:pt x="267" y="1040"/>
                  </a:cubicBezTo>
                  <a:close/>
                  <a:moveTo>
                    <a:pt x="219" y="1077"/>
                  </a:moveTo>
                  <a:lnTo>
                    <a:pt x="190" y="1099"/>
                  </a:lnTo>
                  <a:cubicBezTo>
                    <a:pt x="189" y="1100"/>
                    <a:pt x="188" y="1100"/>
                    <a:pt x="187" y="1099"/>
                  </a:cubicBezTo>
                  <a:cubicBezTo>
                    <a:pt x="186" y="1098"/>
                    <a:pt x="186" y="1096"/>
                    <a:pt x="187" y="1095"/>
                  </a:cubicBezTo>
                  <a:lnTo>
                    <a:pt x="216" y="1073"/>
                  </a:lnTo>
                  <a:cubicBezTo>
                    <a:pt x="217" y="1073"/>
                    <a:pt x="218" y="1073"/>
                    <a:pt x="219" y="1074"/>
                  </a:cubicBezTo>
                  <a:cubicBezTo>
                    <a:pt x="220" y="1075"/>
                    <a:pt x="220" y="1077"/>
                    <a:pt x="219" y="1077"/>
                  </a:cubicBezTo>
                  <a:close/>
                  <a:moveTo>
                    <a:pt x="170" y="1115"/>
                  </a:moveTo>
                  <a:lnTo>
                    <a:pt x="160" y="1122"/>
                  </a:lnTo>
                  <a:lnTo>
                    <a:pt x="142" y="1137"/>
                  </a:lnTo>
                  <a:cubicBezTo>
                    <a:pt x="141" y="1138"/>
                    <a:pt x="139" y="1138"/>
                    <a:pt x="139" y="1137"/>
                  </a:cubicBezTo>
                  <a:cubicBezTo>
                    <a:pt x="138" y="1136"/>
                    <a:pt x="138" y="1134"/>
                    <a:pt x="139" y="1133"/>
                  </a:cubicBezTo>
                  <a:lnTo>
                    <a:pt x="157" y="1118"/>
                  </a:lnTo>
                  <a:lnTo>
                    <a:pt x="167" y="1111"/>
                  </a:lnTo>
                  <a:cubicBezTo>
                    <a:pt x="168" y="1110"/>
                    <a:pt x="170" y="1110"/>
                    <a:pt x="170" y="1111"/>
                  </a:cubicBezTo>
                  <a:cubicBezTo>
                    <a:pt x="171" y="1112"/>
                    <a:pt x="171" y="1114"/>
                    <a:pt x="170" y="1115"/>
                  </a:cubicBezTo>
                  <a:close/>
                  <a:moveTo>
                    <a:pt x="123" y="1154"/>
                  </a:moveTo>
                  <a:lnTo>
                    <a:pt x="95" y="1177"/>
                  </a:lnTo>
                  <a:cubicBezTo>
                    <a:pt x="94" y="1178"/>
                    <a:pt x="92" y="1177"/>
                    <a:pt x="91" y="1176"/>
                  </a:cubicBezTo>
                  <a:cubicBezTo>
                    <a:pt x="90" y="1175"/>
                    <a:pt x="91" y="1174"/>
                    <a:pt x="92" y="1173"/>
                  </a:cubicBezTo>
                  <a:lnTo>
                    <a:pt x="119" y="1150"/>
                  </a:lnTo>
                  <a:cubicBezTo>
                    <a:pt x="120" y="1149"/>
                    <a:pt x="122" y="1149"/>
                    <a:pt x="123" y="1150"/>
                  </a:cubicBezTo>
                  <a:cubicBezTo>
                    <a:pt x="124" y="1151"/>
                    <a:pt x="124" y="1153"/>
                    <a:pt x="123" y="1154"/>
                  </a:cubicBezTo>
                  <a:close/>
                  <a:moveTo>
                    <a:pt x="75" y="1193"/>
                  </a:moveTo>
                  <a:lnTo>
                    <a:pt x="48" y="1216"/>
                  </a:lnTo>
                  <a:cubicBezTo>
                    <a:pt x="47" y="1217"/>
                    <a:pt x="45" y="1217"/>
                    <a:pt x="44" y="1216"/>
                  </a:cubicBezTo>
                  <a:cubicBezTo>
                    <a:pt x="43" y="1215"/>
                    <a:pt x="43" y="1213"/>
                    <a:pt x="45" y="1212"/>
                  </a:cubicBezTo>
                  <a:lnTo>
                    <a:pt x="45" y="1212"/>
                  </a:lnTo>
                  <a:lnTo>
                    <a:pt x="72" y="1189"/>
                  </a:lnTo>
                  <a:cubicBezTo>
                    <a:pt x="73" y="1188"/>
                    <a:pt x="75" y="1188"/>
                    <a:pt x="76" y="1189"/>
                  </a:cubicBezTo>
                  <a:cubicBezTo>
                    <a:pt x="77" y="1191"/>
                    <a:pt x="76" y="1192"/>
                    <a:pt x="75" y="1193"/>
                  </a:cubicBezTo>
                  <a:close/>
                  <a:moveTo>
                    <a:pt x="28" y="1232"/>
                  </a:moveTo>
                  <a:lnTo>
                    <a:pt x="4" y="1252"/>
                  </a:lnTo>
                  <a:cubicBezTo>
                    <a:pt x="3" y="1253"/>
                    <a:pt x="1" y="1253"/>
                    <a:pt x="1" y="1252"/>
                  </a:cubicBezTo>
                  <a:cubicBezTo>
                    <a:pt x="0" y="1251"/>
                    <a:pt x="0" y="1249"/>
                    <a:pt x="1" y="1249"/>
                  </a:cubicBezTo>
                  <a:lnTo>
                    <a:pt x="25" y="1228"/>
                  </a:lnTo>
                  <a:cubicBezTo>
                    <a:pt x="26" y="1228"/>
                    <a:pt x="28" y="1228"/>
                    <a:pt x="28" y="1229"/>
                  </a:cubicBezTo>
                  <a:cubicBezTo>
                    <a:pt x="29" y="1230"/>
                    <a:pt x="29" y="1232"/>
                    <a:pt x="28" y="1232"/>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49">
              <a:extLst>
                <a:ext uri="{FF2B5EF4-FFF2-40B4-BE49-F238E27FC236}">
                  <a16:creationId xmlns:a16="http://schemas.microsoft.com/office/drawing/2014/main" id="{BC44799B-A1C8-4A8D-96DE-2BF4A1C534D5}"/>
                </a:ext>
              </a:extLst>
            </p:cNvPr>
            <p:cNvSpPr>
              <a:spLocks/>
            </p:cNvSpPr>
            <p:nvPr/>
          </p:nvSpPr>
          <p:spPr bwMode="auto">
            <a:xfrm>
              <a:off x="3852" y="1555"/>
              <a:ext cx="55" cy="53"/>
            </a:xfrm>
            <a:custGeom>
              <a:avLst/>
              <a:gdLst>
                <a:gd name="T0" fmla="*/ 0 w 55"/>
                <a:gd name="T1" fmla="*/ 0 h 53"/>
                <a:gd name="T2" fmla="*/ 55 w 55"/>
                <a:gd name="T3" fmla="*/ 22 h 53"/>
                <a:gd name="T4" fmla="*/ 5 w 55"/>
                <a:gd name="T5" fmla="*/ 53 h 53"/>
                <a:gd name="T6" fmla="*/ 0 w 55"/>
                <a:gd name="T7" fmla="*/ 0 h 53"/>
              </a:gdLst>
              <a:ahLst/>
              <a:cxnLst>
                <a:cxn ang="0">
                  <a:pos x="T0" y="T1"/>
                </a:cxn>
                <a:cxn ang="0">
                  <a:pos x="T2" y="T3"/>
                </a:cxn>
                <a:cxn ang="0">
                  <a:pos x="T4" y="T5"/>
                </a:cxn>
                <a:cxn ang="0">
                  <a:pos x="T6" y="T7"/>
                </a:cxn>
              </a:cxnLst>
              <a:rect l="0" t="0" r="r" b="b"/>
              <a:pathLst>
                <a:path w="55" h="53">
                  <a:moveTo>
                    <a:pt x="0" y="0"/>
                  </a:moveTo>
                  <a:lnTo>
                    <a:pt x="55" y="22"/>
                  </a:lnTo>
                  <a:lnTo>
                    <a:pt x="5" y="53"/>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50">
              <a:extLst>
                <a:ext uri="{FF2B5EF4-FFF2-40B4-BE49-F238E27FC236}">
                  <a16:creationId xmlns:a16="http://schemas.microsoft.com/office/drawing/2014/main" id="{599ADB07-326B-4579-ACE7-93D3D1112EB1}"/>
                </a:ext>
              </a:extLst>
            </p:cNvPr>
            <p:cNvSpPr>
              <a:spLocks noChangeArrowheads="1"/>
            </p:cNvSpPr>
            <p:nvPr/>
          </p:nvSpPr>
          <p:spPr bwMode="auto">
            <a:xfrm>
              <a:off x="3052" y="1680"/>
              <a:ext cx="268" cy="1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1">
              <a:extLst>
                <a:ext uri="{FF2B5EF4-FFF2-40B4-BE49-F238E27FC236}">
                  <a16:creationId xmlns:a16="http://schemas.microsoft.com/office/drawing/2014/main" id="{04ECE122-A739-4E2D-AAD1-3DDA0EAEDAC6}"/>
                </a:ext>
              </a:extLst>
            </p:cNvPr>
            <p:cNvSpPr>
              <a:spLocks noEditPoints="1"/>
            </p:cNvSpPr>
            <p:nvPr/>
          </p:nvSpPr>
          <p:spPr bwMode="auto">
            <a:xfrm>
              <a:off x="3055" y="1693"/>
              <a:ext cx="265" cy="40"/>
            </a:xfrm>
            <a:custGeom>
              <a:avLst/>
              <a:gdLst>
                <a:gd name="T0" fmla="*/ 56 w 593"/>
                <a:gd name="T1" fmla="*/ 18 h 88"/>
                <a:gd name="T2" fmla="*/ 13 w 593"/>
                <a:gd name="T3" fmla="*/ 60 h 88"/>
                <a:gd name="T4" fmla="*/ 36 w 593"/>
                <a:gd name="T5" fmla="*/ 51 h 88"/>
                <a:gd name="T6" fmla="*/ 62 w 593"/>
                <a:gd name="T7" fmla="*/ 42 h 88"/>
                <a:gd name="T8" fmla="*/ 62 w 593"/>
                <a:gd name="T9" fmla="*/ 82 h 88"/>
                <a:gd name="T10" fmla="*/ 2 w 593"/>
                <a:gd name="T11" fmla="*/ 64 h 88"/>
                <a:gd name="T12" fmla="*/ 56 w 593"/>
                <a:gd name="T13" fmla="*/ 7 h 88"/>
                <a:gd name="T14" fmla="*/ 128 w 593"/>
                <a:gd name="T15" fmla="*/ 59 h 88"/>
                <a:gd name="T16" fmla="*/ 122 w 593"/>
                <a:gd name="T17" fmla="*/ 77 h 88"/>
                <a:gd name="T18" fmla="*/ 129 w 593"/>
                <a:gd name="T19" fmla="*/ 81 h 88"/>
                <a:gd name="T20" fmla="*/ 108 w 593"/>
                <a:gd name="T21" fmla="*/ 88 h 88"/>
                <a:gd name="T22" fmla="*/ 96 w 593"/>
                <a:gd name="T23" fmla="*/ 28 h 88"/>
                <a:gd name="T24" fmla="*/ 121 w 593"/>
                <a:gd name="T25" fmla="*/ 51 h 88"/>
                <a:gd name="T26" fmla="*/ 121 w 593"/>
                <a:gd name="T27" fmla="*/ 51 h 88"/>
                <a:gd name="T28" fmla="*/ 166 w 593"/>
                <a:gd name="T29" fmla="*/ 88 h 88"/>
                <a:gd name="T30" fmla="*/ 141 w 593"/>
                <a:gd name="T31" fmla="*/ 35 h 88"/>
                <a:gd name="T32" fmla="*/ 150 w 593"/>
                <a:gd name="T33" fmla="*/ 14 h 88"/>
                <a:gd name="T34" fmla="*/ 160 w 593"/>
                <a:gd name="T35" fmla="*/ 13 h 88"/>
                <a:gd name="T36" fmla="*/ 177 w 593"/>
                <a:gd name="T37" fmla="*/ 31 h 88"/>
                <a:gd name="T38" fmla="*/ 171 w 593"/>
                <a:gd name="T39" fmla="*/ 79 h 88"/>
                <a:gd name="T40" fmla="*/ 177 w 593"/>
                <a:gd name="T41" fmla="*/ 81 h 88"/>
                <a:gd name="T42" fmla="*/ 208 w 593"/>
                <a:gd name="T43" fmla="*/ 85 h 88"/>
                <a:gd name="T44" fmla="*/ 197 w 593"/>
                <a:gd name="T45" fmla="*/ 86 h 88"/>
                <a:gd name="T46" fmla="*/ 229 w 593"/>
                <a:gd name="T47" fmla="*/ 7 h 88"/>
                <a:gd name="T48" fmla="*/ 229 w 593"/>
                <a:gd name="T49" fmla="*/ 17 h 88"/>
                <a:gd name="T50" fmla="*/ 231 w 593"/>
                <a:gd name="T51" fmla="*/ 42 h 88"/>
                <a:gd name="T52" fmla="*/ 291 w 593"/>
                <a:gd name="T53" fmla="*/ 37 h 88"/>
                <a:gd name="T54" fmla="*/ 274 w 593"/>
                <a:gd name="T55" fmla="*/ 42 h 88"/>
                <a:gd name="T56" fmla="*/ 262 w 593"/>
                <a:gd name="T57" fmla="*/ 87 h 88"/>
                <a:gd name="T58" fmla="*/ 262 w 593"/>
                <a:gd name="T59" fmla="*/ 27 h 88"/>
                <a:gd name="T60" fmla="*/ 273 w 593"/>
                <a:gd name="T61" fmla="*/ 31 h 88"/>
                <a:gd name="T62" fmla="*/ 292 w 593"/>
                <a:gd name="T63" fmla="*/ 28 h 88"/>
                <a:gd name="T64" fmla="*/ 353 w 593"/>
                <a:gd name="T65" fmla="*/ 79 h 88"/>
                <a:gd name="T66" fmla="*/ 305 w 593"/>
                <a:gd name="T67" fmla="*/ 45 h 88"/>
                <a:gd name="T68" fmla="*/ 360 w 593"/>
                <a:gd name="T69" fmla="*/ 56 h 88"/>
                <a:gd name="T70" fmla="*/ 319 w 593"/>
                <a:gd name="T71" fmla="*/ 41 h 88"/>
                <a:gd name="T72" fmla="*/ 340 w 593"/>
                <a:gd name="T73" fmla="*/ 77 h 88"/>
                <a:gd name="T74" fmla="*/ 417 w 593"/>
                <a:gd name="T75" fmla="*/ 87 h 88"/>
                <a:gd name="T76" fmla="*/ 401 w 593"/>
                <a:gd name="T77" fmla="*/ 85 h 88"/>
                <a:gd name="T78" fmla="*/ 374 w 593"/>
                <a:gd name="T79" fmla="*/ 35 h 88"/>
                <a:gd name="T80" fmla="*/ 410 w 593"/>
                <a:gd name="T81" fmla="*/ 0 h 88"/>
                <a:gd name="T82" fmla="*/ 420 w 593"/>
                <a:gd name="T83" fmla="*/ 85 h 88"/>
                <a:gd name="T84" fmla="*/ 379 w 593"/>
                <a:gd name="T85" fmla="*/ 56 h 88"/>
                <a:gd name="T86" fmla="*/ 405 w 593"/>
                <a:gd name="T87" fmla="*/ 73 h 88"/>
                <a:gd name="T88" fmla="*/ 479 w 593"/>
                <a:gd name="T89" fmla="*/ 87 h 88"/>
                <a:gd name="T90" fmla="*/ 455 w 593"/>
                <a:gd name="T91" fmla="*/ 88 h 88"/>
                <a:gd name="T92" fmla="*/ 436 w 593"/>
                <a:gd name="T93" fmla="*/ 27 h 88"/>
                <a:gd name="T94" fmla="*/ 446 w 593"/>
                <a:gd name="T95" fmla="*/ 62 h 88"/>
                <a:gd name="T96" fmla="*/ 473 w 593"/>
                <a:gd name="T97" fmla="*/ 29 h 88"/>
                <a:gd name="T98" fmla="*/ 484 w 593"/>
                <a:gd name="T99" fmla="*/ 28 h 88"/>
                <a:gd name="T100" fmla="*/ 538 w 593"/>
                <a:gd name="T101" fmla="*/ 82 h 88"/>
                <a:gd name="T102" fmla="*/ 497 w 593"/>
                <a:gd name="T103" fmla="*/ 70 h 88"/>
                <a:gd name="T104" fmla="*/ 532 w 593"/>
                <a:gd name="T105" fmla="*/ 28 h 88"/>
                <a:gd name="T106" fmla="*/ 539 w 593"/>
                <a:gd name="T107" fmla="*/ 40 h 88"/>
                <a:gd name="T108" fmla="*/ 506 w 593"/>
                <a:gd name="T109" fmla="*/ 57 h 88"/>
                <a:gd name="T110" fmla="*/ 536 w 593"/>
                <a:gd name="T111" fmla="*/ 73 h 88"/>
                <a:gd name="T112" fmla="*/ 593 w 593"/>
                <a:gd name="T113" fmla="*/ 84 h 88"/>
                <a:gd name="T114" fmla="*/ 570 w 593"/>
                <a:gd name="T115" fmla="*/ 83 h 88"/>
                <a:gd name="T116" fmla="*/ 556 w 593"/>
                <a:gd name="T117" fmla="*/ 29 h 88"/>
                <a:gd name="T118" fmla="*/ 567 w 593"/>
                <a:gd name="T119" fmla="*/ 12 h 88"/>
                <a:gd name="T120" fmla="*/ 576 w 593"/>
                <a:gd name="T121" fmla="*/ 27 h 88"/>
                <a:gd name="T122" fmla="*/ 591 w 593"/>
                <a:gd name="T123" fmla="*/ 36 h 88"/>
                <a:gd name="T124" fmla="*/ 590 w 593"/>
                <a:gd name="T125" fmla="*/ 7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3" h="88">
                  <a:moveTo>
                    <a:pt x="66" y="17"/>
                  </a:moveTo>
                  <a:cubicBezTo>
                    <a:pt x="66" y="18"/>
                    <a:pt x="66" y="18"/>
                    <a:pt x="65" y="19"/>
                  </a:cubicBezTo>
                  <a:cubicBezTo>
                    <a:pt x="65" y="19"/>
                    <a:pt x="65" y="20"/>
                    <a:pt x="65" y="20"/>
                  </a:cubicBezTo>
                  <a:cubicBezTo>
                    <a:pt x="65" y="21"/>
                    <a:pt x="65" y="21"/>
                    <a:pt x="64" y="21"/>
                  </a:cubicBezTo>
                  <a:cubicBezTo>
                    <a:pt x="64" y="21"/>
                    <a:pt x="64" y="21"/>
                    <a:pt x="64" y="21"/>
                  </a:cubicBezTo>
                  <a:cubicBezTo>
                    <a:pt x="63" y="21"/>
                    <a:pt x="62" y="21"/>
                    <a:pt x="61" y="20"/>
                  </a:cubicBezTo>
                  <a:cubicBezTo>
                    <a:pt x="60" y="19"/>
                    <a:pt x="58" y="19"/>
                    <a:pt x="56" y="18"/>
                  </a:cubicBezTo>
                  <a:cubicBezTo>
                    <a:pt x="54" y="17"/>
                    <a:pt x="52" y="16"/>
                    <a:pt x="49" y="15"/>
                  </a:cubicBezTo>
                  <a:cubicBezTo>
                    <a:pt x="47" y="14"/>
                    <a:pt x="43" y="14"/>
                    <a:pt x="40" y="14"/>
                  </a:cubicBezTo>
                  <a:cubicBezTo>
                    <a:pt x="35" y="14"/>
                    <a:pt x="31" y="15"/>
                    <a:pt x="28" y="16"/>
                  </a:cubicBezTo>
                  <a:cubicBezTo>
                    <a:pt x="24" y="18"/>
                    <a:pt x="21" y="20"/>
                    <a:pt x="19" y="23"/>
                  </a:cubicBezTo>
                  <a:cubicBezTo>
                    <a:pt x="16" y="26"/>
                    <a:pt x="14" y="29"/>
                    <a:pt x="13" y="33"/>
                  </a:cubicBezTo>
                  <a:cubicBezTo>
                    <a:pt x="12" y="37"/>
                    <a:pt x="11" y="41"/>
                    <a:pt x="11" y="46"/>
                  </a:cubicBezTo>
                  <a:cubicBezTo>
                    <a:pt x="11" y="51"/>
                    <a:pt x="12" y="56"/>
                    <a:pt x="13" y="60"/>
                  </a:cubicBezTo>
                  <a:cubicBezTo>
                    <a:pt x="15" y="64"/>
                    <a:pt x="17" y="67"/>
                    <a:pt x="19" y="70"/>
                  </a:cubicBezTo>
                  <a:cubicBezTo>
                    <a:pt x="22" y="73"/>
                    <a:pt x="25" y="75"/>
                    <a:pt x="28" y="76"/>
                  </a:cubicBezTo>
                  <a:cubicBezTo>
                    <a:pt x="32" y="78"/>
                    <a:pt x="36" y="78"/>
                    <a:pt x="40" y="78"/>
                  </a:cubicBezTo>
                  <a:cubicBezTo>
                    <a:pt x="42" y="78"/>
                    <a:pt x="45" y="78"/>
                    <a:pt x="47" y="77"/>
                  </a:cubicBezTo>
                  <a:cubicBezTo>
                    <a:pt x="50" y="77"/>
                    <a:pt x="52" y="76"/>
                    <a:pt x="55" y="75"/>
                  </a:cubicBezTo>
                  <a:lnTo>
                    <a:pt x="55" y="51"/>
                  </a:lnTo>
                  <a:lnTo>
                    <a:pt x="36" y="51"/>
                  </a:lnTo>
                  <a:cubicBezTo>
                    <a:pt x="35" y="51"/>
                    <a:pt x="35" y="51"/>
                    <a:pt x="34" y="50"/>
                  </a:cubicBezTo>
                  <a:cubicBezTo>
                    <a:pt x="34" y="49"/>
                    <a:pt x="34" y="48"/>
                    <a:pt x="34" y="47"/>
                  </a:cubicBezTo>
                  <a:cubicBezTo>
                    <a:pt x="34" y="46"/>
                    <a:pt x="34" y="45"/>
                    <a:pt x="34" y="45"/>
                  </a:cubicBezTo>
                  <a:cubicBezTo>
                    <a:pt x="34" y="44"/>
                    <a:pt x="34" y="44"/>
                    <a:pt x="34" y="43"/>
                  </a:cubicBezTo>
                  <a:cubicBezTo>
                    <a:pt x="34" y="43"/>
                    <a:pt x="35" y="43"/>
                    <a:pt x="35" y="43"/>
                  </a:cubicBezTo>
                  <a:cubicBezTo>
                    <a:pt x="35" y="42"/>
                    <a:pt x="35" y="42"/>
                    <a:pt x="36" y="42"/>
                  </a:cubicBezTo>
                  <a:lnTo>
                    <a:pt x="62" y="42"/>
                  </a:lnTo>
                  <a:cubicBezTo>
                    <a:pt x="62" y="42"/>
                    <a:pt x="62" y="42"/>
                    <a:pt x="63" y="43"/>
                  </a:cubicBezTo>
                  <a:cubicBezTo>
                    <a:pt x="63" y="43"/>
                    <a:pt x="64" y="43"/>
                    <a:pt x="64" y="43"/>
                  </a:cubicBezTo>
                  <a:cubicBezTo>
                    <a:pt x="65" y="44"/>
                    <a:pt x="65" y="44"/>
                    <a:pt x="65" y="45"/>
                  </a:cubicBezTo>
                  <a:cubicBezTo>
                    <a:pt x="65" y="45"/>
                    <a:pt x="65" y="46"/>
                    <a:pt x="65" y="47"/>
                  </a:cubicBezTo>
                  <a:lnTo>
                    <a:pt x="65" y="78"/>
                  </a:lnTo>
                  <a:cubicBezTo>
                    <a:pt x="65" y="79"/>
                    <a:pt x="65" y="80"/>
                    <a:pt x="65" y="80"/>
                  </a:cubicBezTo>
                  <a:cubicBezTo>
                    <a:pt x="64" y="81"/>
                    <a:pt x="64" y="82"/>
                    <a:pt x="62" y="82"/>
                  </a:cubicBezTo>
                  <a:cubicBezTo>
                    <a:pt x="61" y="83"/>
                    <a:pt x="60" y="84"/>
                    <a:pt x="58" y="84"/>
                  </a:cubicBezTo>
                  <a:cubicBezTo>
                    <a:pt x="56" y="85"/>
                    <a:pt x="54" y="86"/>
                    <a:pt x="52" y="86"/>
                  </a:cubicBezTo>
                  <a:cubicBezTo>
                    <a:pt x="50" y="87"/>
                    <a:pt x="48" y="87"/>
                    <a:pt x="46" y="87"/>
                  </a:cubicBezTo>
                  <a:cubicBezTo>
                    <a:pt x="44" y="88"/>
                    <a:pt x="41" y="88"/>
                    <a:pt x="39" y="88"/>
                  </a:cubicBezTo>
                  <a:cubicBezTo>
                    <a:pt x="33" y="88"/>
                    <a:pt x="28" y="87"/>
                    <a:pt x="23" y="85"/>
                  </a:cubicBezTo>
                  <a:cubicBezTo>
                    <a:pt x="18" y="83"/>
                    <a:pt x="14" y="80"/>
                    <a:pt x="10" y="77"/>
                  </a:cubicBezTo>
                  <a:cubicBezTo>
                    <a:pt x="7" y="73"/>
                    <a:pt x="4" y="69"/>
                    <a:pt x="2" y="64"/>
                  </a:cubicBezTo>
                  <a:cubicBezTo>
                    <a:pt x="1" y="59"/>
                    <a:pt x="0" y="53"/>
                    <a:pt x="0" y="47"/>
                  </a:cubicBezTo>
                  <a:cubicBezTo>
                    <a:pt x="0" y="40"/>
                    <a:pt x="1" y="35"/>
                    <a:pt x="3" y="29"/>
                  </a:cubicBezTo>
                  <a:cubicBezTo>
                    <a:pt x="5" y="24"/>
                    <a:pt x="7" y="20"/>
                    <a:pt x="11" y="16"/>
                  </a:cubicBezTo>
                  <a:cubicBezTo>
                    <a:pt x="14" y="12"/>
                    <a:pt x="19" y="10"/>
                    <a:pt x="24" y="8"/>
                  </a:cubicBezTo>
                  <a:cubicBezTo>
                    <a:pt x="28" y="6"/>
                    <a:pt x="34" y="5"/>
                    <a:pt x="40" y="5"/>
                  </a:cubicBezTo>
                  <a:cubicBezTo>
                    <a:pt x="43" y="5"/>
                    <a:pt x="46" y="5"/>
                    <a:pt x="49" y="5"/>
                  </a:cubicBezTo>
                  <a:cubicBezTo>
                    <a:pt x="51" y="6"/>
                    <a:pt x="54" y="7"/>
                    <a:pt x="56" y="7"/>
                  </a:cubicBezTo>
                  <a:cubicBezTo>
                    <a:pt x="58" y="8"/>
                    <a:pt x="60" y="9"/>
                    <a:pt x="61" y="10"/>
                  </a:cubicBezTo>
                  <a:cubicBezTo>
                    <a:pt x="63" y="11"/>
                    <a:pt x="64" y="11"/>
                    <a:pt x="64" y="12"/>
                  </a:cubicBezTo>
                  <a:cubicBezTo>
                    <a:pt x="65" y="12"/>
                    <a:pt x="65" y="13"/>
                    <a:pt x="65" y="14"/>
                  </a:cubicBezTo>
                  <a:cubicBezTo>
                    <a:pt x="65" y="14"/>
                    <a:pt x="66" y="15"/>
                    <a:pt x="66" y="17"/>
                  </a:cubicBezTo>
                  <a:close/>
                  <a:moveTo>
                    <a:pt x="132" y="54"/>
                  </a:moveTo>
                  <a:cubicBezTo>
                    <a:pt x="132" y="56"/>
                    <a:pt x="131" y="57"/>
                    <a:pt x="130" y="58"/>
                  </a:cubicBezTo>
                  <a:cubicBezTo>
                    <a:pt x="130" y="59"/>
                    <a:pt x="129" y="59"/>
                    <a:pt x="128" y="59"/>
                  </a:cubicBezTo>
                  <a:lnTo>
                    <a:pt x="91" y="59"/>
                  </a:lnTo>
                  <a:cubicBezTo>
                    <a:pt x="91" y="62"/>
                    <a:pt x="91" y="65"/>
                    <a:pt x="91" y="67"/>
                  </a:cubicBezTo>
                  <a:cubicBezTo>
                    <a:pt x="92" y="70"/>
                    <a:pt x="93" y="72"/>
                    <a:pt x="95" y="74"/>
                  </a:cubicBezTo>
                  <a:cubicBezTo>
                    <a:pt x="96" y="76"/>
                    <a:pt x="98" y="77"/>
                    <a:pt x="100" y="78"/>
                  </a:cubicBezTo>
                  <a:cubicBezTo>
                    <a:pt x="103" y="79"/>
                    <a:pt x="106" y="79"/>
                    <a:pt x="109" y="79"/>
                  </a:cubicBezTo>
                  <a:cubicBezTo>
                    <a:pt x="112" y="79"/>
                    <a:pt x="114" y="79"/>
                    <a:pt x="116" y="79"/>
                  </a:cubicBezTo>
                  <a:cubicBezTo>
                    <a:pt x="118" y="78"/>
                    <a:pt x="120" y="78"/>
                    <a:pt x="122" y="77"/>
                  </a:cubicBezTo>
                  <a:cubicBezTo>
                    <a:pt x="123" y="77"/>
                    <a:pt x="124" y="76"/>
                    <a:pt x="125" y="76"/>
                  </a:cubicBezTo>
                  <a:cubicBezTo>
                    <a:pt x="126" y="75"/>
                    <a:pt x="127" y="75"/>
                    <a:pt x="128" y="75"/>
                  </a:cubicBezTo>
                  <a:cubicBezTo>
                    <a:pt x="128" y="75"/>
                    <a:pt x="128" y="75"/>
                    <a:pt x="128" y="75"/>
                  </a:cubicBezTo>
                  <a:cubicBezTo>
                    <a:pt x="129" y="76"/>
                    <a:pt x="129" y="76"/>
                    <a:pt x="129" y="76"/>
                  </a:cubicBezTo>
                  <a:cubicBezTo>
                    <a:pt x="129" y="76"/>
                    <a:pt x="129" y="77"/>
                    <a:pt x="129" y="77"/>
                  </a:cubicBezTo>
                  <a:cubicBezTo>
                    <a:pt x="129" y="78"/>
                    <a:pt x="129" y="78"/>
                    <a:pt x="129" y="79"/>
                  </a:cubicBezTo>
                  <a:cubicBezTo>
                    <a:pt x="129" y="80"/>
                    <a:pt x="129" y="80"/>
                    <a:pt x="129" y="81"/>
                  </a:cubicBezTo>
                  <a:cubicBezTo>
                    <a:pt x="129" y="81"/>
                    <a:pt x="129" y="81"/>
                    <a:pt x="129" y="82"/>
                  </a:cubicBezTo>
                  <a:cubicBezTo>
                    <a:pt x="129" y="82"/>
                    <a:pt x="129" y="82"/>
                    <a:pt x="129" y="82"/>
                  </a:cubicBezTo>
                  <a:cubicBezTo>
                    <a:pt x="129" y="83"/>
                    <a:pt x="128" y="83"/>
                    <a:pt x="128" y="83"/>
                  </a:cubicBezTo>
                  <a:cubicBezTo>
                    <a:pt x="128" y="83"/>
                    <a:pt x="127" y="84"/>
                    <a:pt x="126" y="84"/>
                  </a:cubicBezTo>
                  <a:cubicBezTo>
                    <a:pt x="125" y="85"/>
                    <a:pt x="124" y="85"/>
                    <a:pt x="122" y="86"/>
                  </a:cubicBezTo>
                  <a:cubicBezTo>
                    <a:pt x="120" y="86"/>
                    <a:pt x="118" y="87"/>
                    <a:pt x="116" y="87"/>
                  </a:cubicBezTo>
                  <a:cubicBezTo>
                    <a:pt x="113" y="88"/>
                    <a:pt x="111" y="88"/>
                    <a:pt x="108" y="88"/>
                  </a:cubicBezTo>
                  <a:cubicBezTo>
                    <a:pt x="103" y="88"/>
                    <a:pt x="99" y="87"/>
                    <a:pt x="96" y="86"/>
                  </a:cubicBezTo>
                  <a:cubicBezTo>
                    <a:pt x="92" y="85"/>
                    <a:pt x="89" y="83"/>
                    <a:pt x="87" y="80"/>
                  </a:cubicBezTo>
                  <a:cubicBezTo>
                    <a:pt x="85" y="78"/>
                    <a:pt x="83" y="74"/>
                    <a:pt x="82" y="71"/>
                  </a:cubicBezTo>
                  <a:cubicBezTo>
                    <a:pt x="80" y="67"/>
                    <a:pt x="80" y="62"/>
                    <a:pt x="80" y="57"/>
                  </a:cubicBezTo>
                  <a:cubicBezTo>
                    <a:pt x="80" y="52"/>
                    <a:pt x="80" y="48"/>
                    <a:pt x="82" y="44"/>
                  </a:cubicBezTo>
                  <a:cubicBezTo>
                    <a:pt x="83" y="40"/>
                    <a:pt x="85" y="37"/>
                    <a:pt x="87" y="34"/>
                  </a:cubicBezTo>
                  <a:cubicBezTo>
                    <a:pt x="89" y="32"/>
                    <a:pt x="92" y="30"/>
                    <a:pt x="96" y="28"/>
                  </a:cubicBezTo>
                  <a:cubicBezTo>
                    <a:pt x="99" y="27"/>
                    <a:pt x="103" y="26"/>
                    <a:pt x="107" y="26"/>
                  </a:cubicBezTo>
                  <a:cubicBezTo>
                    <a:pt x="111" y="26"/>
                    <a:pt x="115" y="27"/>
                    <a:pt x="118" y="28"/>
                  </a:cubicBezTo>
                  <a:cubicBezTo>
                    <a:pt x="121" y="30"/>
                    <a:pt x="124" y="31"/>
                    <a:pt x="126" y="34"/>
                  </a:cubicBezTo>
                  <a:cubicBezTo>
                    <a:pt x="128" y="36"/>
                    <a:pt x="129" y="39"/>
                    <a:pt x="130" y="42"/>
                  </a:cubicBezTo>
                  <a:cubicBezTo>
                    <a:pt x="131" y="45"/>
                    <a:pt x="132" y="49"/>
                    <a:pt x="132" y="53"/>
                  </a:cubicBezTo>
                  <a:lnTo>
                    <a:pt x="132" y="54"/>
                  </a:lnTo>
                  <a:close/>
                  <a:moveTo>
                    <a:pt x="121" y="51"/>
                  </a:moveTo>
                  <a:cubicBezTo>
                    <a:pt x="121" y="46"/>
                    <a:pt x="120" y="42"/>
                    <a:pt x="118" y="39"/>
                  </a:cubicBezTo>
                  <a:cubicBezTo>
                    <a:pt x="115" y="36"/>
                    <a:pt x="111" y="34"/>
                    <a:pt x="106" y="34"/>
                  </a:cubicBezTo>
                  <a:cubicBezTo>
                    <a:pt x="104" y="34"/>
                    <a:pt x="102" y="35"/>
                    <a:pt x="100" y="35"/>
                  </a:cubicBezTo>
                  <a:cubicBezTo>
                    <a:pt x="98" y="36"/>
                    <a:pt x="96" y="38"/>
                    <a:pt x="95" y="39"/>
                  </a:cubicBezTo>
                  <a:cubicBezTo>
                    <a:pt x="93" y="41"/>
                    <a:pt x="92" y="43"/>
                    <a:pt x="92" y="45"/>
                  </a:cubicBezTo>
                  <a:cubicBezTo>
                    <a:pt x="91" y="47"/>
                    <a:pt x="91" y="49"/>
                    <a:pt x="91" y="51"/>
                  </a:cubicBezTo>
                  <a:lnTo>
                    <a:pt x="121" y="51"/>
                  </a:lnTo>
                  <a:close/>
                  <a:moveTo>
                    <a:pt x="177" y="81"/>
                  </a:moveTo>
                  <a:cubicBezTo>
                    <a:pt x="177" y="82"/>
                    <a:pt x="177" y="83"/>
                    <a:pt x="177" y="84"/>
                  </a:cubicBezTo>
                  <a:cubicBezTo>
                    <a:pt x="176" y="84"/>
                    <a:pt x="176" y="85"/>
                    <a:pt x="176" y="85"/>
                  </a:cubicBezTo>
                  <a:cubicBezTo>
                    <a:pt x="176" y="86"/>
                    <a:pt x="175" y="86"/>
                    <a:pt x="174" y="86"/>
                  </a:cubicBezTo>
                  <a:cubicBezTo>
                    <a:pt x="174" y="87"/>
                    <a:pt x="173" y="87"/>
                    <a:pt x="172" y="87"/>
                  </a:cubicBezTo>
                  <a:cubicBezTo>
                    <a:pt x="171" y="87"/>
                    <a:pt x="170" y="87"/>
                    <a:pt x="169" y="87"/>
                  </a:cubicBezTo>
                  <a:cubicBezTo>
                    <a:pt x="168" y="88"/>
                    <a:pt x="167" y="88"/>
                    <a:pt x="166" y="88"/>
                  </a:cubicBezTo>
                  <a:cubicBezTo>
                    <a:pt x="164" y="88"/>
                    <a:pt x="161" y="87"/>
                    <a:pt x="159" y="86"/>
                  </a:cubicBezTo>
                  <a:cubicBezTo>
                    <a:pt x="157" y="86"/>
                    <a:pt x="155" y="85"/>
                    <a:pt x="154" y="83"/>
                  </a:cubicBezTo>
                  <a:cubicBezTo>
                    <a:pt x="153" y="81"/>
                    <a:pt x="152" y="79"/>
                    <a:pt x="151" y="77"/>
                  </a:cubicBezTo>
                  <a:cubicBezTo>
                    <a:pt x="150" y="75"/>
                    <a:pt x="150" y="72"/>
                    <a:pt x="150" y="69"/>
                  </a:cubicBezTo>
                  <a:lnTo>
                    <a:pt x="150" y="36"/>
                  </a:lnTo>
                  <a:lnTo>
                    <a:pt x="142" y="36"/>
                  </a:lnTo>
                  <a:cubicBezTo>
                    <a:pt x="142" y="36"/>
                    <a:pt x="141" y="35"/>
                    <a:pt x="141" y="35"/>
                  </a:cubicBezTo>
                  <a:cubicBezTo>
                    <a:pt x="140" y="34"/>
                    <a:pt x="140" y="33"/>
                    <a:pt x="140" y="31"/>
                  </a:cubicBezTo>
                  <a:cubicBezTo>
                    <a:pt x="140" y="31"/>
                    <a:pt x="140" y="30"/>
                    <a:pt x="140" y="29"/>
                  </a:cubicBezTo>
                  <a:cubicBezTo>
                    <a:pt x="140" y="29"/>
                    <a:pt x="141" y="28"/>
                    <a:pt x="141" y="28"/>
                  </a:cubicBezTo>
                  <a:cubicBezTo>
                    <a:pt x="141" y="28"/>
                    <a:pt x="141" y="28"/>
                    <a:pt x="141" y="27"/>
                  </a:cubicBezTo>
                  <a:cubicBezTo>
                    <a:pt x="142" y="27"/>
                    <a:pt x="142" y="27"/>
                    <a:pt x="142" y="27"/>
                  </a:cubicBezTo>
                  <a:lnTo>
                    <a:pt x="150" y="27"/>
                  </a:lnTo>
                  <a:lnTo>
                    <a:pt x="150" y="14"/>
                  </a:lnTo>
                  <a:cubicBezTo>
                    <a:pt x="150" y="13"/>
                    <a:pt x="150" y="13"/>
                    <a:pt x="150" y="13"/>
                  </a:cubicBezTo>
                  <a:cubicBezTo>
                    <a:pt x="150" y="13"/>
                    <a:pt x="151" y="12"/>
                    <a:pt x="151" y="12"/>
                  </a:cubicBezTo>
                  <a:cubicBezTo>
                    <a:pt x="151" y="12"/>
                    <a:pt x="152" y="12"/>
                    <a:pt x="153" y="12"/>
                  </a:cubicBezTo>
                  <a:cubicBezTo>
                    <a:pt x="153" y="12"/>
                    <a:pt x="154" y="12"/>
                    <a:pt x="155" y="12"/>
                  </a:cubicBezTo>
                  <a:cubicBezTo>
                    <a:pt x="156" y="12"/>
                    <a:pt x="157" y="12"/>
                    <a:pt x="158" y="12"/>
                  </a:cubicBezTo>
                  <a:cubicBezTo>
                    <a:pt x="158" y="12"/>
                    <a:pt x="159" y="12"/>
                    <a:pt x="159" y="12"/>
                  </a:cubicBezTo>
                  <a:cubicBezTo>
                    <a:pt x="160" y="12"/>
                    <a:pt x="160" y="13"/>
                    <a:pt x="160" y="13"/>
                  </a:cubicBezTo>
                  <a:cubicBezTo>
                    <a:pt x="160" y="13"/>
                    <a:pt x="160" y="13"/>
                    <a:pt x="160" y="14"/>
                  </a:cubicBezTo>
                  <a:lnTo>
                    <a:pt x="160" y="27"/>
                  </a:lnTo>
                  <a:lnTo>
                    <a:pt x="175" y="27"/>
                  </a:lnTo>
                  <a:cubicBezTo>
                    <a:pt x="175" y="27"/>
                    <a:pt x="175" y="27"/>
                    <a:pt x="176" y="27"/>
                  </a:cubicBezTo>
                  <a:cubicBezTo>
                    <a:pt x="176" y="28"/>
                    <a:pt x="176" y="28"/>
                    <a:pt x="176" y="28"/>
                  </a:cubicBezTo>
                  <a:cubicBezTo>
                    <a:pt x="177" y="28"/>
                    <a:pt x="177" y="29"/>
                    <a:pt x="177" y="29"/>
                  </a:cubicBezTo>
                  <a:cubicBezTo>
                    <a:pt x="177" y="30"/>
                    <a:pt x="177" y="31"/>
                    <a:pt x="177" y="31"/>
                  </a:cubicBezTo>
                  <a:cubicBezTo>
                    <a:pt x="177" y="33"/>
                    <a:pt x="177" y="34"/>
                    <a:pt x="176" y="35"/>
                  </a:cubicBezTo>
                  <a:cubicBezTo>
                    <a:pt x="176" y="35"/>
                    <a:pt x="175" y="36"/>
                    <a:pt x="175" y="36"/>
                  </a:cubicBezTo>
                  <a:lnTo>
                    <a:pt x="160" y="36"/>
                  </a:lnTo>
                  <a:lnTo>
                    <a:pt x="160" y="67"/>
                  </a:lnTo>
                  <a:cubicBezTo>
                    <a:pt x="160" y="71"/>
                    <a:pt x="161" y="74"/>
                    <a:pt x="162" y="76"/>
                  </a:cubicBezTo>
                  <a:cubicBezTo>
                    <a:pt x="163" y="78"/>
                    <a:pt x="165" y="79"/>
                    <a:pt x="168" y="79"/>
                  </a:cubicBezTo>
                  <a:cubicBezTo>
                    <a:pt x="169" y="79"/>
                    <a:pt x="170" y="79"/>
                    <a:pt x="171" y="79"/>
                  </a:cubicBezTo>
                  <a:cubicBezTo>
                    <a:pt x="172" y="78"/>
                    <a:pt x="172" y="78"/>
                    <a:pt x="173" y="78"/>
                  </a:cubicBezTo>
                  <a:cubicBezTo>
                    <a:pt x="173" y="78"/>
                    <a:pt x="174" y="78"/>
                    <a:pt x="174" y="77"/>
                  </a:cubicBezTo>
                  <a:cubicBezTo>
                    <a:pt x="175" y="77"/>
                    <a:pt x="175" y="77"/>
                    <a:pt x="175" y="77"/>
                  </a:cubicBezTo>
                  <a:cubicBezTo>
                    <a:pt x="176" y="77"/>
                    <a:pt x="176" y="77"/>
                    <a:pt x="176" y="77"/>
                  </a:cubicBezTo>
                  <a:cubicBezTo>
                    <a:pt x="176" y="77"/>
                    <a:pt x="176" y="78"/>
                    <a:pt x="176" y="78"/>
                  </a:cubicBezTo>
                  <a:cubicBezTo>
                    <a:pt x="177" y="78"/>
                    <a:pt x="177" y="79"/>
                    <a:pt x="177" y="79"/>
                  </a:cubicBezTo>
                  <a:cubicBezTo>
                    <a:pt x="177" y="80"/>
                    <a:pt x="177" y="80"/>
                    <a:pt x="177" y="81"/>
                  </a:cubicBezTo>
                  <a:close/>
                  <a:moveTo>
                    <a:pt x="246" y="29"/>
                  </a:moveTo>
                  <a:cubicBezTo>
                    <a:pt x="246" y="33"/>
                    <a:pt x="246" y="37"/>
                    <a:pt x="244" y="40"/>
                  </a:cubicBezTo>
                  <a:cubicBezTo>
                    <a:pt x="243" y="44"/>
                    <a:pt x="241" y="46"/>
                    <a:pt x="239" y="49"/>
                  </a:cubicBezTo>
                  <a:cubicBezTo>
                    <a:pt x="236" y="51"/>
                    <a:pt x="233" y="53"/>
                    <a:pt x="230" y="54"/>
                  </a:cubicBezTo>
                  <a:cubicBezTo>
                    <a:pt x="226" y="55"/>
                    <a:pt x="222" y="56"/>
                    <a:pt x="217" y="56"/>
                  </a:cubicBezTo>
                  <a:lnTo>
                    <a:pt x="208" y="56"/>
                  </a:lnTo>
                  <a:lnTo>
                    <a:pt x="208" y="85"/>
                  </a:lnTo>
                  <a:cubicBezTo>
                    <a:pt x="208" y="85"/>
                    <a:pt x="207" y="86"/>
                    <a:pt x="207" y="86"/>
                  </a:cubicBezTo>
                  <a:cubicBezTo>
                    <a:pt x="207" y="86"/>
                    <a:pt x="207" y="86"/>
                    <a:pt x="206" y="86"/>
                  </a:cubicBezTo>
                  <a:cubicBezTo>
                    <a:pt x="206" y="87"/>
                    <a:pt x="205" y="87"/>
                    <a:pt x="205" y="87"/>
                  </a:cubicBezTo>
                  <a:cubicBezTo>
                    <a:pt x="204" y="87"/>
                    <a:pt x="203" y="87"/>
                    <a:pt x="202" y="87"/>
                  </a:cubicBezTo>
                  <a:cubicBezTo>
                    <a:pt x="201" y="87"/>
                    <a:pt x="200" y="87"/>
                    <a:pt x="200" y="87"/>
                  </a:cubicBezTo>
                  <a:cubicBezTo>
                    <a:pt x="199" y="87"/>
                    <a:pt x="198" y="87"/>
                    <a:pt x="198" y="86"/>
                  </a:cubicBezTo>
                  <a:cubicBezTo>
                    <a:pt x="198" y="86"/>
                    <a:pt x="197" y="86"/>
                    <a:pt x="197" y="86"/>
                  </a:cubicBezTo>
                  <a:cubicBezTo>
                    <a:pt x="197" y="86"/>
                    <a:pt x="197" y="85"/>
                    <a:pt x="197" y="85"/>
                  </a:cubicBezTo>
                  <a:lnTo>
                    <a:pt x="197" y="10"/>
                  </a:lnTo>
                  <a:cubicBezTo>
                    <a:pt x="197" y="9"/>
                    <a:pt x="197" y="7"/>
                    <a:pt x="198" y="7"/>
                  </a:cubicBezTo>
                  <a:cubicBezTo>
                    <a:pt x="199" y="6"/>
                    <a:pt x="200" y="6"/>
                    <a:pt x="201" y="6"/>
                  </a:cubicBezTo>
                  <a:lnTo>
                    <a:pt x="218" y="6"/>
                  </a:lnTo>
                  <a:cubicBezTo>
                    <a:pt x="220" y="6"/>
                    <a:pt x="222" y="6"/>
                    <a:pt x="223" y="6"/>
                  </a:cubicBezTo>
                  <a:cubicBezTo>
                    <a:pt x="225" y="6"/>
                    <a:pt x="227" y="6"/>
                    <a:pt x="229" y="7"/>
                  </a:cubicBezTo>
                  <a:cubicBezTo>
                    <a:pt x="231" y="7"/>
                    <a:pt x="233" y="8"/>
                    <a:pt x="236" y="10"/>
                  </a:cubicBezTo>
                  <a:cubicBezTo>
                    <a:pt x="238" y="11"/>
                    <a:pt x="240" y="12"/>
                    <a:pt x="242" y="14"/>
                  </a:cubicBezTo>
                  <a:cubicBezTo>
                    <a:pt x="243" y="16"/>
                    <a:pt x="244" y="19"/>
                    <a:pt x="245" y="21"/>
                  </a:cubicBezTo>
                  <a:cubicBezTo>
                    <a:pt x="246" y="24"/>
                    <a:pt x="246" y="26"/>
                    <a:pt x="246" y="29"/>
                  </a:cubicBezTo>
                  <a:close/>
                  <a:moveTo>
                    <a:pt x="235" y="30"/>
                  </a:moveTo>
                  <a:cubicBezTo>
                    <a:pt x="235" y="27"/>
                    <a:pt x="235" y="24"/>
                    <a:pt x="233" y="22"/>
                  </a:cubicBezTo>
                  <a:cubicBezTo>
                    <a:pt x="232" y="20"/>
                    <a:pt x="231" y="18"/>
                    <a:pt x="229" y="17"/>
                  </a:cubicBezTo>
                  <a:cubicBezTo>
                    <a:pt x="227" y="16"/>
                    <a:pt x="225" y="15"/>
                    <a:pt x="223" y="15"/>
                  </a:cubicBezTo>
                  <a:cubicBezTo>
                    <a:pt x="221" y="15"/>
                    <a:pt x="219" y="15"/>
                    <a:pt x="217" y="15"/>
                  </a:cubicBezTo>
                  <a:lnTo>
                    <a:pt x="208" y="15"/>
                  </a:lnTo>
                  <a:lnTo>
                    <a:pt x="208" y="47"/>
                  </a:lnTo>
                  <a:lnTo>
                    <a:pt x="217" y="47"/>
                  </a:lnTo>
                  <a:cubicBezTo>
                    <a:pt x="220" y="47"/>
                    <a:pt x="223" y="47"/>
                    <a:pt x="225" y="46"/>
                  </a:cubicBezTo>
                  <a:cubicBezTo>
                    <a:pt x="227" y="45"/>
                    <a:pt x="229" y="44"/>
                    <a:pt x="231" y="42"/>
                  </a:cubicBezTo>
                  <a:cubicBezTo>
                    <a:pt x="232" y="41"/>
                    <a:pt x="233" y="39"/>
                    <a:pt x="234" y="37"/>
                  </a:cubicBezTo>
                  <a:cubicBezTo>
                    <a:pt x="235" y="35"/>
                    <a:pt x="235" y="33"/>
                    <a:pt x="235" y="30"/>
                  </a:cubicBezTo>
                  <a:close/>
                  <a:moveTo>
                    <a:pt x="292" y="32"/>
                  </a:moveTo>
                  <a:cubicBezTo>
                    <a:pt x="292" y="33"/>
                    <a:pt x="292" y="34"/>
                    <a:pt x="292" y="35"/>
                  </a:cubicBezTo>
                  <a:cubicBezTo>
                    <a:pt x="292" y="35"/>
                    <a:pt x="292" y="36"/>
                    <a:pt x="292" y="36"/>
                  </a:cubicBezTo>
                  <a:cubicBezTo>
                    <a:pt x="292" y="37"/>
                    <a:pt x="292" y="37"/>
                    <a:pt x="292" y="37"/>
                  </a:cubicBezTo>
                  <a:cubicBezTo>
                    <a:pt x="292" y="37"/>
                    <a:pt x="291" y="37"/>
                    <a:pt x="291" y="37"/>
                  </a:cubicBezTo>
                  <a:cubicBezTo>
                    <a:pt x="291" y="37"/>
                    <a:pt x="290" y="37"/>
                    <a:pt x="290" y="37"/>
                  </a:cubicBezTo>
                  <a:cubicBezTo>
                    <a:pt x="289" y="37"/>
                    <a:pt x="289" y="37"/>
                    <a:pt x="288" y="36"/>
                  </a:cubicBezTo>
                  <a:cubicBezTo>
                    <a:pt x="287" y="36"/>
                    <a:pt x="287" y="36"/>
                    <a:pt x="286" y="36"/>
                  </a:cubicBezTo>
                  <a:cubicBezTo>
                    <a:pt x="285" y="36"/>
                    <a:pt x="284" y="36"/>
                    <a:pt x="284" y="36"/>
                  </a:cubicBezTo>
                  <a:cubicBezTo>
                    <a:pt x="283" y="36"/>
                    <a:pt x="282" y="36"/>
                    <a:pt x="281" y="36"/>
                  </a:cubicBezTo>
                  <a:cubicBezTo>
                    <a:pt x="280" y="37"/>
                    <a:pt x="278" y="37"/>
                    <a:pt x="277" y="38"/>
                  </a:cubicBezTo>
                  <a:cubicBezTo>
                    <a:pt x="276" y="39"/>
                    <a:pt x="275" y="41"/>
                    <a:pt x="274" y="42"/>
                  </a:cubicBezTo>
                  <a:cubicBezTo>
                    <a:pt x="273" y="44"/>
                    <a:pt x="271" y="46"/>
                    <a:pt x="270" y="48"/>
                  </a:cubicBezTo>
                  <a:lnTo>
                    <a:pt x="270" y="85"/>
                  </a:lnTo>
                  <a:cubicBezTo>
                    <a:pt x="270" y="85"/>
                    <a:pt x="270" y="86"/>
                    <a:pt x="270" y="86"/>
                  </a:cubicBezTo>
                  <a:cubicBezTo>
                    <a:pt x="270" y="86"/>
                    <a:pt x="269" y="86"/>
                    <a:pt x="269" y="86"/>
                  </a:cubicBezTo>
                  <a:cubicBezTo>
                    <a:pt x="268" y="87"/>
                    <a:pt x="268" y="87"/>
                    <a:pt x="267" y="87"/>
                  </a:cubicBezTo>
                  <a:cubicBezTo>
                    <a:pt x="267" y="87"/>
                    <a:pt x="266" y="87"/>
                    <a:pt x="265" y="87"/>
                  </a:cubicBezTo>
                  <a:cubicBezTo>
                    <a:pt x="264" y="87"/>
                    <a:pt x="263" y="87"/>
                    <a:pt x="262" y="87"/>
                  </a:cubicBezTo>
                  <a:cubicBezTo>
                    <a:pt x="262" y="87"/>
                    <a:pt x="261" y="87"/>
                    <a:pt x="261" y="86"/>
                  </a:cubicBezTo>
                  <a:cubicBezTo>
                    <a:pt x="260" y="86"/>
                    <a:pt x="260" y="86"/>
                    <a:pt x="260" y="86"/>
                  </a:cubicBezTo>
                  <a:cubicBezTo>
                    <a:pt x="260" y="86"/>
                    <a:pt x="260" y="85"/>
                    <a:pt x="260" y="85"/>
                  </a:cubicBezTo>
                  <a:lnTo>
                    <a:pt x="260" y="29"/>
                  </a:lnTo>
                  <a:cubicBezTo>
                    <a:pt x="260" y="28"/>
                    <a:pt x="260" y="28"/>
                    <a:pt x="260" y="28"/>
                  </a:cubicBezTo>
                  <a:cubicBezTo>
                    <a:pt x="260" y="28"/>
                    <a:pt x="260" y="27"/>
                    <a:pt x="261" y="27"/>
                  </a:cubicBezTo>
                  <a:cubicBezTo>
                    <a:pt x="261" y="27"/>
                    <a:pt x="261" y="27"/>
                    <a:pt x="262" y="27"/>
                  </a:cubicBezTo>
                  <a:cubicBezTo>
                    <a:pt x="263" y="27"/>
                    <a:pt x="263" y="27"/>
                    <a:pt x="264" y="27"/>
                  </a:cubicBezTo>
                  <a:cubicBezTo>
                    <a:pt x="265" y="27"/>
                    <a:pt x="266" y="27"/>
                    <a:pt x="267" y="27"/>
                  </a:cubicBezTo>
                  <a:cubicBezTo>
                    <a:pt x="267" y="27"/>
                    <a:pt x="268" y="27"/>
                    <a:pt x="268" y="27"/>
                  </a:cubicBezTo>
                  <a:cubicBezTo>
                    <a:pt x="268" y="27"/>
                    <a:pt x="269" y="28"/>
                    <a:pt x="269" y="28"/>
                  </a:cubicBezTo>
                  <a:cubicBezTo>
                    <a:pt x="269" y="28"/>
                    <a:pt x="269" y="28"/>
                    <a:pt x="269" y="29"/>
                  </a:cubicBezTo>
                  <a:lnTo>
                    <a:pt x="269" y="37"/>
                  </a:lnTo>
                  <a:cubicBezTo>
                    <a:pt x="270" y="35"/>
                    <a:pt x="272" y="33"/>
                    <a:pt x="273" y="31"/>
                  </a:cubicBezTo>
                  <a:cubicBezTo>
                    <a:pt x="275" y="30"/>
                    <a:pt x="276" y="29"/>
                    <a:pt x="277" y="28"/>
                  </a:cubicBezTo>
                  <a:cubicBezTo>
                    <a:pt x="278" y="27"/>
                    <a:pt x="280" y="27"/>
                    <a:pt x="281" y="26"/>
                  </a:cubicBezTo>
                  <a:cubicBezTo>
                    <a:pt x="282" y="26"/>
                    <a:pt x="283" y="26"/>
                    <a:pt x="284" y="26"/>
                  </a:cubicBezTo>
                  <a:cubicBezTo>
                    <a:pt x="285" y="26"/>
                    <a:pt x="285" y="26"/>
                    <a:pt x="286" y="26"/>
                  </a:cubicBezTo>
                  <a:cubicBezTo>
                    <a:pt x="287" y="26"/>
                    <a:pt x="288" y="26"/>
                    <a:pt x="288" y="26"/>
                  </a:cubicBezTo>
                  <a:cubicBezTo>
                    <a:pt x="289" y="27"/>
                    <a:pt x="290" y="27"/>
                    <a:pt x="290" y="27"/>
                  </a:cubicBezTo>
                  <a:cubicBezTo>
                    <a:pt x="291" y="27"/>
                    <a:pt x="291" y="27"/>
                    <a:pt x="292" y="28"/>
                  </a:cubicBezTo>
                  <a:cubicBezTo>
                    <a:pt x="292" y="28"/>
                    <a:pt x="292" y="28"/>
                    <a:pt x="292" y="28"/>
                  </a:cubicBezTo>
                  <a:cubicBezTo>
                    <a:pt x="292" y="28"/>
                    <a:pt x="292" y="29"/>
                    <a:pt x="292" y="29"/>
                  </a:cubicBezTo>
                  <a:cubicBezTo>
                    <a:pt x="292" y="29"/>
                    <a:pt x="292" y="30"/>
                    <a:pt x="292" y="30"/>
                  </a:cubicBezTo>
                  <a:cubicBezTo>
                    <a:pt x="292" y="31"/>
                    <a:pt x="292" y="32"/>
                    <a:pt x="292" y="32"/>
                  </a:cubicBezTo>
                  <a:close/>
                  <a:moveTo>
                    <a:pt x="360" y="56"/>
                  </a:moveTo>
                  <a:cubicBezTo>
                    <a:pt x="360" y="61"/>
                    <a:pt x="359" y="65"/>
                    <a:pt x="358" y="69"/>
                  </a:cubicBezTo>
                  <a:cubicBezTo>
                    <a:pt x="357" y="73"/>
                    <a:pt x="355" y="76"/>
                    <a:pt x="353" y="79"/>
                  </a:cubicBezTo>
                  <a:cubicBezTo>
                    <a:pt x="350" y="82"/>
                    <a:pt x="347" y="84"/>
                    <a:pt x="344" y="85"/>
                  </a:cubicBezTo>
                  <a:cubicBezTo>
                    <a:pt x="340" y="87"/>
                    <a:pt x="336" y="88"/>
                    <a:pt x="331" y="88"/>
                  </a:cubicBezTo>
                  <a:cubicBezTo>
                    <a:pt x="327" y="88"/>
                    <a:pt x="323" y="87"/>
                    <a:pt x="319" y="86"/>
                  </a:cubicBezTo>
                  <a:cubicBezTo>
                    <a:pt x="316" y="84"/>
                    <a:pt x="313" y="82"/>
                    <a:pt x="310" y="80"/>
                  </a:cubicBezTo>
                  <a:cubicBezTo>
                    <a:pt x="308" y="77"/>
                    <a:pt x="306" y="74"/>
                    <a:pt x="305" y="70"/>
                  </a:cubicBezTo>
                  <a:cubicBezTo>
                    <a:pt x="304" y="66"/>
                    <a:pt x="304" y="62"/>
                    <a:pt x="304" y="57"/>
                  </a:cubicBezTo>
                  <a:cubicBezTo>
                    <a:pt x="304" y="53"/>
                    <a:pt x="304" y="49"/>
                    <a:pt x="305" y="45"/>
                  </a:cubicBezTo>
                  <a:cubicBezTo>
                    <a:pt x="307" y="41"/>
                    <a:pt x="308" y="38"/>
                    <a:pt x="311" y="35"/>
                  </a:cubicBezTo>
                  <a:cubicBezTo>
                    <a:pt x="313" y="32"/>
                    <a:pt x="316" y="30"/>
                    <a:pt x="320" y="28"/>
                  </a:cubicBezTo>
                  <a:cubicBezTo>
                    <a:pt x="323" y="27"/>
                    <a:pt x="328" y="26"/>
                    <a:pt x="332" y="26"/>
                  </a:cubicBezTo>
                  <a:cubicBezTo>
                    <a:pt x="337" y="26"/>
                    <a:pt x="341" y="27"/>
                    <a:pt x="344" y="28"/>
                  </a:cubicBezTo>
                  <a:cubicBezTo>
                    <a:pt x="348" y="29"/>
                    <a:pt x="351" y="31"/>
                    <a:pt x="353" y="34"/>
                  </a:cubicBezTo>
                  <a:cubicBezTo>
                    <a:pt x="355" y="37"/>
                    <a:pt x="357" y="40"/>
                    <a:pt x="358" y="44"/>
                  </a:cubicBezTo>
                  <a:cubicBezTo>
                    <a:pt x="359" y="47"/>
                    <a:pt x="360" y="52"/>
                    <a:pt x="360" y="56"/>
                  </a:cubicBezTo>
                  <a:close/>
                  <a:moveTo>
                    <a:pt x="349" y="57"/>
                  </a:moveTo>
                  <a:cubicBezTo>
                    <a:pt x="349" y="54"/>
                    <a:pt x="349" y="51"/>
                    <a:pt x="348" y="48"/>
                  </a:cubicBezTo>
                  <a:cubicBezTo>
                    <a:pt x="348" y="46"/>
                    <a:pt x="347" y="43"/>
                    <a:pt x="346" y="41"/>
                  </a:cubicBezTo>
                  <a:cubicBezTo>
                    <a:pt x="344" y="39"/>
                    <a:pt x="343" y="38"/>
                    <a:pt x="340" y="36"/>
                  </a:cubicBezTo>
                  <a:cubicBezTo>
                    <a:pt x="338" y="35"/>
                    <a:pt x="335" y="35"/>
                    <a:pt x="332" y="35"/>
                  </a:cubicBezTo>
                  <a:cubicBezTo>
                    <a:pt x="329" y="35"/>
                    <a:pt x="326" y="35"/>
                    <a:pt x="324" y="36"/>
                  </a:cubicBezTo>
                  <a:cubicBezTo>
                    <a:pt x="322" y="37"/>
                    <a:pt x="320" y="39"/>
                    <a:pt x="319" y="41"/>
                  </a:cubicBezTo>
                  <a:cubicBezTo>
                    <a:pt x="317" y="43"/>
                    <a:pt x="316" y="45"/>
                    <a:pt x="315" y="48"/>
                  </a:cubicBezTo>
                  <a:cubicBezTo>
                    <a:pt x="315" y="51"/>
                    <a:pt x="314" y="54"/>
                    <a:pt x="314" y="57"/>
                  </a:cubicBezTo>
                  <a:cubicBezTo>
                    <a:pt x="314" y="60"/>
                    <a:pt x="315" y="63"/>
                    <a:pt x="315" y="65"/>
                  </a:cubicBezTo>
                  <a:cubicBezTo>
                    <a:pt x="316" y="68"/>
                    <a:pt x="317" y="70"/>
                    <a:pt x="318" y="72"/>
                  </a:cubicBezTo>
                  <a:cubicBezTo>
                    <a:pt x="319" y="75"/>
                    <a:pt x="321" y="76"/>
                    <a:pt x="323" y="77"/>
                  </a:cubicBezTo>
                  <a:cubicBezTo>
                    <a:pt x="326" y="78"/>
                    <a:pt x="328" y="79"/>
                    <a:pt x="332" y="79"/>
                  </a:cubicBezTo>
                  <a:cubicBezTo>
                    <a:pt x="335" y="79"/>
                    <a:pt x="337" y="79"/>
                    <a:pt x="340" y="77"/>
                  </a:cubicBezTo>
                  <a:cubicBezTo>
                    <a:pt x="342" y="76"/>
                    <a:pt x="344" y="75"/>
                    <a:pt x="345" y="73"/>
                  </a:cubicBezTo>
                  <a:cubicBezTo>
                    <a:pt x="347" y="71"/>
                    <a:pt x="348" y="69"/>
                    <a:pt x="348" y="66"/>
                  </a:cubicBezTo>
                  <a:cubicBezTo>
                    <a:pt x="349" y="63"/>
                    <a:pt x="349" y="60"/>
                    <a:pt x="349" y="57"/>
                  </a:cubicBezTo>
                  <a:close/>
                  <a:moveTo>
                    <a:pt x="420" y="85"/>
                  </a:moveTo>
                  <a:cubicBezTo>
                    <a:pt x="420" y="85"/>
                    <a:pt x="420" y="86"/>
                    <a:pt x="420" y="86"/>
                  </a:cubicBezTo>
                  <a:cubicBezTo>
                    <a:pt x="419" y="86"/>
                    <a:pt x="419" y="86"/>
                    <a:pt x="419" y="86"/>
                  </a:cubicBezTo>
                  <a:cubicBezTo>
                    <a:pt x="418" y="87"/>
                    <a:pt x="418" y="87"/>
                    <a:pt x="417" y="87"/>
                  </a:cubicBezTo>
                  <a:cubicBezTo>
                    <a:pt x="417" y="87"/>
                    <a:pt x="416" y="87"/>
                    <a:pt x="415" y="87"/>
                  </a:cubicBezTo>
                  <a:cubicBezTo>
                    <a:pt x="414" y="87"/>
                    <a:pt x="414" y="87"/>
                    <a:pt x="413" y="87"/>
                  </a:cubicBezTo>
                  <a:cubicBezTo>
                    <a:pt x="413" y="87"/>
                    <a:pt x="412" y="87"/>
                    <a:pt x="412" y="86"/>
                  </a:cubicBezTo>
                  <a:cubicBezTo>
                    <a:pt x="411" y="86"/>
                    <a:pt x="411" y="86"/>
                    <a:pt x="411" y="86"/>
                  </a:cubicBezTo>
                  <a:cubicBezTo>
                    <a:pt x="411" y="86"/>
                    <a:pt x="411" y="85"/>
                    <a:pt x="411" y="85"/>
                  </a:cubicBezTo>
                  <a:lnTo>
                    <a:pt x="411" y="78"/>
                  </a:lnTo>
                  <a:cubicBezTo>
                    <a:pt x="408" y="81"/>
                    <a:pt x="405" y="83"/>
                    <a:pt x="401" y="85"/>
                  </a:cubicBezTo>
                  <a:cubicBezTo>
                    <a:pt x="398" y="87"/>
                    <a:pt x="395" y="88"/>
                    <a:pt x="391" y="88"/>
                  </a:cubicBezTo>
                  <a:cubicBezTo>
                    <a:pt x="387" y="88"/>
                    <a:pt x="383" y="87"/>
                    <a:pt x="380" y="85"/>
                  </a:cubicBezTo>
                  <a:cubicBezTo>
                    <a:pt x="377" y="84"/>
                    <a:pt x="375" y="82"/>
                    <a:pt x="373" y="79"/>
                  </a:cubicBezTo>
                  <a:cubicBezTo>
                    <a:pt x="371" y="76"/>
                    <a:pt x="370" y="73"/>
                    <a:pt x="369" y="69"/>
                  </a:cubicBezTo>
                  <a:cubicBezTo>
                    <a:pt x="368" y="66"/>
                    <a:pt x="368" y="62"/>
                    <a:pt x="368" y="58"/>
                  </a:cubicBezTo>
                  <a:cubicBezTo>
                    <a:pt x="368" y="53"/>
                    <a:pt x="369" y="48"/>
                    <a:pt x="370" y="44"/>
                  </a:cubicBezTo>
                  <a:cubicBezTo>
                    <a:pt x="371" y="41"/>
                    <a:pt x="372" y="37"/>
                    <a:pt x="374" y="35"/>
                  </a:cubicBezTo>
                  <a:cubicBezTo>
                    <a:pt x="376" y="32"/>
                    <a:pt x="379" y="30"/>
                    <a:pt x="382" y="28"/>
                  </a:cubicBezTo>
                  <a:cubicBezTo>
                    <a:pt x="385" y="27"/>
                    <a:pt x="388" y="26"/>
                    <a:pt x="392" y="26"/>
                  </a:cubicBezTo>
                  <a:cubicBezTo>
                    <a:pt x="396" y="26"/>
                    <a:pt x="399" y="27"/>
                    <a:pt x="401" y="28"/>
                  </a:cubicBezTo>
                  <a:cubicBezTo>
                    <a:pt x="404" y="30"/>
                    <a:pt x="407" y="32"/>
                    <a:pt x="409" y="34"/>
                  </a:cubicBezTo>
                  <a:lnTo>
                    <a:pt x="409" y="2"/>
                  </a:lnTo>
                  <a:cubicBezTo>
                    <a:pt x="409" y="1"/>
                    <a:pt x="409" y="1"/>
                    <a:pt x="410" y="1"/>
                  </a:cubicBezTo>
                  <a:cubicBezTo>
                    <a:pt x="410" y="1"/>
                    <a:pt x="410" y="0"/>
                    <a:pt x="410" y="0"/>
                  </a:cubicBezTo>
                  <a:cubicBezTo>
                    <a:pt x="411" y="0"/>
                    <a:pt x="411" y="0"/>
                    <a:pt x="412" y="0"/>
                  </a:cubicBezTo>
                  <a:cubicBezTo>
                    <a:pt x="413" y="0"/>
                    <a:pt x="414" y="0"/>
                    <a:pt x="415" y="0"/>
                  </a:cubicBezTo>
                  <a:cubicBezTo>
                    <a:pt x="416" y="0"/>
                    <a:pt x="416" y="0"/>
                    <a:pt x="417" y="0"/>
                  </a:cubicBezTo>
                  <a:cubicBezTo>
                    <a:pt x="418" y="0"/>
                    <a:pt x="418" y="0"/>
                    <a:pt x="419" y="0"/>
                  </a:cubicBezTo>
                  <a:cubicBezTo>
                    <a:pt x="419" y="0"/>
                    <a:pt x="419" y="1"/>
                    <a:pt x="420" y="1"/>
                  </a:cubicBezTo>
                  <a:cubicBezTo>
                    <a:pt x="420" y="1"/>
                    <a:pt x="420" y="1"/>
                    <a:pt x="420" y="2"/>
                  </a:cubicBezTo>
                  <a:lnTo>
                    <a:pt x="420" y="85"/>
                  </a:lnTo>
                  <a:close/>
                  <a:moveTo>
                    <a:pt x="409" y="45"/>
                  </a:moveTo>
                  <a:cubicBezTo>
                    <a:pt x="407" y="42"/>
                    <a:pt x="404" y="39"/>
                    <a:pt x="401" y="38"/>
                  </a:cubicBezTo>
                  <a:cubicBezTo>
                    <a:pt x="399" y="36"/>
                    <a:pt x="396" y="35"/>
                    <a:pt x="393" y="35"/>
                  </a:cubicBezTo>
                  <a:cubicBezTo>
                    <a:pt x="391" y="35"/>
                    <a:pt x="388" y="35"/>
                    <a:pt x="386" y="37"/>
                  </a:cubicBezTo>
                  <a:cubicBezTo>
                    <a:pt x="385" y="38"/>
                    <a:pt x="383" y="40"/>
                    <a:pt x="382" y="42"/>
                  </a:cubicBezTo>
                  <a:cubicBezTo>
                    <a:pt x="381" y="44"/>
                    <a:pt x="380" y="46"/>
                    <a:pt x="380" y="49"/>
                  </a:cubicBezTo>
                  <a:cubicBezTo>
                    <a:pt x="379" y="51"/>
                    <a:pt x="379" y="54"/>
                    <a:pt x="379" y="56"/>
                  </a:cubicBezTo>
                  <a:cubicBezTo>
                    <a:pt x="379" y="59"/>
                    <a:pt x="379" y="62"/>
                    <a:pt x="379" y="65"/>
                  </a:cubicBezTo>
                  <a:cubicBezTo>
                    <a:pt x="380" y="67"/>
                    <a:pt x="381" y="70"/>
                    <a:pt x="382" y="72"/>
                  </a:cubicBezTo>
                  <a:cubicBezTo>
                    <a:pt x="383" y="74"/>
                    <a:pt x="384" y="76"/>
                    <a:pt x="386" y="77"/>
                  </a:cubicBezTo>
                  <a:cubicBezTo>
                    <a:pt x="388" y="78"/>
                    <a:pt x="390" y="79"/>
                    <a:pt x="393" y="79"/>
                  </a:cubicBezTo>
                  <a:cubicBezTo>
                    <a:pt x="394" y="79"/>
                    <a:pt x="395" y="79"/>
                    <a:pt x="397" y="78"/>
                  </a:cubicBezTo>
                  <a:cubicBezTo>
                    <a:pt x="398" y="78"/>
                    <a:pt x="399" y="77"/>
                    <a:pt x="401" y="77"/>
                  </a:cubicBezTo>
                  <a:cubicBezTo>
                    <a:pt x="402" y="76"/>
                    <a:pt x="403" y="75"/>
                    <a:pt x="405" y="73"/>
                  </a:cubicBezTo>
                  <a:cubicBezTo>
                    <a:pt x="406" y="72"/>
                    <a:pt x="408" y="70"/>
                    <a:pt x="409" y="68"/>
                  </a:cubicBezTo>
                  <a:lnTo>
                    <a:pt x="409" y="45"/>
                  </a:lnTo>
                  <a:close/>
                  <a:moveTo>
                    <a:pt x="484" y="85"/>
                  </a:moveTo>
                  <a:cubicBezTo>
                    <a:pt x="484" y="85"/>
                    <a:pt x="484" y="86"/>
                    <a:pt x="484" y="86"/>
                  </a:cubicBezTo>
                  <a:cubicBezTo>
                    <a:pt x="483" y="86"/>
                    <a:pt x="483" y="86"/>
                    <a:pt x="483" y="86"/>
                  </a:cubicBezTo>
                  <a:cubicBezTo>
                    <a:pt x="482" y="87"/>
                    <a:pt x="482" y="87"/>
                    <a:pt x="481" y="87"/>
                  </a:cubicBezTo>
                  <a:cubicBezTo>
                    <a:pt x="481" y="87"/>
                    <a:pt x="480" y="87"/>
                    <a:pt x="479" y="87"/>
                  </a:cubicBezTo>
                  <a:cubicBezTo>
                    <a:pt x="478" y="87"/>
                    <a:pt x="477" y="87"/>
                    <a:pt x="477" y="87"/>
                  </a:cubicBezTo>
                  <a:cubicBezTo>
                    <a:pt x="476" y="87"/>
                    <a:pt x="476" y="87"/>
                    <a:pt x="475" y="86"/>
                  </a:cubicBezTo>
                  <a:cubicBezTo>
                    <a:pt x="475" y="86"/>
                    <a:pt x="475" y="86"/>
                    <a:pt x="475" y="86"/>
                  </a:cubicBezTo>
                  <a:cubicBezTo>
                    <a:pt x="474" y="86"/>
                    <a:pt x="474" y="85"/>
                    <a:pt x="474" y="85"/>
                  </a:cubicBezTo>
                  <a:lnTo>
                    <a:pt x="474" y="78"/>
                  </a:lnTo>
                  <a:cubicBezTo>
                    <a:pt x="471" y="81"/>
                    <a:pt x="468" y="84"/>
                    <a:pt x="465" y="85"/>
                  </a:cubicBezTo>
                  <a:cubicBezTo>
                    <a:pt x="462" y="87"/>
                    <a:pt x="459" y="88"/>
                    <a:pt x="455" y="88"/>
                  </a:cubicBezTo>
                  <a:cubicBezTo>
                    <a:pt x="452" y="88"/>
                    <a:pt x="449" y="87"/>
                    <a:pt x="446" y="86"/>
                  </a:cubicBezTo>
                  <a:cubicBezTo>
                    <a:pt x="443" y="85"/>
                    <a:pt x="441" y="83"/>
                    <a:pt x="440" y="81"/>
                  </a:cubicBezTo>
                  <a:cubicBezTo>
                    <a:pt x="438" y="79"/>
                    <a:pt x="437" y="76"/>
                    <a:pt x="436" y="73"/>
                  </a:cubicBezTo>
                  <a:cubicBezTo>
                    <a:pt x="436" y="70"/>
                    <a:pt x="435" y="67"/>
                    <a:pt x="435" y="63"/>
                  </a:cubicBezTo>
                  <a:lnTo>
                    <a:pt x="435" y="29"/>
                  </a:lnTo>
                  <a:cubicBezTo>
                    <a:pt x="435" y="28"/>
                    <a:pt x="435" y="28"/>
                    <a:pt x="436" y="28"/>
                  </a:cubicBezTo>
                  <a:cubicBezTo>
                    <a:pt x="436" y="28"/>
                    <a:pt x="436" y="27"/>
                    <a:pt x="436" y="27"/>
                  </a:cubicBezTo>
                  <a:cubicBezTo>
                    <a:pt x="437" y="27"/>
                    <a:pt x="437" y="27"/>
                    <a:pt x="438" y="27"/>
                  </a:cubicBezTo>
                  <a:cubicBezTo>
                    <a:pt x="439" y="27"/>
                    <a:pt x="439" y="27"/>
                    <a:pt x="440" y="27"/>
                  </a:cubicBezTo>
                  <a:cubicBezTo>
                    <a:pt x="441" y="27"/>
                    <a:pt x="442" y="27"/>
                    <a:pt x="443" y="27"/>
                  </a:cubicBezTo>
                  <a:cubicBezTo>
                    <a:pt x="444" y="27"/>
                    <a:pt x="444" y="27"/>
                    <a:pt x="445" y="27"/>
                  </a:cubicBezTo>
                  <a:cubicBezTo>
                    <a:pt x="445" y="27"/>
                    <a:pt x="445" y="28"/>
                    <a:pt x="445" y="28"/>
                  </a:cubicBezTo>
                  <a:cubicBezTo>
                    <a:pt x="446" y="28"/>
                    <a:pt x="446" y="28"/>
                    <a:pt x="446" y="29"/>
                  </a:cubicBezTo>
                  <a:lnTo>
                    <a:pt x="446" y="62"/>
                  </a:lnTo>
                  <a:cubicBezTo>
                    <a:pt x="446" y="65"/>
                    <a:pt x="446" y="67"/>
                    <a:pt x="446" y="69"/>
                  </a:cubicBezTo>
                  <a:cubicBezTo>
                    <a:pt x="447" y="71"/>
                    <a:pt x="448" y="73"/>
                    <a:pt x="449" y="74"/>
                  </a:cubicBezTo>
                  <a:cubicBezTo>
                    <a:pt x="450" y="76"/>
                    <a:pt x="451" y="77"/>
                    <a:pt x="452" y="78"/>
                  </a:cubicBezTo>
                  <a:cubicBezTo>
                    <a:pt x="454" y="79"/>
                    <a:pt x="456" y="79"/>
                    <a:pt x="458" y="79"/>
                  </a:cubicBezTo>
                  <a:cubicBezTo>
                    <a:pt x="460" y="79"/>
                    <a:pt x="463" y="78"/>
                    <a:pt x="465" y="76"/>
                  </a:cubicBezTo>
                  <a:cubicBezTo>
                    <a:pt x="468" y="74"/>
                    <a:pt x="471" y="72"/>
                    <a:pt x="473" y="68"/>
                  </a:cubicBezTo>
                  <a:lnTo>
                    <a:pt x="473" y="29"/>
                  </a:lnTo>
                  <a:cubicBezTo>
                    <a:pt x="473" y="28"/>
                    <a:pt x="473" y="28"/>
                    <a:pt x="474" y="28"/>
                  </a:cubicBezTo>
                  <a:cubicBezTo>
                    <a:pt x="474" y="28"/>
                    <a:pt x="474" y="27"/>
                    <a:pt x="474" y="27"/>
                  </a:cubicBezTo>
                  <a:cubicBezTo>
                    <a:pt x="475" y="27"/>
                    <a:pt x="475" y="27"/>
                    <a:pt x="476" y="27"/>
                  </a:cubicBezTo>
                  <a:cubicBezTo>
                    <a:pt x="477" y="27"/>
                    <a:pt x="478" y="27"/>
                    <a:pt x="479" y="27"/>
                  </a:cubicBezTo>
                  <a:cubicBezTo>
                    <a:pt x="480" y="27"/>
                    <a:pt x="480" y="27"/>
                    <a:pt x="481" y="27"/>
                  </a:cubicBezTo>
                  <a:cubicBezTo>
                    <a:pt x="482" y="27"/>
                    <a:pt x="482" y="27"/>
                    <a:pt x="483" y="27"/>
                  </a:cubicBezTo>
                  <a:cubicBezTo>
                    <a:pt x="483" y="27"/>
                    <a:pt x="483" y="28"/>
                    <a:pt x="484" y="28"/>
                  </a:cubicBezTo>
                  <a:cubicBezTo>
                    <a:pt x="484" y="28"/>
                    <a:pt x="484" y="28"/>
                    <a:pt x="484" y="29"/>
                  </a:cubicBezTo>
                  <a:lnTo>
                    <a:pt x="484" y="85"/>
                  </a:lnTo>
                  <a:close/>
                  <a:moveTo>
                    <a:pt x="540" y="76"/>
                  </a:moveTo>
                  <a:cubicBezTo>
                    <a:pt x="540" y="77"/>
                    <a:pt x="540" y="78"/>
                    <a:pt x="540" y="78"/>
                  </a:cubicBezTo>
                  <a:cubicBezTo>
                    <a:pt x="540" y="79"/>
                    <a:pt x="540" y="79"/>
                    <a:pt x="540" y="80"/>
                  </a:cubicBezTo>
                  <a:cubicBezTo>
                    <a:pt x="540" y="80"/>
                    <a:pt x="540" y="80"/>
                    <a:pt x="539" y="81"/>
                  </a:cubicBezTo>
                  <a:cubicBezTo>
                    <a:pt x="539" y="81"/>
                    <a:pt x="539" y="81"/>
                    <a:pt x="538" y="82"/>
                  </a:cubicBezTo>
                  <a:cubicBezTo>
                    <a:pt x="538" y="82"/>
                    <a:pt x="537" y="83"/>
                    <a:pt x="536" y="84"/>
                  </a:cubicBezTo>
                  <a:cubicBezTo>
                    <a:pt x="534" y="84"/>
                    <a:pt x="533" y="85"/>
                    <a:pt x="532" y="86"/>
                  </a:cubicBezTo>
                  <a:cubicBezTo>
                    <a:pt x="530" y="86"/>
                    <a:pt x="528" y="87"/>
                    <a:pt x="526" y="87"/>
                  </a:cubicBezTo>
                  <a:cubicBezTo>
                    <a:pt x="525" y="88"/>
                    <a:pt x="523" y="88"/>
                    <a:pt x="521" y="88"/>
                  </a:cubicBezTo>
                  <a:cubicBezTo>
                    <a:pt x="517" y="88"/>
                    <a:pt x="513" y="87"/>
                    <a:pt x="510" y="86"/>
                  </a:cubicBezTo>
                  <a:cubicBezTo>
                    <a:pt x="507" y="84"/>
                    <a:pt x="504" y="82"/>
                    <a:pt x="502" y="80"/>
                  </a:cubicBezTo>
                  <a:cubicBezTo>
                    <a:pt x="500" y="77"/>
                    <a:pt x="498" y="74"/>
                    <a:pt x="497" y="70"/>
                  </a:cubicBezTo>
                  <a:cubicBezTo>
                    <a:pt x="496" y="67"/>
                    <a:pt x="496" y="62"/>
                    <a:pt x="496" y="58"/>
                  </a:cubicBezTo>
                  <a:cubicBezTo>
                    <a:pt x="496" y="52"/>
                    <a:pt x="496" y="47"/>
                    <a:pt x="498" y="43"/>
                  </a:cubicBezTo>
                  <a:cubicBezTo>
                    <a:pt x="499" y="39"/>
                    <a:pt x="501" y="36"/>
                    <a:pt x="503" y="34"/>
                  </a:cubicBezTo>
                  <a:cubicBezTo>
                    <a:pt x="506" y="31"/>
                    <a:pt x="508" y="29"/>
                    <a:pt x="512" y="28"/>
                  </a:cubicBezTo>
                  <a:cubicBezTo>
                    <a:pt x="515" y="27"/>
                    <a:pt x="518" y="26"/>
                    <a:pt x="522" y="26"/>
                  </a:cubicBezTo>
                  <a:cubicBezTo>
                    <a:pt x="524" y="26"/>
                    <a:pt x="525" y="26"/>
                    <a:pt x="527" y="27"/>
                  </a:cubicBezTo>
                  <a:cubicBezTo>
                    <a:pt x="529" y="27"/>
                    <a:pt x="530" y="27"/>
                    <a:pt x="532" y="28"/>
                  </a:cubicBezTo>
                  <a:cubicBezTo>
                    <a:pt x="533" y="28"/>
                    <a:pt x="534" y="29"/>
                    <a:pt x="536" y="30"/>
                  </a:cubicBezTo>
                  <a:cubicBezTo>
                    <a:pt x="537" y="30"/>
                    <a:pt x="537" y="31"/>
                    <a:pt x="538" y="32"/>
                  </a:cubicBezTo>
                  <a:cubicBezTo>
                    <a:pt x="538" y="32"/>
                    <a:pt x="539" y="32"/>
                    <a:pt x="539" y="33"/>
                  </a:cubicBezTo>
                  <a:cubicBezTo>
                    <a:pt x="539" y="33"/>
                    <a:pt x="539" y="33"/>
                    <a:pt x="539" y="34"/>
                  </a:cubicBezTo>
                  <a:cubicBezTo>
                    <a:pt x="540" y="34"/>
                    <a:pt x="540" y="35"/>
                    <a:pt x="540" y="35"/>
                  </a:cubicBezTo>
                  <a:cubicBezTo>
                    <a:pt x="540" y="36"/>
                    <a:pt x="540" y="36"/>
                    <a:pt x="540" y="37"/>
                  </a:cubicBezTo>
                  <a:cubicBezTo>
                    <a:pt x="540" y="39"/>
                    <a:pt x="540" y="40"/>
                    <a:pt x="539" y="40"/>
                  </a:cubicBezTo>
                  <a:cubicBezTo>
                    <a:pt x="539" y="41"/>
                    <a:pt x="538" y="41"/>
                    <a:pt x="538" y="41"/>
                  </a:cubicBezTo>
                  <a:cubicBezTo>
                    <a:pt x="537" y="41"/>
                    <a:pt x="537" y="41"/>
                    <a:pt x="536" y="40"/>
                  </a:cubicBezTo>
                  <a:cubicBezTo>
                    <a:pt x="535" y="40"/>
                    <a:pt x="534" y="39"/>
                    <a:pt x="533" y="38"/>
                  </a:cubicBezTo>
                  <a:cubicBezTo>
                    <a:pt x="531" y="37"/>
                    <a:pt x="530" y="36"/>
                    <a:pt x="528" y="36"/>
                  </a:cubicBezTo>
                  <a:cubicBezTo>
                    <a:pt x="526" y="35"/>
                    <a:pt x="524" y="35"/>
                    <a:pt x="522" y="35"/>
                  </a:cubicBezTo>
                  <a:cubicBezTo>
                    <a:pt x="517" y="35"/>
                    <a:pt x="513" y="37"/>
                    <a:pt x="510" y="40"/>
                  </a:cubicBezTo>
                  <a:cubicBezTo>
                    <a:pt x="508" y="44"/>
                    <a:pt x="506" y="50"/>
                    <a:pt x="506" y="57"/>
                  </a:cubicBezTo>
                  <a:cubicBezTo>
                    <a:pt x="506" y="61"/>
                    <a:pt x="507" y="64"/>
                    <a:pt x="507" y="67"/>
                  </a:cubicBezTo>
                  <a:cubicBezTo>
                    <a:pt x="508" y="69"/>
                    <a:pt x="509" y="72"/>
                    <a:pt x="510" y="73"/>
                  </a:cubicBezTo>
                  <a:cubicBezTo>
                    <a:pt x="512" y="75"/>
                    <a:pt x="513" y="77"/>
                    <a:pt x="515" y="77"/>
                  </a:cubicBezTo>
                  <a:cubicBezTo>
                    <a:pt x="517" y="78"/>
                    <a:pt x="520" y="79"/>
                    <a:pt x="522" y="79"/>
                  </a:cubicBezTo>
                  <a:cubicBezTo>
                    <a:pt x="524" y="79"/>
                    <a:pt x="527" y="78"/>
                    <a:pt x="528" y="78"/>
                  </a:cubicBezTo>
                  <a:cubicBezTo>
                    <a:pt x="530" y="77"/>
                    <a:pt x="532" y="76"/>
                    <a:pt x="533" y="75"/>
                  </a:cubicBezTo>
                  <a:cubicBezTo>
                    <a:pt x="534" y="74"/>
                    <a:pt x="535" y="74"/>
                    <a:pt x="536" y="73"/>
                  </a:cubicBezTo>
                  <a:cubicBezTo>
                    <a:pt x="537" y="72"/>
                    <a:pt x="538" y="72"/>
                    <a:pt x="538" y="72"/>
                  </a:cubicBezTo>
                  <a:cubicBezTo>
                    <a:pt x="539" y="72"/>
                    <a:pt x="539" y="72"/>
                    <a:pt x="539" y="72"/>
                  </a:cubicBezTo>
                  <a:cubicBezTo>
                    <a:pt x="539" y="72"/>
                    <a:pt x="539" y="72"/>
                    <a:pt x="540" y="73"/>
                  </a:cubicBezTo>
                  <a:cubicBezTo>
                    <a:pt x="540" y="73"/>
                    <a:pt x="540" y="74"/>
                    <a:pt x="540" y="74"/>
                  </a:cubicBezTo>
                  <a:cubicBezTo>
                    <a:pt x="540" y="75"/>
                    <a:pt x="540" y="76"/>
                    <a:pt x="540" y="76"/>
                  </a:cubicBezTo>
                  <a:close/>
                  <a:moveTo>
                    <a:pt x="593" y="81"/>
                  </a:moveTo>
                  <a:cubicBezTo>
                    <a:pt x="593" y="82"/>
                    <a:pt x="593" y="83"/>
                    <a:pt x="593" y="84"/>
                  </a:cubicBezTo>
                  <a:cubicBezTo>
                    <a:pt x="592" y="84"/>
                    <a:pt x="592" y="85"/>
                    <a:pt x="592" y="85"/>
                  </a:cubicBezTo>
                  <a:cubicBezTo>
                    <a:pt x="592" y="86"/>
                    <a:pt x="591" y="86"/>
                    <a:pt x="590" y="86"/>
                  </a:cubicBezTo>
                  <a:cubicBezTo>
                    <a:pt x="590" y="87"/>
                    <a:pt x="589" y="87"/>
                    <a:pt x="588" y="87"/>
                  </a:cubicBezTo>
                  <a:cubicBezTo>
                    <a:pt x="587" y="87"/>
                    <a:pt x="586" y="87"/>
                    <a:pt x="585" y="87"/>
                  </a:cubicBezTo>
                  <a:cubicBezTo>
                    <a:pt x="584" y="88"/>
                    <a:pt x="583" y="88"/>
                    <a:pt x="582" y="88"/>
                  </a:cubicBezTo>
                  <a:cubicBezTo>
                    <a:pt x="580" y="88"/>
                    <a:pt x="577" y="87"/>
                    <a:pt x="575" y="86"/>
                  </a:cubicBezTo>
                  <a:cubicBezTo>
                    <a:pt x="573" y="86"/>
                    <a:pt x="571" y="85"/>
                    <a:pt x="570" y="83"/>
                  </a:cubicBezTo>
                  <a:cubicBezTo>
                    <a:pt x="569" y="81"/>
                    <a:pt x="568" y="79"/>
                    <a:pt x="567" y="77"/>
                  </a:cubicBezTo>
                  <a:cubicBezTo>
                    <a:pt x="566" y="75"/>
                    <a:pt x="566" y="72"/>
                    <a:pt x="566" y="69"/>
                  </a:cubicBezTo>
                  <a:lnTo>
                    <a:pt x="566" y="36"/>
                  </a:lnTo>
                  <a:lnTo>
                    <a:pt x="558" y="36"/>
                  </a:lnTo>
                  <a:cubicBezTo>
                    <a:pt x="558" y="36"/>
                    <a:pt x="557" y="35"/>
                    <a:pt x="557" y="35"/>
                  </a:cubicBezTo>
                  <a:cubicBezTo>
                    <a:pt x="556" y="34"/>
                    <a:pt x="556" y="33"/>
                    <a:pt x="556" y="31"/>
                  </a:cubicBezTo>
                  <a:cubicBezTo>
                    <a:pt x="556" y="31"/>
                    <a:pt x="556" y="30"/>
                    <a:pt x="556" y="29"/>
                  </a:cubicBezTo>
                  <a:cubicBezTo>
                    <a:pt x="556" y="29"/>
                    <a:pt x="557" y="28"/>
                    <a:pt x="557" y="28"/>
                  </a:cubicBezTo>
                  <a:cubicBezTo>
                    <a:pt x="557" y="28"/>
                    <a:pt x="557" y="28"/>
                    <a:pt x="557" y="27"/>
                  </a:cubicBezTo>
                  <a:cubicBezTo>
                    <a:pt x="558" y="27"/>
                    <a:pt x="558" y="27"/>
                    <a:pt x="558" y="27"/>
                  </a:cubicBezTo>
                  <a:lnTo>
                    <a:pt x="566" y="27"/>
                  </a:lnTo>
                  <a:lnTo>
                    <a:pt x="566" y="14"/>
                  </a:lnTo>
                  <a:cubicBezTo>
                    <a:pt x="566" y="13"/>
                    <a:pt x="566" y="13"/>
                    <a:pt x="566" y="13"/>
                  </a:cubicBezTo>
                  <a:cubicBezTo>
                    <a:pt x="566" y="13"/>
                    <a:pt x="567" y="12"/>
                    <a:pt x="567" y="12"/>
                  </a:cubicBezTo>
                  <a:cubicBezTo>
                    <a:pt x="567" y="12"/>
                    <a:pt x="568" y="12"/>
                    <a:pt x="569" y="12"/>
                  </a:cubicBezTo>
                  <a:cubicBezTo>
                    <a:pt x="569" y="12"/>
                    <a:pt x="570" y="12"/>
                    <a:pt x="571" y="12"/>
                  </a:cubicBezTo>
                  <a:cubicBezTo>
                    <a:pt x="572" y="12"/>
                    <a:pt x="573" y="12"/>
                    <a:pt x="574" y="12"/>
                  </a:cubicBezTo>
                  <a:cubicBezTo>
                    <a:pt x="574" y="12"/>
                    <a:pt x="575" y="12"/>
                    <a:pt x="575" y="12"/>
                  </a:cubicBezTo>
                  <a:cubicBezTo>
                    <a:pt x="576" y="12"/>
                    <a:pt x="576" y="13"/>
                    <a:pt x="576" y="13"/>
                  </a:cubicBezTo>
                  <a:cubicBezTo>
                    <a:pt x="576" y="13"/>
                    <a:pt x="576" y="13"/>
                    <a:pt x="576" y="14"/>
                  </a:cubicBezTo>
                  <a:lnTo>
                    <a:pt x="576" y="27"/>
                  </a:lnTo>
                  <a:lnTo>
                    <a:pt x="591" y="27"/>
                  </a:lnTo>
                  <a:cubicBezTo>
                    <a:pt x="591" y="27"/>
                    <a:pt x="591" y="27"/>
                    <a:pt x="592" y="27"/>
                  </a:cubicBezTo>
                  <a:cubicBezTo>
                    <a:pt x="592" y="28"/>
                    <a:pt x="592" y="28"/>
                    <a:pt x="592" y="28"/>
                  </a:cubicBezTo>
                  <a:cubicBezTo>
                    <a:pt x="593" y="28"/>
                    <a:pt x="593" y="29"/>
                    <a:pt x="593" y="29"/>
                  </a:cubicBezTo>
                  <a:cubicBezTo>
                    <a:pt x="593" y="30"/>
                    <a:pt x="593" y="31"/>
                    <a:pt x="593" y="31"/>
                  </a:cubicBezTo>
                  <a:cubicBezTo>
                    <a:pt x="593" y="33"/>
                    <a:pt x="593" y="34"/>
                    <a:pt x="592" y="35"/>
                  </a:cubicBezTo>
                  <a:cubicBezTo>
                    <a:pt x="592" y="35"/>
                    <a:pt x="591" y="36"/>
                    <a:pt x="591" y="36"/>
                  </a:cubicBezTo>
                  <a:lnTo>
                    <a:pt x="576" y="36"/>
                  </a:lnTo>
                  <a:lnTo>
                    <a:pt x="576" y="67"/>
                  </a:lnTo>
                  <a:cubicBezTo>
                    <a:pt x="576" y="71"/>
                    <a:pt x="577" y="74"/>
                    <a:pt x="578" y="76"/>
                  </a:cubicBezTo>
                  <a:cubicBezTo>
                    <a:pt x="579" y="78"/>
                    <a:pt x="581" y="79"/>
                    <a:pt x="584" y="79"/>
                  </a:cubicBezTo>
                  <a:cubicBezTo>
                    <a:pt x="585" y="79"/>
                    <a:pt x="586" y="79"/>
                    <a:pt x="587" y="79"/>
                  </a:cubicBezTo>
                  <a:cubicBezTo>
                    <a:pt x="588" y="78"/>
                    <a:pt x="588" y="78"/>
                    <a:pt x="589" y="78"/>
                  </a:cubicBezTo>
                  <a:cubicBezTo>
                    <a:pt x="589" y="78"/>
                    <a:pt x="590" y="78"/>
                    <a:pt x="590" y="77"/>
                  </a:cubicBezTo>
                  <a:cubicBezTo>
                    <a:pt x="591" y="77"/>
                    <a:pt x="591" y="77"/>
                    <a:pt x="591" y="77"/>
                  </a:cubicBezTo>
                  <a:cubicBezTo>
                    <a:pt x="592" y="77"/>
                    <a:pt x="592" y="77"/>
                    <a:pt x="592" y="77"/>
                  </a:cubicBezTo>
                  <a:cubicBezTo>
                    <a:pt x="592" y="77"/>
                    <a:pt x="592" y="78"/>
                    <a:pt x="592" y="78"/>
                  </a:cubicBezTo>
                  <a:cubicBezTo>
                    <a:pt x="593" y="78"/>
                    <a:pt x="593" y="79"/>
                    <a:pt x="593" y="79"/>
                  </a:cubicBezTo>
                  <a:cubicBezTo>
                    <a:pt x="593" y="80"/>
                    <a:pt x="593" y="80"/>
                    <a:pt x="593" y="81"/>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52">
              <a:extLst>
                <a:ext uri="{FF2B5EF4-FFF2-40B4-BE49-F238E27FC236}">
                  <a16:creationId xmlns:a16="http://schemas.microsoft.com/office/drawing/2014/main" id="{5444FF7D-764E-407A-A6B8-6E9A3A885070}"/>
                </a:ext>
              </a:extLst>
            </p:cNvPr>
            <p:cNvSpPr>
              <a:spLocks noEditPoints="1"/>
            </p:cNvSpPr>
            <p:nvPr/>
          </p:nvSpPr>
          <p:spPr bwMode="auto">
            <a:xfrm>
              <a:off x="2933" y="2095"/>
              <a:ext cx="918" cy="174"/>
            </a:xfrm>
            <a:custGeom>
              <a:avLst/>
              <a:gdLst>
                <a:gd name="T0" fmla="*/ 37 w 2053"/>
                <a:gd name="T1" fmla="*/ 376 h 387"/>
                <a:gd name="T2" fmla="*/ 60 w 2053"/>
                <a:gd name="T3" fmla="*/ 363 h 387"/>
                <a:gd name="T4" fmla="*/ 62 w 2053"/>
                <a:gd name="T5" fmla="*/ 367 h 387"/>
                <a:gd name="T6" fmla="*/ 152 w 2053"/>
                <a:gd name="T7" fmla="*/ 332 h 387"/>
                <a:gd name="T8" fmla="*/ 117 w 2053"/>
                <a:gd name="T9" fmla="*/ 346 h 387"/>
                <a:gd name="T10" fmla="*/ 214 w 2053"/>
                <a:gd name="T11" fmla="*/ 314 h 387"/>
                <a:gd name="T12" fmla="*/ 176 w 2053"/>
                <a:gd name="T13" fmla="*/ 324 h 387"/>
                <a:gd name="T14" fmla="*/ 272 w 2053"/>
                <a:gd name="T15" fmla="*/ 295 h 387"/>
                <a:gd name="T16" fmla="*/ 233 w 2053"/>
                <a:gd name="T17" fmla="*/ 307 h 387"/>
                <a:gd name="T18" fmla="*/ 331 w 2053"/>
                <a:gd name="T19" fmla="*/ 278 h 387"/>
                <a:gd name="T20" fmla="*/ 294 w 2053"/>
                <a:gd name="T21" fmla="*/ 286 h 387"/>
                <a:gd name="T22" fmla="*/ 388 w 2053"/>
                <a:gd name="T23" fmla="*/ 264 h 387"/>
                <a:gd name="T24" fmla="*/ 412 w 2053"/>
                <a:gd name="T25" fmla="*/ 252 h 387"/>
                <a:gd name="T26" fmla="*/ 413 w 2053"/>
                <a:gd name="T27" fmla="*/ 257 h 387"/>
                <a:gd name="T28" fmla="*/ 501 w 2053"/>
                <a:gd name="T29" fmla="*/ 226 h 387"/>
                <a:gd name="T30" fmla="*/ 502 w 2053"/>
                <a:gd name="T31" fmla="*/ 231 h 387"/>
                <a:gd name="T32" fmla="*/ 530 w 2053"/>
                <a:gd name="T33" fmla="*/ 219 h 387"/>
                <a:gd name="T34" fmla="*/ 531 w 2053"/>
                <a:gd name="T35" fmla="*/ 224 h 387"/>
                <a:gd name="T36" fmla="*/ 624 w 2053"/>
                <a:gd name="T37" fmla="*/ 195 h 387"/>
                <a:gd name="T38" fmla="*/ 588 w 2053"/>
                <a:gd name="T39" fmla="*/ 207 h 387"/>
                <a:gd name="T40" fmla="*/ 687 w 2053"/>
                <a:gd name="T41" fmla="*/ 182 h 387"/>
                <a:gd name="T42" fmla="*/ 649 w 2053"/>
                <a:gd name="T43" fmla="*/ 189 h 387"/>
                <a:gd name="T44" fmla="*/ 745 w 2053"/>
                <a:gd name="T45" fmla="*/ 171 h 387"/>
                <a:gd name="T46" fmla="*/ 769 w 2053"/>
                <a:gd name="T47" fmla="*/ 160 h 387"/>
                <a:gd name="T48" fmla="*/ 770 w 2053"/>
                <a:gd name="T49" fmla="*/ 165 h 387"/>
                <a:gd name="T50" fmla="*/ 864 w 2053"/>
                <a:gd name="T51" fmla="*/ 140 h 387"/>
                <a:gd name="T52" fmla="*/ 827 w 2053"/>
                <a:gd name="T53" fmla="*/ 151 h 387"/>
                <a:gd name="T54" fmla="*/ 927 w 2053"/>
                <a:gd name="T55" fmla="*/ 130 h 387"/>
                <a:gd name="T56" fmla="*/ 889 w 2053"/>
                <a:gd name="T57" fmla="*/ 135 h 387"/>
                <a:gd name="T58" fmla="*/ 985 w 2053"/>
                <a:gd name="T59" fmla="*/ 121 h 387"/>
                <a:gd name="T60" fmla="*/ 1009 w 2053"/>
                <a:gd name="T61" fmla="*/ 110 h 387"/>
                <a:gd name="T62" fmla="*/ 1046 w 2053"/>
                <a:gd name="T63" fmla="*/ 109 h 387"/>
                <a:gd name="T64" fmla="*/ 1009 w 2053"/>
                <a:gd name="T65" fmla="*/ 110 h 387"/>
                <a:gd name="T66" fmla="*/ 1106 w 2053"/>
                <a:gd name="T67" fmla="*/ 99 h 387"/>
                <a:gd name="T68" fmla="*/ 1131 w 2053"/>
                <a:gd name="T69" fmla="*/ 90 h 387"/>
                <a:gd name="T70" fmla="*/ 1131 w 2053"/>
                <a:gd name="T71" fmla="*/ 95 h 387"/>
                <a:gd name="T72" fmla="*/ 1227 w 2053"/>
                <a:gd name="T73" fmla="*/ 74 h 387"/>
                <a:gd name="T74" fmla="*/ 1189 w 2053"/>
                <a:gd name="T75" fmla="*/ 83 h 387"/>
                <a:gd name="T76" fmla="*/ 1287 w 2053"/>
                <a:gd name="T77" fmla="*/ 64 h 387"/>
                <a:gd name="T78" fmla="*/ 1253 w 2053"/>
                <a:gd name="T79" fmla="*/ 75 h 387"/>
                <a:gd name="T80" fmla="*/ 1348 w 2053"/>
                <a:gd name="T81" fmla="*/ 57 h 387"/>
                <a:gd name="T82" fmla="*/ 1310 w 2053"/>
                <a:gd name="T83" fmla="*/ 64 h 387"/>
                <a:gd name="T84" fmla="*/ 1412 w 2053"/>
                <a:gd name="T85" fmla="*/ 51 h 387"/>
                <a:gd name="T86" fmla="*/ 1374 w 2053"/>
                <a:gd name="T87" fmla="*/ 54 h 387"/>
                <a:gd name="T88" fmla="*/ 1471 w 2053"/>
                <a:gd name="T89" fmla="*/ 46 h 387"/>
                <a:gd name="T90" fmla="*/ 1496 w 2053"/>
                <a:gd name="T91" fmla="*/ 38 h 387"/>
                <a:gd name="T92" fmla="*/ 1532 w 2053"/>
                <a:gd name="T93" fmla="*/ 39 h 387"/>
                <a:gd name="T94" fmla="*/ 1496 w 2053"/>
                <a:gd name="T95" fmla="*/ 38 h 387"/>
                <a:gd name="T96" fmla="*/ 1593 w 2053"/>
                <a:gd name="T97" fmla="*/ 34 h 387"/>
                <a:gd name="T98" fmla="*/ 1618 w 2053"/>
                <a:gd name="T99" fmla="*/ 26 h 387"/>
                <a:gd name="T100" fmla="*/ 1618 w 2053"/>
                <a:gd name="T101" fmla="*/ 31 h 387"/>
                <a:gd name="T102" fmla="*/ 1715 w 2053"/>
                <a:gd name="T103" fmla="*/ 18 h 387"/>
                <a:gd name="T104" fmla="*/ 1677 w 2053"/>
                <a:gd name="T105" fmla="*/ 24 h 387"/>
                <a:gd name="T106" fmla="*/ 1779 w 2053"/>
                <a:gd name="T107" fmla="*/ 15 h 387"/>
                <a:gd name="T108" fmla="*/ 1740 w 2053"/>
                <a:gd name="T109" fmla="*/ 16 h 387"/>
                <a:gd name="T110" fmla="*/ 1838 w 2053"/>
                <a:gd name="T111" fmla="*/ 15 h 387"/>
                <a:gd name="T112" fmla="*/ 1863 w 2053"/>
                <a:gd name="T113" fmla="*/ 8 h 387"/>
                <a:gd name="T114" fmla="*/ 1863 w 2053"/>
                <a:gd name="T115" fmla="*/ 14 h 387"/>
                <a:gd name="T116" fmla="*/ 1960 w 2053"/>
                <a:gd name="T117" fmla="*/ 4 h 387"/>
                <a:gd name="T118" fmla="*/ 1922 w 2053"/>
                <a:gd name="T119" fmla="*/ 8 h 387"/>
                <a:gd name="T120" fmla="*/ 2024 w 2053"/>
                <a:gd name="T121" fmla="*/ 4 h 387"/>
                <a:gd name="T122" fmla="*/ 1986 w 2053"/>
                <a:gd name="T123" fmla="*/ 3 h 387"/>
                <a:gd name="T124" fmla="*/ 2051 w 2053"/>
                <a:gd name="T125" fmla="*/ 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3" h="387">
                  <a:moveTo>
                    <a:pt x="2" y="382"/>
                  </a:moveTo>
                  <a:lnTo>
                    <a:pt x="36" y="371"/>
                  </a:lnTo>
                  <a:cubicBezTo>
                    <a:pt x="37" y="370"/>
                    <a:pt x="38" y="371"/>
                    <a:pt x="39" y="372"/>
                  </a:cubicBezTo>
                  <a:cubicBezTo>
                    <a:pt x="39" y="374"/>
                    <a:pt x="39" y="375"/>
                    <a:pt x="37" y="376"/>
                  </a:cubicBezTo>
                  <a:lnTo>
                    <a:pt x="3" y="387"/>
                  </a:lnTo>
                  <a:cubicBezTo>
                    <a:pt x="2" y="387"/>
                    <a:pt x="0" y="387"/>
                    <a:pt x="0" y="385"/>
                  </a:cubicBezTo>
                  <a:cubicBezTo>
                    <a:pt x="0" y="384"/>
                    <a:pt x="0" y="382"/>
                    <a:pt x="2" y="382"/>
                  </a:cubicBezTo>
                  <a:close/>
                  <a:moveTo>
                    <a:pt x="60" y="363"/>
                  </a:moveTo>
                  <a:lnTo>
                    <a:pt x="94" y="351"/>
                  </a:lnTo>
                  <a:cubicBezTo>
                    <a:pt x="95" y="351"/>
                    <a:pt x="97" y="351"/>
                    <a:pt x="97" y="353"/>
                  </a:cubicBezTo>
                  <a:cubicBezTo>
                    <a:pt x="98" y="354"/>
                    <a:pt x="97" y="356"/>
                    <a:pt x="96" y="356"/>
                  </a:cubicBezTo>
                  <a:lnTo>
                    <a:pt x="62" y="367"/>
                  </a:lnTo>
                  <a:cubicBezTo>
                    <a:pt x="60" y="368"/>
                    <a:pt x="59" y="367"/>
                    <a:pt x="58" y="366"/>
                  </a:cubicBezTo>
                  <a:cubicBezTo>
                    <a:pt x="58" y="364"/>
                    <a:pt x="59" y="363"/>
                    <a:pt x="60" y="363"/>
                  </a:cubicBezTo>
                  <a:close/>
                  <a:moveTo>
                    <a:pt x="118" y="343"/>
                  </a:moveTo>
                  <a:lnTo>
                    <a:pt x="152" y="332"/>
                  </a:lnTo>
                  <a:cubicBezTo>
                    <a:pt x="153" y="331"/>
                    <a:pt x="155" y="332"/>
                    <a:pt x="155" y="333"/>
                  </a:cubicBezTo>
                  <a:cubicBezTo>
                    <a:pt x="156" y="335"/>
                    <a:pt x="155" y="336"/>
                    <a:pt x="154" y="337"/>
                  </a:cubicBezTo>
                  <a:lnTo>
                    <a:pt x="120" y="348"/>
                  </a:lnTo>
                  <a:cubicBezTo>
                    <a:pt x="118" y="348"/>
                    <a:pt x="117" y="348"/>
                    <a:pt x="117" y="346"/>
                  </a:cubicBezTo>
                  <a:cubicBezTo>
                    <a:pt x="116" y="345"/>
                    <a:pt x="117" y="343"/>
                    <a:pt x="118" y="343"/>
                  </a:cubicBezTo>
                  <a:close/>
                  <a:moveTo>
                    <a:pt x="176" y="324"/>
                  </a:moveTo>
                  <a:lnTo>
                    <a:pt x="210" y="312"/>
                  </a:lnTo>
                  <a:cubicBezTo>
                    <a:pt x="212" y="312"/>
                    <a:pt x="213" y="312"/>
                    <a:pt x="214" y="314"/>
                  </a:cubicBezTo>
                  <a:cubicBezTo>
                    <a:pt x="214" y="315"/>
                    <a:pt x="213" y="317"/>
                    <a:pt x="212" y="317"/>
                  </a:cubicBezTo>
                  <a:lnTo>
                    <a:pt x="178" y="328"/>
                  </a:lnTo>
                  <a:cubicBezTo>
                    <a:pt x="177" y="329"/>
                    <a:pt x="175" y="328"/>
                    <a:pt x="175" y="327"/>
                  </a:cubicBezTo>
                  <a:cubicBezTo>
                    <a:pt x="174" y="325"/>
                    <a:pt x="175" y="324"/>
                    <a:pt x="176" y="324"/>
                  </a:cubicBezTo>
                  <a:close/>
                  <a:moveTo>
                    <a:pt x="235" y="304"/>
                  </a:moveTo>
                  <a:lnTo>
                    <a:pt x="250" y="299"/>
                  </a:lnTo>
                  <a:lnTo>
                    <a:pt x="269" y="293"/>
                  </a:lnTo>
                  <a:cubicBezTo>
                    <a:pt x="270" y="293"/>
                    <a:pt x="272" y="294"/>
                    <a:pt x="272" y="295"/>
                  </a:cubicBezTo>
                  <a:cubicBezTo>
                    <a:pt x="273" y="297"/>
                    <a:pt x="272" y="298"/>
                    <a:pt x="270" y="298"/>
                  </a:cubicBezTo>
                  <a:lnTo>
                    <a:pt x="251" y="304"/>
                  </a:lnTo>
                  <a:lnTo>
                    <a:pt x="236" y="309"/>
                  </a:lnTo>
                  <a:cubicBezTo>
                    <a:pt x="235" y="309"/>
                    <a:pt x="234" y="309"/>
                    <a:pt x="233" y="307"/>
                  </a:cubicBezTo>
                  <a:cubicBezTo>
                    <a:pt x="233" y="306"/>
                    <a:pt x="233" y="304"/>
                    <a:pt x="235" y="304"/>
                  </a:cubicBezTo>
                  <a:close/>
                  <a:moveTo>
                    <a:pt x="294" y="286"/>
                  </a:moveTo>
                  <a:lnTo>
                    <a:pt x="328" y="276"/>
                  </a:lnTo>
                  <a:cubicBezTo>
                    <a:pt x="329" y="276"/>
                    <a:pt x="331" y="277"/>
                    <a:pt x="331" y="278"/>
                  </a:cubicBezTo>
                  <a:cubicBezTo>
                    <a:pt x="332" y="279"/>
                    <a:pt x="331" y="281"/>
                    <a:pt x="329" y="281"/>
                  </a:cubicBezTo>
                  <a:lnTo>
                    <a:pt x="295" y="291"/>
                  </a:lnTo>
                  <a:cubicBezTo>
                    <a:pt x="294" y="292"/>
                    <a:pt x="292" y="291"/>
                    <a:pt x="292" y="289"/>
                  </a:cubicBezTo>
                  <a:cubicBezTo>
                    <a:pt x="291" y="288"/>
                    <a:pt x="292" y="287"/>
                    <a:pt x="294" y="286"/>
                  </a:cubicBezTo>
                  <a:close/>
                  <a:moveTo>
                    <a:pt x="353" y="269"/>
                  </a:moveTo>
                  <a:lnTo>
                    <a:pt x="387" y="259"/>
                  </a:lnTo>
                  <a:cubicBezTo>
                    <a:pt x="388" y="259"/>
                    <a:pt x="390" y="259"/>
                    <a:pt x="390" y="261"/>
                  </a:cubicBezTo>
                  <a:cubicBezTo>
                    <a:pt x="391" y="262"/>
                    <a:pt x="390" y="264"/>
                    <a:pt x="388" y="264"/>
                  </a:cubicBezTo>
                  <a:lnTo>
                    <a:pt x="354" y="274"/>
                  </a:lnTo>
                  <a:cubicBezTo>
                    <a:pt x="353" y="274"/>
                    <a:pt x="351" y="274"/>
                    <a:pt x="351" y="272"/>
                  </a:cubicBezTo>
                  <a:cubicBezTo>
                    <a:pt x="350" y="271"/>
                    <a:pt x="351" y="269"/>
                    <a:pt x="353" y="269"/>
                  </a:cubicBezTo>
                  <a:close/>
                  <a:moveTo>
                    <a:pt x="412" y="252"/>
                  </a:moveTo>
                  <a:lnTo>
                    <a:pt x="446" y="242"/>
                  </a:lnTo>
                  <a:cubicBezTo>
                    <a:pt x="447" y="242"/>
                    <a:pt x="449" y="242"/>
                    <a:pt x="449" y="244"/>
                  </a:cubicBezTo>
                  <a:cubicBezTo>
                    <a:pt x="450" y="245"/>
                    <a:pt x="449" y="246"/>
                    <a:pt x="447" y="247"/>
                  </a:cubicBezTo>
                  <a:lnTo>
                    <a:pt x="413" y="257"/>
                  </a:lnTo>
                  <a:cubicBezTo>
                    <a:pt x="412" y="257"/>
                    <a:pt x="410" y="256"/>
                    <a:pt x="410" y="255"/>
                  </a:cubicBezTo>
                  <a:cubicBezTo>
                    <a:pt x="409" y="254"/>
                    <a:pt x="410" y="252"/>
                    <a:pt x="412" y="252"/>
                  </a:cubicBezTo>
                  <a:close/>
                  <a:moveTo>
                    <a:pt x="471" y="235"/>
                  </a:moveTo>
                  <a:lnTo>
                    <a:pt x="501" y="226"/>
                  </a:lnTo>
                  <a:lnTo>
                    <a:pt x="505" y="225"/>
                  </a:lnTo>
                  <a:cubicBezTo>
                    <a:pt x="506" y="225"/>
                    <a:pt x="508" y="225"/>
                    <a:pt x="508" y="227"/>
                  </a:cubicBezTo>
                  <a:cubicBezTo>
                    <a:pt x="509" y="228"/>
                    <a:pt x="508" y="230"/>
                    <a:pt x="506" y="230"/>
                  </a:cubicBezTo>
                  <a:lnTo>
                    <a:pt x="502" y="231"/>
                  </a:lnTo>
                  <a:lnTo>
                    <a:pt x="472" y="240"/>
                  </a:lnTo>
                  <a:cubicBezTo>
                    <a:pt x="471" y="240"/>
                    <a:pt x="469" y="239"/>
                    <a:pt x="469" y="238"/>
                  </a:cubicBezTo>
                  <a:cubicBezTo>
                    <a:pt x="468" y="237"/>
                    <a:pt x="469" y="235"/>
                    <a:pt x="471" y="235"/>
                  </a:cubicBezTo>
                  <a:close/>
                  <a:moveTo>
                    <a:pt x="530" y="219"/>
                  </a:moveTo>
                  <a:lnTo>
                    <a:pt x="565" y="210"/>
                  </a:lnTo>
                  <a:cubicBezTo>
                    <a:pt x="566" y="210"/>
                    <a:pt x="567" y="211"/>
                    <a:pt x="568" y="212"/>
                  </a:cubicBezTo>
                  <a:cubicBezTo>
                    <a:pt x="568" y="213"/>
                    <a:pt x="567" y="215"/>
                    <a:pt x="566" y="215"/>
                  </a:cubicBezTo>
                  <a:lnTo>
                    <a:pt x="531" y="224"/>
                  </a:lnTo>
                  <a:cubicBezTo>
                    <a:pt x="530" y="224"/>
                    <a:pt x="528" y="223"/>
                    <a:pt x="528" y="222"/>
                  </a:cubicBezTo>
                  <a:cubicBezTo>
                    <a:pt x="528" y="220"/>
                    <a:pt x="529" y="219"/>
                    <a:pt x="530" y="219"/>
                  </a:cubicBezTo>
                  <a:close/>
                  <a:moveTo>
                    <a:pt x="590" y="204"/>
                  </a:moveTo>
                  <a:lnTo>
                    <a:pt x="624" y="195"/>
                  </a:lnTo>
                  <a:cubicBezTo>
                    <a:pt x="626" y="195"/>
                    <a:pt x="627" y="196"/>
                    <a:pt x="627" y="197"/>
                  </a:cubicBezTo>
                  <a:cubicBezTo>
                    <a:pt x="628" y="199"/>
                    <a:pt x="627" y="200"/>
                    <a:pt x="626" y="200"/>
                  </a:cubicBezTo>
                  <a:lnTo>
                    <a:pt x="591" y="209"/>
                  </a:lnTo>
                  <a:cubicBezTo>
                    <a:pt x="589" y="209"/>
                    <a:pt x="588" y="208"/>
                    <a:pt x="588" y="207"/>
                  </a:cubicBezTo>
                  <a:cubicBezTo>
                    <a:pt x="587" y="206"/>
                    <a:pt x="588" y="204"/>
                    <a:pt x="590" y="204"/>
                  </a:cubicBezTo>
                  <a:close/>
                  <a:moveTo>
                    <a:pt x="649" y="189"/>
                  </a:moveTo>
                  <a:lnTo>
                    <a:pt x="684" y="181"/>
                  </a:lnTo>
                  <a:cubicBezTo>
                    <a:pt x="685" y="180"/>
                    <a:pt x="687" y="181"/>
                    <a:pt x="687" y="182"/>
                  </a:cubicBezTo>
                  <a:cubicBezTo>
                    <a:pt x="687" y="184"/>
                    <a:pt x="687" y="185"/>
                    <a:pt x="685" y="186"/>
                  </a:cubicBezTo>
                  <a:lnTo>
                    <a:pt x="650" y="194"/>
                  </a:lnTo>
                  <a:cubicBezTo>
                    <a:pt x="649" y="194"/>
                    <a:pt x="648" y="194"/>
                    <a:pt x="647" y="192"/>
                  </a:cubicBezTo>
                  <a:cubicBezTo>
                    <a:pt x="647" y="191"/>
                    <a:pt x="648" y="190"/>
                    <a:pt x="649" y="189"/>
                  </a:cubicBezTo>
                  <a:close/>
                  <a:moveTo>
                    <a:pt x="709" y="174"/>
                  </a:moveTo>
                  <a:lnTo>
                    <a:pt x="744" y="166"/>
                  </a:lnTo>
                  <a:cubicBezTo>
                    <a:pt x="745" y="165"/>
                    <a:pt x="746" y="166"/>
                    <a:pt x="747" y="168"/>
                  </a:cubicBezTo>
                  <a:cubicBezTo>
                    <a:pt x="747" y="169"/>
                    <a:pt x="746" y="170"/>
                    <a:pt x="745" y="171"/>
                  </a:cubicBezTo>
                  <a:lnTo>
                    <a:pt x="710" y="179"/>
                  </a:lnTo>
                  <a:cubicBezTo>
                    <a:pt x="709" y="180"/>
                    <a:pt x="707" y="179"/>
                    <a:pt x="707" y="177"/>
                  </a:cubicBezTo>
                  <a:cubicBezTo>
                    <a:pt x="707" y="176"/>
                    <a:pt x="707" y="175"/>
                    <a:pt x="709" y="174"/>
                  </a:cubicBezTo>
                  <a:close/>
                  <a:moveTo>
                    <a:pt x="769" y="160"/>
                  </a:moveTo>
                  <a:lnTo>
                    <a:pt x="804" y="153"/>
                  </a:lnTo>
                  <a:cubicBezTo>
                    <a:pt x="805" y="153"/>
                    <a:pt x="807" y="153"/>
                    <a:pt x="807" y="155"/>
                  </a:cubicBezTo>
                  <a:cubicBezTo>
                    <a:pt x="807" y="156"/>
                    <a:pt x="806" y="158"/>
                    <a:pt x="805" y="158"/>
                  </a:cubicBezTo>
                  <a:lnTo>
                    <a:pt x="770" y="165"/>
                  </a:lnTo>
                  <a:cubicBezTo>
                    <a:pt x="768" y="165"/>
                    <a:pt x="767" y="165"/>
                    <a:pt x="767" y="163"/>
                  </a:cubicBezTo>
                  <a:cubicBezTo>
                    <a:pt x="766" y="162"/>
                    <a:pt x="767" y="160"/>
                    <a:pt x="769" y="160"/>
                  </a:cubicBezTo>
                  <a:close/>
                  <a:moveTo>
                    <a:pt x="829" y="148"/>
                  </a:moveTo>
                  <a:lnTo>
                    <a:pt x="864" y="140"/>
                  </a:lnTo>
                  <a:cubicBezTo>
                    <a:pt x="865" y="140"/>
                    <a:pt x="867" y="141"/>
                    <a:pt x="867" y="142"/>
                  </a:cubicBezTo>
                  <a:cubicBezTo>
                    <a:pt x="867" y="144"/>
                    <a:pt x="866" y="145"/>
                    <a:pt x="865" y="145"/>
                  </a:cubicBezTo>
                  <a:lnTo>
                    <a:pt x="830" y="153"/>
                  </a:lnTo>
                  <a:cubicBezTo>
                    <a:pt x="828" y="153"/>
                    <a:pt x="827" y="152"/>
                    <a:pt x="827" y="151"/>
                  </a:cubicBezTo>
                  <a:cubicBezTo>
                    <a:pt x="827" y="149"/>
                    <a:pt x="827" y="148"/>
                    <a:pt x="829" y="148"/>
                  </a:cubicBezTo>
                  <a:close/>
                  <a:moveTo>
                    <a:pt x="889" y="135"/>
                  </a:moveTo>
                  <a:lnTo>
                    <a:pt x="924" y="128"/>
                  </a:lnTo>
                  <a:cubicBezTo>
                    <a:pt x="925" y="128"/>
                    <a:pt x="927" y="129"/>
                    <a:pt x="927" y="130"/>
                  </a:cubicBezTo>
                  <a:cubicBezTo>
                    <a:pt x="927" y="131"/>
                    <a:pt x="927" y="133"/>
                    <a:pt x="925" y="133"/>
                  </a:cubicBezTo>
                  <a:lnTo>
                    <a:pt x="890" y="140"/>
                  </a:lnTo>
                  <a:cubicBezTo>
                    <a:pt x="889" y="141"/>
                    <a:pt x="887" y="140"/>
                    <a:pt x="887" y="138"/>
                  </a:cubicBezTo>
                  <a:cubicBezTo>
                    <a:pt x="887" y="137"/>
                    <a:pt x="888" y="135"/>
                    <a:pt x="889" y="135"/>
                  </a:cubicBezTo>
                  <a:close/>
                  <a:moveTo>
                    <a:pt x="949" y="123"/>
                  </a:moveTo>
                  <a:lnTo>
                    <a:pt x="984" y="115"/>
                  </a:lnTo>
                  <a:cubicBezTo>
                    <a:pt x="986" y="115"/>
                    <a:pt x="987" y="116"/>
                    <a:pt x="987" y="117"/>
                  </a:cubicBezTo>
                  <a:cubicBezTo>
                    <a:pt x="988" y="119"/>
                    <a:pt x="987" y="120"/>
                    <a:pt x="985" y="121"/>
                  </a:cubicBezTo>
                  <a:lnTo>
                    <a:pt x="950" y="128"/>
                  </a:lnTo>
                  <a:cubicBezTo>
                    <a:pt x="949" y="128"/>
                    <a:pt x="947" y="127"/>
                    <a:pt x="947" y="126"/>
                  </a:cubicBezTo>
                  <a:cubicBezTo>
                    <a:pt x="947" y="124"/>
                    <a:pt x="948" y="123"/>
                    <a:pt x="949" y="123"/>
                  </a:cubicBezTo>
                  <a:close/>
                  <a:moveTo>
                    <a:pt x="1009" y="110"/>
                  </a:moveTo>
                  <a:lnTo>
                    <a:pt x="1011" y="110"/>
                  </a:lnTo>
                  <a:lnTo>
                    <a:pt x="1045" y="104"/>
                  </a:lnTo>
                  <a:cubicBezTo>
                    <a:pt x="1046" y="104"/>
                    <a:pt x="1047" y="105"/>
                    <a:pt x="1048" y="106"/>
                  </a:cubicBezTo>
                  <a:cubicBezTo>
                    <a:pt x="1048" y="108"/>
                    <a:pt x="1047" y="109"/>
                    <a:pt x="1046" y="109"/>
                  </a:cubicBezTo>
                  <a:lnTo>
                    <a:pt x="1012" y="115"/>
                  </a:lnTo>
                  <a:lnTo>
                    <a:pt x="1010" y="115"/>
                  </a:lnTo>
                  <a:cubicBezTo>
                    <a:pt x="1009" y="116"/>
                    <a:pt x="1008" y="115"/>
                    <a:pt x="1007" y="113"/>
                  </a:cubicBezTo>
                  <a:cubicBezTo>
                    <a:pt x="1007" y="112"/>
                    <a:pt x="1008" y="111"/>
                    <a:pt x="1009" y="110"/>
                  </a:cubicBezTo>
                  <a:close/>
                  <a:moveTo>
                    <a:pt x="1070" y="100"/>
                  </a:moveTo>
                  <a:lnTo>
                    <a:pt x="1105" y="94"/>
                  </a:lnTo>
                  <a:cubicBezTo>
                    <a:pt x="1107" y="94"/>
                    <a:pt x="1108" y="95"/>
                    <a:pt x="1108" y="96"/>
                  </a:cubicBezTo>
                  <a:cubicBezTo>
                    <a:pt x="1109" y="98"/>
                    <a:pt x="1108" y="99"/>
                    <a:pt x="1106" y="99"/>
                  </a:cubicBezTo>
                  <a:lnTo>
                    <a:pt x="1071" y="105"/>
                  </a:lnTo>
                  <a:cubicBezTo>
                    <a:pt x="1069" y="105"/>
                    <a:pt x="1068" y="104"/>
                    <a:pt x="1068" y="103"/>
                  </a:cubicBezTo>
                  <a:cubicBezTo>
                    <a:pt x="1068" y="102"/>
                    <a:pt x="1069" y="100"/>
                    <a:pt x="1070" y="100"/>
                  </a:cubicBezTo>
                  <a:close/>
                  <a:moveTo>
                    <a:pt x="1131" y="90"/>
                  </a:moveTo>
                  <a:lnTo>
                    <a:pt x="1166" y="84"/>
                  </a:lnTo>
                  <a:cubicBezTo>
                    <a:pt x="1167" y="84"/>
                    <a:pt x="1169" y="85"/>
                    <a:pt x="1169" y="86"/>
                  </a:cubicBezTo>
                  <a:cubicBezTo>
                    <a:pt x="1169" y="88"/>
                    <a:pt x="1168" y="89"/>
                    <a:pt x="1167" y="89"/>
                  </a:cubicBezTo>
                  <a:lnTo>
                    <a:pt x="1131" y="95"/>
                  </a:lnTo>
                  <a:cubicBezTo>
                    <a:pt x="1130" y="95"/>
                    <a:pt x="1129" y="94"/>
                    <a:pt x="1128" y="93"/>
                  </a:cubicBezTo>
                  <a:cubicBezTo>
                    <a:pt x="1128" y="91"/>
                    <a:pt x="1129" y="90"/>
                    <a:pt x="1131" y="90"/>
                  </a:cubicBezTo>
                  <a:close/>
                  <a:moveTo>
                    <a:pt x="1191" y="80"/>
                  </a:moveTo>
                  <a:lnTo>
                    <a:pt x="1227" y="74"/>
                  </a:lnTo>
                  <a:cubicBezTo>
                    <a:pt x="1228" y="74"/>
                    <a:pt x="1229" y="75"/>
                    <a:pt x="1229" y="76"/>
                  </a:cubicBezTo>
                  <a:cubicBezTo>
                    <a:pt x="1230" y="77"/>
                    <a:pt x="1229" y="79"/>
                    <a:pt x="1227" y="79"/>
                  </a:cubicBezTo>
                  <a:lnTo>
                    <a:pt x="1192" y="85"/>
                  </a:lnTo>
                  <a:cubicBezTo>
                    <a:pt x="1191" y="85"/>
                    <a:pt x="1189" y="84"/>
                    <a:pt x="1189" y="83"/>
                  </a:cubicBezTo>
                  <a:cubicBezTo>
                    <a:pt x="1189" y="81"/>
                    <a:pt x="1190" y="80"/>
                    <a:pt x="1191" y="80"/>
                  </a:cubicBezTo>
                  <a:close/>
                  <a:moveTo>
                    <a:pt x="1252" y="70"/>
                  </a:moveTo>
                  <a:lnTo>
                    <a:pt x="1268" y="67"/>
                  </a:lnTo>
                  <a:lnTo>
                    <a:pt x="1287" y="64"/>
                  </a:lnTo>
                  <a:cubicBezTo>
                    <a:pt x="1289" y="64"/>
                    <a:pt x="1290" y="65"/>
                    <a:pt x="1290" y="67"/>
                  </a:cubicBezTo>
                  <a:cubicBezTo>
                    <a:pt x="1290" y="68"/>
                    <a:pt x="1289" y="69"/>
                    <a:pt x="1288" y="70"/>
                  </a:cubicBezTo>
                  <a:lnTo>
                    <a:pt x="1269" y="72"/>
                  </a:lnTo>
                  <a:lnTo>
                    <a:pt x="1253" y="75"/>
                  </a:lnTo>
                  <a:cubicBezTo>
                    <a:pt x="1251" y="75"/>
                    <a:pt x="1250" y="74"/>
                    <a:pt x="1250" y="73"/>
                  </a:cubicBezTo>
                  <a:cubicBezTo>
                    <a:pt x="1249" y="71"/>
                    <a:pt x="1250" y="70"/>
                    <a:pt x="1252" y="70"/>
                  </a:cubicBezTo>
                  <a:close/>
                  <a:moveTo>
                    <a:pt x="1313" y="61"/>
                  </a:moveTo>
                  <a:lnTo>
                    <a:pt x="1348" y="57"/>
                  </a:lnTo>
                  <a:cubicBezTo>
                    <a:pt x="1350" y="57"/>
                    <a:pt x="1351" y="58"/>
                    <a:pt x="1351" y="59"/>
                  </a:cubicBezTo>
                  <a:cubicBezTo>
                    <a:pt x="1351" y="60"/>
                    <a:pt x="1350" y="62"/>
                    <a:pt x="1349" y="62"/>
                  </a:cubicBezTo>
                  <a:lnTo>
                    <a:pt x="1313" y="66"/>
                  </a:lnTo>
                  <a:cubicBezTo>
                    <a:pt x="1312" y="67"/>
                    <a:pt x="1311" y="66"/>
                    <a:pt x="1310" y="64"/>
                  </a:cubicBezTo>
                  <a:cubicBezTo>
                    <a:pt x="1310" y="63"/>
                    <a:pt x="1311" y="61"/>
                    <a:pt x="1313" y="61"/>
                  </a:cubicBezTo>
                  <a:close/>
                  <a:moveTo>
                    <a:pt x="1374" y="54"/>
                  </a:moveTo>
                  <a:lnTo>
                    <a:pt x="1409" y="49"/>
                  </a:lnTo>
                  <a:cubicBezTo>
                    <a:pt x="1411" y="49"/>
                    <a:pt x="1412" y="50"/>
                    <a:pt x="1412" y="51"/>
                  </a:cubicBezTo>
                  <a:cubicBezTo>
                    <a:pt x="1412" y="53"/>
                    <a:pt x="1411" y="54"/>
                    <a:pt x="1410" y="54"/>
                  </a:cubicBezTo>
                  <a:lnTo>
                    <a:pt x="1374" y="59"/>
                  </a:lnTo>
                  <a:cubicBezTo>
                    <a:pt x="1373" y="59"/>
                    <a:pt x="1372" y="58"/>
                    <a:pt x="1371" y="56"/>
                  </a:cubicBezTo>
                  <a:cubicBezTo>
                    <a:pt x="1371" y="55"/>
                    <a:pt x="1372" y="54"/>
                    <a:pt x="1374" y="54"/>
                  </a:cubicBezTo>
                  <a:close/>
                  <a:moveTo>
                    <a:pt x="1435" y="46"/>
                  </a:moveTo>
                  <a:lnTo>
                    <a:pt x="1470" y="41"/>
                  </a:lnTo>
                  <a:cubicBezTo>
                    <a:pt x="1472" y="41"/>
                    <a:pt x="1473" y="42"/>
                    <a:pt x="1473" y="44"/>
                  </a:cubicBezTo>
                  <a:cubicBezTo>
                    <a:pt x="1473" y="45"/>
                    <a:pt x="1472" y="46"/>
                    <a:pt x="1471" y="46"/>
                  </a:cubicBezTo>
                  <a:lnTo>
                    <a:pt x="1435" y="51"/>
                  </a:lnTo>
                  <a:cubicBezTo>
                    <a:pt x="1434" y="51"/>
                    <a:pt x="1433" y="50"/>
                    <a:pt x="1432" y="49"/>
                  </a:cubicBezTo>
                  <a:cubicBezTo>
                    <a:pt x="1432" y="47"/>
                    <a:pt x="1433" y="46"/>
                    <a:pt x="1435" y="46"/>
                  </a:cubicBezTo>
                  <a:close/>
                  <a:moveTo>
                    <a:pt x="1496" y="38"/>
                  </a:moveTo>
                  <a:lnTo>
                    <a:pt x="1528" y="34"/>
                  </a:lnTo>
                  <a:lnTo>
                    <a:pt x="1531" y="34"/>
                  </a:lnTo>
                  <a:cubicBezTo>
                    <a:pt x="1533" y="34"/>
                    <a:pt x="1534" y="35"/>
                    <a:pt x="1534" y="36"/>
                  </a:cubicBezTo>
                  <a:cubicBezTo>
                    <a:pt x="1534" y="37"/>
                    <a:pt x="1533" y="39"/>
                    <a:pt x="1532" y="39"/>
                  </a:cubicBezTo>
                  <a:lnTo>
                    <a:pt x="1529" y="39"/>
                  </a:lnTo>
                  <a:lnTo>
                    <a:pt x="1496" y="43"/>
                  </a:lnTo>
                  <a:cubicBezTo>
                    <a:pt x="1495" y="43"/>
                    <a:pt x="1494" y="42"/>
                    <a:pt x="1493" y="41"/>
                  </a:cubicBezTo>
                  <a:cubicBezTo>
                    <a:pt x="1493" y="40"/>
                    <a:pt x="1494" y="38"/>
                    <a:pt x="1496" y="38"/>
                  </a:cubicBezTo>
                  <a:close/>
                  <a:moveTo>
                    <a:pt x="1557" y="32"/>
                  </a:moveTo>
                  <a:lnTo>
                    <a:pt x="1592" y="28"/>
                  </a:lnTo>
                  <a:cubicBezTo>
                    <a:pt x="1594" y="28"/>
                    <a:pt x="1595" y="29"/>
                    <a:pt x="1595" y="31"/>
                  </a:cubicBezTo>
                  <a:cubicBezTo>
                    <a:pt x="1595" y="32"/>
                    <a:pt x="1594" y="33"/>
                    <a:pt x="1593" y="34"/>
                  </a:cubicBezTo>
                  <a:lnTo>
                    <a:pt x="1557" y="37"/>
                  </a:lnTo>
                  <a:cubicBezTo>
                    <a:pt x="1556" y="37"/>
                    <a:pt x="1555" y="36"/>
                    <a:pt x="1554" y="34"/>
                  </a:cubicBezTo>
                  <a:cubicBezTo>
                    <a:pt x="1554" y="33"/>
                    <a:pt x="1555" y="32"/>
                    <a:pt x="1557" y="32"/>
                  </a:cubicBezTo>
                  <a:close/>
                  <a:moveTo>
                    <a:pt x="1618" y="26"/>
                  </a:moveTo>
                  <a:lnTo>
                    <a:pt x="1654" y="23"/>
                  </a:lnTo>
                  <a:cubicBezTo>
                    <a:pt x="1655" y="23"/>
                    <a:pt x="1656" y="24"/>
                    <a:pt x="1656" y="26"/>
                  </a:cubicBezTo>
                  <a:cubicBezTo>
                    <a:pt x="1657" y="27"/>
                    <a:pt x="1655" y="28"/>
                    <a:pt x="1654" y="28"/>
                  </a:cubicBezTo>
                  <a:lnTo>
                    <a:pt x="1618" y="31"/>
                  </a:lnTo>
                  <a:cubicBezTo>
                    <a:pt x="1617" y="32"/>
                    <a:pt x="1616" y="31"/>
                    <a:pt x="1616" y="29"/>
                  </a:cubicBezTo>
                  <a:cubicBezTo>
                    <a:pt x="1615" y="28"/>
                    <a:pt x="1617" y="26"/>
                    <a:pt x="1618" y="26"/>
                  </a:cubicBezTo>
                  <a:close/>
                  <a:moveTo>
                    <a:pt x="1679" y="21"/>
                  </a:moveTo>
                  <a:lnTo>
                    <a:pt x="1715" y="18"/>
                  </a:lnTo>
                  <a:cubicBezTo>
                    <a:pt x="1716" y="18"/>
                    <a:pt x="1718" y="19"/>
                    <a:pt x="1718" y="20"/>
                  </a:cubicBezTo>
                  <a:cubicBezTo>
                    <a:pt x="1718" y="22"/>
                    <a:pt x="1717" y="23"/>
                    <a:pt x="1715" y="23"/>
                  </a:cubicBezTo>
                  <a:lnTo>
                    <a:pt x="1680" y="26"/>
                  </a:lnTo>
                  <a:cubicBezTo>
                    <a:pt x="1678" y="26"/>
                    <a:pt x="1677" y="25"/>
                    <a:pt x="1677" y="24"/>
                  </a:cubicBezTo>
                  <a:cubicBezTo>
                    <a:pt x="1677" y="23"/>
                    <a:pt x="1678" y="21"/>
                    <a:pt x="1679" y="21"/>
                  </a:cubicBezTo>
                  <a:close/>
                  <a:moveTo>
                    <a:pt x="1740" y="16"/>
                  </a:moveTo>
                  <a:lnTo>
                    <a:pt x="1776" y="13"/>
                  </a:lnTo>
                  <a:cubicBezTo>
                    <a:pt x="1777" y="13"/>
                    <a:pt x="1779" y="14"/>
                    <a:pt x="1779" y="15"/>
                  </a:cubicBezTo>
                  <a:cubicBezTo>
                    <a:pt x="1779" y="17"/>
                    <a:pt x="1778" y="18"/>
                    <a:pt x="1777" y="18"/>
                  </a:cubicBezTo>
                  <a:lnTo>
                    <a:pt x="1741" y="21"/>
                  </a:lnTo>
                  <a:cubicBezTo>
                    <a:pt x="1739" y="21"/>
                    <a:pt x="1738" y="20"/>
                    <a:pt x="1738" y="19"/>
                  </a:cubicBezTo>
                  <a:cubicBezTo>
                    <a:pt x="1738" y="17"/>
                    <a:pt x="1739" y="16"/>
                    <a:pt x="1740" y="16"/>
                  </a:cubicBezTo>
                  <a:close/>
                  <a:moveTo>
                    <a:pt x="1802" y="11"/>
                  </a:moveTo>
                  <a:lnTo>
                    <a:pt x="1838" y="10"/>
                  </a:lnTo>
                  <a:cubicBezTo>
                    <a:pt x="1839" y="10"/>
                    <a:pt x="1840" y="11"/>
                    <a:pt x="1840" y="12"/>
                  </a:cubicBezTo>
                  <a:cubicBezTo>
                    <a:pt x="1840" y="14"/>
                    <a:pt x="1839" y="15"/>
                    <a:pt x="1838" y="15"/>
                  </a:cubicBezTo>
                  <a:lnTo>
                    <a:pt x="1802" y="16"/>
                  </a:lnTo>
                  <a:cubicBezTo>
                    <a:pt x="1801" y="16"/>
                    <a:pt x="1799" y="15"/>
                    <a:pt x="1799" y="14"/>
                  </a:cubicBezTo>
                  <a:cubicBezTo>
                    <a:pt x="1799" y="13"/>
                    <a:pt x="1800" y="11"/>
                    <a:pt x="1802" y="11"/>
                  </a:cubicBezTo>
                  <a:close/>
                  <a:moveTo>
                    <a:pt x="1863" y="8"/>
                  </a:moveTo>
                  <a:lnTo>
                    <a:pt x="1899" y="7"/>
                  </a:lnTo>
                  <a:cubicBezTo>
                    <a:pt x="1900" y="7"/>
                    <a:pt x="1901" y="8"/>
                    <a:pt x="1902" y="9"/>
                  </a:cubicBezTo>
                  <a:cubicBezTo>
                    <a:pt x="1902" y="11"/>
                    <a:pt x="1901" y="12"/>
                    <a:pt x="1899" y="12"/>
                  </a:cubicBezTo>
                  <a:lnTo>
                    <a:pt x="1863" y="14"/>
                  </a:lnTo>
                  <a:cubicBezTo>
                    <a:pt x="1862" y="14"/>
                    <a:pt x="1861" y="13"/>
                    <a:pt x="1861" y="11"/>
                  </a:cubicBezTo>
                  <a:cubicBezTo>
                    <a:pt x="1861" y="10"/>
                    <a:pt x="1862" y="9"/>
                    <a:pt x="1863" y="8"/>
                  </a:cubicBezTo>
                  <a:close/>
                  <a:moveTo>
                    <a:pt x="1924" y="6"/>
                  </a:moveTo>
                  <a:lnTo>
                    <a:pt x="1960" y="4"/>
                  </a:lnTo>
                  <a:cubicBezTo>
                    <a:pt x="1962" y="4"/>
                    <a:pt x="1963" y="5"/>
                    <a:pt x="1963" y="6"/>
                  </a:cubicBezTo>
                  <a:cubicBezTo>
                    <a:pt x="1963" y="8"/>
                    <a:pt x="1962" y="9"/>
                    <a:pt x="1960" y="9"/>
                  </a:cubicBezTo>
                  <a:lnTo>
                    <a:pt x="1925" y="11"/>
                  </a:lnTo>
                  <a:cubicBezTo>
                    <a:pt x="1923" y="11"/>
                    <a:pt x="1922" y="10"/>
                    <a:pt x="1922" y="8"/>
                  </a:cubicBezTo>
                  <a:cubicBezTo>
                    <a:pt x="1922" y="7"/>
                    <a:pt x="1923" y="6"/>
                    <a:pt x="1924" y="6"/>
                  </a:cubicBezTo>
                  <a:close/>
                  <a:moveTo>
                    <a:pt x="1986" y="3"/>
                  </a:moveTo>
                  <a:lnTo>
                    <a:pt x="2022" y="1"/>
                  </a:lnTo>
                  <a:cubicBezTo>
                    <a:pt x="2023" y="1"/>
                    <a:pt x="2024" y="2"/>
                    <a:pt x="2024" y="4"/>
                  </a:cubicBezTo>
                  <a:cubicBezTo>
                    <a:pt x="2024" y="5"/>
                    <a:pt x="2023" y="6"/>
                    <a:pt x="2022" y="6"/>
                  </a:cubicBezTo>
                  <a:lnTo>
                    <a:pt x="1986" y="8"/>
                  </a:lnTo>
                  <a:cubicBezTo>
                    <a:pt x="1985" y="8"/>
                    <a:pt x="1983" y="7"/>
                    <a:pt x="1983" y="6"/>
                  </a:cubicBezTo>
                  <a:cubicBezTo>
                    <a:pt x="1983" y="4"/>
                    <a:pt x="1984" y="3"/>
                    <a:pt x="1986" y="3"/>
                  </a:cubicBezTo>
                  <a:close/>
                  <a:moveTo>
                    <a:pt x="2047" y="0"/>
                  </a:moveTo>
                  <a:lnTo>
                    <a:pt x="2050" y="0"/>
                  </a:lnTo>
                  <a:cubicBezTo>
                    <a:pt x="2052" y="0"/>
                    <a:pt x="2053" y="1"/>
                    <a:pt x="2053" y="2"/>
                  </a:cubicBezTo>
                  <a:cubicBezTo>
                    <a:pt x="2053" y="4"/>
                    <a:pt x="2052" y="5"/>
                    <a:pt x="2051" y="5"/>
                  </a:cubicBezTo>
                  <a:lnTo>
                    <a:pt x="2047" y="5"/>
                  </a:lnTo>
                  <a:cubicBezTo>
                    <a:pt x="2046" y="5"/>
                    <a:pt x="2045" y="4"/>
                    <a:pt x="2045" y="3"/>
                  </a:cubicBezTo>
                  <a:cubicBezTo>
                    <a:pt x="2045" y="1"/>
                    <a:pt x="2046" y="0"/>
                    <a:pt x="2047" y="0"/>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53">
              <a:extLst>
                <a:ext uri="{FF2B5EF4-FFF2-40B4-BE49-F238E27FC236}">
                  <a16:creationId xmlns:a16="http://schemas.microsoft.com/office/drawing/2014/main" id="{EC15F17C-28F4-45B6-A074-F801FD4F36BD}"/>
                </a:ext>
              </a:extLst>
            </p:cNvPr>
            <p:cNvSpPr>
              <a:spLocks/>
            </p:cNvSpPr>
            <p:nvPr/>
          </p:nvSpPr>
          <p:spPr bwMode="auto">
            <a:xfrm>
              <a:off x="3843" y="2070"/>
              <a:ext cx="53" cy="53"/>
            </a:xfrm>
            <a:custGeom>
              <a:avLst/>
              <a:gdLst>
                <a:gd name="T0" fmla="*/ 0 w 53"/>
                <a:gd name="T1" fmla="*/ 0 h 53"/>
                <a:gd name="T2" fmla="*/ 53 w 53"/>
                <a:gd name="T3" fmla="*/ 25 h 53"/>
                <a:gd name="T4" fmla="*/ 1 w 53"/>
                <a:gd name="T5" fmla="*/ 53 h 53"/>
                <a:gd name="T6" fmla="*/ 0 w 53"/>
                <a:gd name="T7" fmla="*/ 0 h 53"/>
              </a:gdLst>
              <a:ahLst/>
              <a:cxnLst>
                <a:cxn ang="0">
                  <a:pos x="T0" y="T1"/>
                </a:cxn>
                <a:cxn ang="0">
                  <a:pos x="T2" y="T3"/>
                </a:cxn>
                <a:cxn ang="0">
                  <a:pos x="T4" y="T5"/>
                </a:cxn>
                <a:cxn ang="0">
                  <a:pos x="T6" y="T7"/>
                </a:cxn>
              </a:cxnLst>
              <a:rect l="0" t="0" r="r" b="b"/>
              <a:pathLst>
                <a:path w="53" h="53">
                  <a:moveTo>
                    <a:pt x="0" y="0"/>
                  </a:moveTo>
                  <a:lnTo>
                    <a:pt x="53" y="25"/>
                  </a:lnTo>
                  <a:lnTo>
                    <a:pt x="1" y="53"/>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4">
              <a:extLst>
                <a:ext uri="{FF2B5EF4-FFF2-40B4-BE49-F238E27FC236}">
                  <a16:creationId xmlns:a16="http://schemas.microsoft.com/office/drawing/2014/main" id="{3E67FC19-F81A-46F6-B3E5-874A9EB096CE}"/>
                </a:ext>
              </a:extLst>
            </p:cNvPr>
            <p:cNvSpPr>
              <a:spLocks noChangeArrowheads="1"/>
            </p:cNvSpPr>
            <p:nvPr/>
          </p:nvSpPr>
          <p:spPr bwMode="auto">
            <a:xfrm>
              <a:off x="3186" y="2095"/>
              <a:ext cx="426"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5">
              <a:extLst>
                <a:ext uri="{FF2B5EF4-FFF2-40B4-BE49-F238E27FC236}">
                  <a16:creationId xmlns:a16="http://schemas.microsoft.com/office/drawing/2014/main" id="{30A66D5B-2942-4203-AE6C-5C987EE3A440}"/>
                </a:ext>
              </a:extLst>
            </p:cNvPr>
            <p:cNvSpPr>
              <a:spLocks noEditPoints="1"/>
            </p:cNvSpPr>
            <p:nvPr/>
          </p:nvSpPr>
          <p:spPr bwMode="auto">
            <a:xfrm>
              <a:off x="3187" y="2123"/>
              <a:ext cx="420" cy="49"/>
            </a:xfrm>
            <a:custGeom>
              <a:avLst/>
              <a:gdLst>
                <a:gd name="T0" fmla="*/ 51 w 939"/>
                <a:gd name="T1" fmla="*/ 70 h 109"/>
                <a:gd name="T2" fmla="*/ 1 w 939"/>
                <a:gd name="T3" fmla="*/ 88 h 109"/>
                <a:gd name="T4" fmla="*/ 69 w 939"/>
                <a:gd name="T5" fmla="*/ 88 h 109"/>
                <a:gd name="T6" fmla="*/ 131 w 939"/>
                <a:gd name="T7" fmla="*/ 92 h 109"/>
                <a:gd name="T8" fmla="*/ 85 w 939"/>
                <a:gd name="T9" fmla="*/ 74 h 109"/>
                <a:gd name="T10" fmla="*/ 126 w 939"/>
                <a:gd name="T11" fmla="*/ 5 h 109"/>
                <a:gd name="T12" fmla="*/ 109 w 939"/>
                <a:gd name="T13" fmla="*/ 40 h 109"/>
                <a:gd name="T14" fmla="*/ 117 w 939"/>
                <a:gd name="T15" fmla="*/ 81 h 109"/>
                <a:gd name="T16" fmla="*/ 192 w 939"/>
                <a:gd name="T17" fmla="*/ 91 h 109"/>
                <a:gd name="T18" fmla="*/ 150 w 939"/>
                <a:gd name="T19" fmla="*/ 49 h 109"/>
                <a:gd name="T20" fmla="*/ 194 w 939"/>
                <a:gd name="T21" fmla="*/ 5 h 109"/>
                <a:gd name="T22" fmla="*/ 162 w 939"/>
                <a:gd name="T23" fmla="*/ 47 h 109"/>
                <a:gd name="T24" fmla="*/ 189 w 939"/>
                <a:gd name="T25" fmla="*/ 73 h 109"/>
                <a:gd name="T26" fmla="*/ 206 w 939"/>
                <a:gd name="T27" fmla="*/ 106 h 109"/>
                <a:gd name="T28" fmla="*/ 216 w 939"/>
                <a:gd name="T29" fmla="*/ 107 h 109"/>
                <a:gd name="T30" fmla="*/ 300 w 939"/>
                <a:gd name="T31" fmla="*/ 70 h 109"/>
                <a:gd name="T32" fmla="*/ 270 w 939"/>
                <a:gd name="T33" fmla="*/ 92 h 109"/>
                <a:gd name="T34" fmla="*/ 295 w 939"/>
                <a:gd name="T35" fmla="*/ 11 h 109"/>
                <a:gd name="T36" fmla="*/ 305 w 939"/>
                <a:gd name="T37" fmla="*/ 58 h 109"/>
                <a:gd name="T38" fmla="*/ 285 w 939"/>
                <a:gd name="T39" fmla="*/ 20 h 109"/>
                <a:gd name="T40" fmla="*/ 371 w 939"/>
                <a:gd name="T41" fmla="*/ 64 h 109"/>
                <a:gd name="T42" fmla="*/ 372 w 939"/>
                <a:gd name="T43" fmla="*/ 80 h 109"/>
                <a:gd name="T44" fmla="*/ 359 w 939"/>
                <a:gd name="T45" fmla="*/ 92 h 109"/>
                <a:gd name="T46" fmla="*/ 362 w 939"/>
                <a:gd name="T47" fmla="*/ 33 h 109"/>
                <a:gd name="T48" fmla="*/ 336 w 939"/>
                <a:gd name="T49" fmla="*/ 50 h 109"/>
                <a:gd name="T50" fmla="*/ 465 w 939"/>
                <a:gd name="T51" fmla="*/ 91 h 109"/>
                <a:gd name="T52" fmla="*/ 438 w 939"/>
                <a:gd name="T53" fmla="*/ 91 h 109"/>
                <a:gd name="T54" fmla="*/ 425 w 939"/>
                <a:gd name="T55" fmla="*/ 44 h 109"/>
                <a:gd name="T56" fmla="*/ 394 w 939"/>
                <a:gd name="T57" fmla="*/ 92 h 109"/>
                <a:gd name="T58" fmla="*/ 400 w 939"/>
                <a:gd name="T59" fmla="*/ 32 h 109"/>
                <a:gd name="T60" fmla="*/ 442 w 939"/>
                <a:gd name="T61" fmla="*/ 37 h 109"/>
                <a:gd name="T62" fmla="*/ 554 w 939"/>
                <a:gd name="T63" fmla="*/ 74 h 109"/>
                <a:gd name="T64" fmla="*/ 516 w 939"/>
                <a:gd name="T65" fmla="*/ 33 h 109"/>
                <a:gd name="T66" fmla="*/ 528 w 939"/>
                <a:gd name="T67" fmla="*/ 40 h 109"/>
                <a:gd name="T68" fmla="*/ 541 w 939"/>
                <a:gd name="T69" fmla="*/ 78 h 109"/>
                <a:gd name="T70" fmla="*/ 592 w 939"/>
                <a:gd name="T71" fmla="*/ 91 h 109"/>
                <a:gd name="T72" fmla="*/ 560 w 939"/>
                <a:gd name="T73" fmla="*/ 34 h 109"/>
                <a:gd name="T74" fmla="*/ 587 w 939"/>
                <a:gd name="T75" fmla="*/ 81 h 109"/>
                <a:gd name="T76" fmla="*/ 614 w 939"/>
                <a:gd name="T77" fmla="*/ 34 h 109"/>
                <a:gd name="T78" fmla="*/ 669 w 939"/>
                <a:gd name="T79" fmla="*/ 82 h 109"/>
                <a:gd name="T80" fmla="*/ 676 w 939"/>
                <a:gd name="T81" fmla="*/ 88 h 109"/>
                <a:gd name="T82" fmla="*/ 635 w 939"/>
                <a:gd name="T83" fmla="*/ 39 h 109"/>
                <a:gd name="T84" fmla="*/ 654 w 939"/>
                <a:gd name="T85" fmla="*/ 39 h 109"/>
                <a:gd name="T86" fmla="*/ 718 w 939"/>
                <a:gd name="T87" fmla="*/ 92 h 109"/>
                <a:gd name="T88" fmla="*/ 721 w 939"/>
                <a:gd name="T89" fmla="*/ 10 h 109"/>
                <a:gd name="T90" fmla="*/ 765 w 939"/>
                <a:gd name="T91" fmla="*/ 92 h 109"/>
                <a:gd name="T92" fmla="*/ 736 w 939"/>
                <a:gd name="T93" fmla="*/ 34 h 109"/>
                <a:gd name="T94" fmla="*/ 754 w 939"/>
                <a:gd name="T95" fmla="*/ 17 h 109"/>
                <a:gd name="T96" fmla="*/ 772 w 939"/>
                <a:gd name="T97" fmla="*/ 40 h 109"/>
                <a:gd name="T98" fmla="*/ 772 w 939"/>
                <a:gd name="T99" fmla="*/ 82 h 109"/>
                <a:gd name="T100" fmla="*/ 808 w 939"/>
                <a:gd name="T101" fmla="*/ 83 h 109"/>
                <a:gd name="T102" fmla="*/ 837 w 939"/>
                <a:gd name="T103" fmla="*/ 85 h 109"/>
                <a:gd name="T104" fmla="*/ 790 w 939"/>
                <a:gd name="T105" fmla="*/ 75 h 109"/>
                <a:gd name="T106" fmla="*/ 840 w 939"/>
                <a:gd name="T107" fmla="*/ 59 h 109"/>
                <a:gd name="T108" fmla="*/ 939 w 939"/>
                <a:gd name="T109" fmla="*/ 91 h 109"/>
                <a:gd name="T110" fmla="*/ 926 w 939"/>
                <a:gd name="T111" fmla="*/ 44 h 109"/>
                <a:gd name="T112" fmla="*/ 895 w 939"/>
                <a:gd name="T113" fmla="*/ 92 h 109"/>
                <a:gd name="T114" fmla="*/ 866 w 939"/>
                <a:gd name="T115" fmla="*/ 51 h 109"/>
                <a:gd name="T116" fmla="*/ 856 w 939"/>
                <a:gd name="T117" fmla="*/ 34 h 109"/>
                <a:gd name="T118" fmla="*/ 874 w 939"/>
                <a:gd name="T119" fmla="*/ 33 h 109"/>
                <a:gd name="T120" fmla="*/ 929 w 939"/>
                <a:gd name="T121" fmla="*/ 3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9" h="109">
                  <a:moveTo>
                    <a:pt x="69" y="88"/>
                  </a:moveTo>
                  <a:cubicBezTo>
                    <a:pt x="70" y="89"/>
                    <a:pt x="70" y="89"/>
                    <a:pt x="70" y="90"/>
                  </a:cubicBezTo>
                  <a:cubicBezTo>
                    <a:pt x="70" y="90"/>
                    <a:pt x="70" y="91"/>
                    <a:pt x="69" y="91"/>
                  </a:cubicBezTo>
                  <a:cubicBezTo>
                    <a:pt x="69" y="91"/>
                    <a:pt x="68" y="92"/>
                    <a:pt x="68" y="92"/>
                  </a:cubicBezTo>
                  <a:cubicBezTo>
                    <a:pt x="67" y="92"/>
                    <a:pt x="66" y="92"/>
                    <a:pt x="65" y="92"/>
                  </a:cubicBezTo>
                  <a:cubicBezTo>
                    <a:pt x="63" y="92"/>
                    <a:pt x="62" y="92"/>
                    <a:pt x="61" y="92"/>
                  </a:cubicBezTo>
                  <a:cubicBezTo>
                    <a:pt x="61" y="92"/>
                    <a:pt x="60" y="92"/>
                    <a:pt x="60" y="91"/>
                  </a:cubicBezTo>
                  <a:cubicBezTo>
                    <a:pt x="59" y="91"/>
                    <a:pt x="59" y="91"/>
                    <a:pt x="59" y="91"/>
                  </a:cubicBezTo>
                  <a:cubicBezTo>
                    <a:pt x="59" y="91"/>
                    <a:pt x="58" y="90"/>
                    <a:pt x="58" y="90"/>
                  </a:cubicBezTo>
                  <a:lnTo>
                    <a:pt x="51" y="70"/>
                  </a:lnTo>
                  <a:lnTo>
                    <a:pt x="18" y="70"/>
                  </a:lnTo>
                  <a:lnTo>
                    <a:pt x="11" y="90"/>
                  </a:lnTo>
                  <a:cubicBezTo>
                    <a:pt x="11" y="90"/>
                    <a:pt x="11" y="90"/>
                    <a:pt x="11" y="91"/>
                  </a:cubicBezTo>
                  <a:cubicBezTo>
                    <a:pt x="10" y="91"/>
                    <a:pt x="10" y="91"/>
                    <a:pt x="10" y="91"/>
                  </a:cubicBezTo>
                  <a:cubicBezTo>
                    <a:pt x="9" y="92"/>
                    <a:pt x="9" y="92"/>
                    <a:pt x="8" y="92"/>
                  </a:cubicBezTo>
                  <a:cubicBezTo>
                    <a:pt x="7" y="92"/>
                    <a:pt x="6" y="92"/>
                    <a:pt x="5" y="92"/>
                  </a:cubicBezTo>
                  <a:cubicBezTo>
                    <a:pt x="4" y="92"/>
                    <a:pt x="3" y="92"/>
                    <a:pt x="2" y="92"/>
                  </a:cubicBezTo>
                  <a:cubicBezTo>
                    <a:pt x="1" y="92"/>
                    <a:pt x="1" y="91"/>
                    <a:pt x="1" y="91"/>
                  </a:cubicBezTo>
                  <a:cubicBezTo>
                    <a:pt x="0" y="91"/>
                    <a:pt x="0" y="90"/>
                    <a:pt x="0" y="90"/>
                  </a:cubicBezTo>
                  <a:cubicBezTo>
                    <a:pt x="0" y="89"/>
                    <a:pt x="0" y="89"/>
                    <a:pt x="1" y="88"/>
                  </a:cubicBezTo>
                  <a:lnTo>
                    <a:pt x="28" y="13"/>
                  </a:lnTo>
                  <a:cubicBezTo>
                    <a:pt x="28" y="12"/>
                    <a:pt x="28" y="12"/>
                    <a:pt x="28" y="11"/>
                  </a:cubicBezTo>
                  <a:cubicBezTo>
                    <a:pt x="29" y="11"/>
                    <a:pt x="29" y="11"/>
                    <a:pt x="30" y="11"/>
                  </a:cubicBezTo>
                  <a:cubicBezTo>
                    <a:pt x="30" y="11"/>
                    <a:pt x="31" y="10"/>
                    <a:pt x="32" y="10"/>
                  </a:cubicBezTo>
                  <a:cubicBezTo>
                    <a:pt x="32" y="10"/>
                    <a:pt x="34" y="10"/>
                    <a:pt x="35" y="10"/>
                  </a:cubicBezTo>
                  <a:cubicBezTo>
                    <a:pt x="36" y="10"/>
                    <a:pt x="37" y="10"/>
                    <a:pt x="38" y="10"/>
                  </a:cubicBezTo>
                  <a:cubicBezTo>
                    <a:pt x="39" y="10"/>
                    <a:pt x="40" y="11"/>
                    <a:pt x="40" y="11"/>
                  </a:cubicBezTo>
                  <a:cubicBezTo>
                    <a:pt x="41" y="11"/>
                    <a:pt x="41" y="11"/>
                    <a:pt x="41" y="11"/>
                  </a:cubicBezTo>
                  <a:cubicBezTo>
                    <a:pt x="42" y="12"/>
                    <a:pt x="42" y="12"/>
                    <a:pt x="42" y="13"/>
                  </a:cubicBezTo>
                  <a:lnTo>
                    <a:pt x="69" y="88"/>
                  </a:lnTo>
                  <a:close/>
                  <a:moveTo>
                    <a:pt x="34" y="21"/>
                  </a:moveTo>
                  <a:lnTo>
                    <a:pt x="34" y="21"/>
                  </a:lnTo>
                  <a:lnTo>
                    <a:pt x="20" y="62"/>
                  </a:lnTo>
                  <a:lnTo>
                    <a:pt x="49" y="62"/>
                  </a:lnTo>
                  <a:lnTo>
                    <a:pt x="34" y="21"/>
                  </a:lnTo>
                  <a:close/>
                  <a:moveTo>
                    <a:pt x="136" y="90"/>
                  </a:moveTo>
                  <a:cubicBezTo>
                    <a:pt x="136" y="90"/>
                    <a:pt x="136" y="91"/>
                    <a:pt x="135" y="91"/>
                  </a:cubicBezTo>
                  <a:cubicBezTo>
                    <a:pt x="135" y="91"/>
                    <a:pt x="135" y="91"/>
                    <a:pt x="135" y="91"/>
                  </a:cubicBezTo>
                  <a:cubicBezTo>
                    <a:pt x="134" y="92"/>
                    <a:pt x="134" y="92"/>
                    <a:pt x="133" y="92"/>
                  </a:cubicBezTo>
                  <a:cubicBezTo>
                    <a:pt x="133" y="92"/>
                    <a:pt x="132" y="92"/>
                    <a:pt x="131" y="92"/>
                  </a:cubicBezTo>
                  <a:cubicBezTo>
                    <a:pt x="130" y="92"/>
                    <a:pt x="130" y="92"/>
                    <a:pt x="129" y="92"/>
                  </a:cubicBezTo>
                  <a:cubicBezTo>
                    <a:pt x="128" y="92"/>
                    <a:pt x="128" y="92"/>
                    <a:pt x="128" y="91"/>
                  </a:cubicBezTo>
                  <a:cubicBezTo>
                    <a:pt x="127" y="91"/>
                    <a:pt x="127" y="91"/>
                    <a:pt x="127" y="91"/>
                  </a:cubicBezTo>
                  <a:cubicBezTo>
                    <a:pt x="127" y="91"/>
                    <a:pt x="127" y="90"/>
                    <a:pt x="127" y="90"/>
                  </a:cubicBezTo>
                  <a:lnTo>
                    <a:pt x="127" y="83"/>
                  </a:lnTo>
                  <a:cubicBezTo>
                    <a:pt x="124" y="86"/>
                    <a:pt x="120" y="88"/>
                    <a:pt x="117" y="90"/>
                  </a:cubicBezTo>
                  <a:cubicBezTo>
                    <a:pt x="114" y="92"/>
                    <a:pt x="111" y="93"/>
                    <a:pt x="107" y="93"/>
                  </a:cubicBezTo>
                  <a:cubicBezTo>
                    <a:pt x="103" y="93"/>
                    <a:pt x="99" y="92"/>
                    <a:pt x="96" y="90"/>
                  </a:cubicBezTo>
                  <a:cubicBezTo>
                    <a:pt x="93" y="89"/>
                    <a:pt x="91" y="87"/>
                    <a:pt x="89" y="84"/>
                  </a:cubicBezTo>
                  <a:cubicBezTo>
                    <a:pt x="87" y="81"/>
                    <a:pt x="86" y="78"/>
                    <a:pt x="85" y="74"/>
                  </a:cubicBezTo>
                  <a:cubicBezTo>
                    <a:pt x="84" y="70"/>
                    <a:pt x="84" y="67"/>
                    <a:pt x="84" y="63"/>
                  </a:cubicBezTo>
                  <a:cubicBezTo>
                    <a:pt x="84" y="58"/>
                    <a:pt x="84" y="53"/>
                    <a:pt x="86" y="49"/>
                  </a:cubicBezTo>
                  <a:cubicBezTo>
                    <a:pt x="87" y="46"/>
                    <a:pt x="88" y="42"/>
                    <a:pt x="90" y="39"/>
                  </a:cubicBezTo>
                  <a:cubicBezTo>
                    <a:pt x="92" y="37"/>
                    <a:pt x="95" y="35"/>
                    <a:pt x="98" y="33"/>
                  </a:cubicBezTo>
                  <a:cubicBezTo>
                    <a:pt x="101" y="32"/>
                    <a:pt x="104" y="31"/>
                    <a:pt x="108" y="31"/>
                  </a:cubicBezTo>
                  <a:cubicBezTo>
                    <a:pt x="111" y="31"/>
                    <a:pt x="115" y="32"/>
                    <a:pt x="117" y="33"/>
                  </a:cubicBezTo>
                  <a:cubicBezTo>
                    <a:pt x="120" y="34"/>
                    <a:pt x="123" y="37"/>
                    <a:pt x="125" y="39"/>
                  </a:cubicBezTo>
                  <a:lnTo>
                    <a:pt x="125" y="7"/>
                  </a:lnTo>
                  <a:cubicBezTo>
                    <a:pt x="125" y="6"/>
                    <a:pt x="125" y="6"/>
                    <a:pt x="126" y="6"/>
                  </a:cubicBezTo>
                  <a:cubicBezTo>
                    <a:pt x="126" y="6"/>
                    <a:pt x="126" y="5"/>
                    <a:pt x="126" y="5"/>
                  </a:cubicBezTo>
                  <a:cubicBezTo>
                    <a:pt x="127" y="5"/>
                    <a:pt x="127" y="5"/>
                    <a:pt x="128" y="5"/>
                  </a:cubicBezTo>
                  <a:cubicBezTo>
                    <a:pt x="129" y="5"/>
                    <a:pt x="129" y="5"/>
                    <a:pt x="130" y="5"/>
                  </a:cubicBezTo>
                  <a:cubicBezTo>
                    <a:pt x="131" y="5"/>
                    <a:pt x="132" y="5"/>
                    <a:pt x="133" y="5"/>
                  </a:cubicBezTo>
                  <a:cubicBezTo>
                    <a:pt x="134" y="5"/>
                    <a:pt x="134" y="5"/>
                    <a:pt x="135" y="5"/>
                  </a:cubicBezTo>
                  <a:cubicBezTo>
                    <a:pt x="135" y="5"/>
                    <a:pt x="135" y="6"/>
                    <a:pt x="135" y="6"/>
                  </a:cubicBezTo>
                  <a:cubicBezTo>
                    <a:pt x="136" y="6"/>
                    <a:pt x="136" y="6"/>
                    <a:pt x="136" y="7"/>
                  </a:cubicBezTo>
                  <a:lnTo>
                    <a:pt x="136" y="90"/>
                  </a:lnTo>
                  <a:close/>
                  <a:moveTo>
                    <a:pt x="125" y="50"/>
                  </a:moveTo>
                  <a:cubicBezTo>
                    <a:pt x="123" y="47"/>
                    <a:pt x="120" y="44"/>
                    <a:pt x="117" y="42"/>
                  </a:cubicBezTo>
                  <a:cubicBezTo>
                    <a:pt x="115" y="41"/>
                    <a:pt x="112" y="40"/>
                    <a:pt x="109" y="40"/>
                  </a:cubicBezTo>
                  <a:cubicBezTo>
                    <a:pt x="106" y="40"/>
                    <a:pt x="104" y="40"/>
                    <a:pt x="102" y="42"/>
                  </a:cubicBezTo>
                  <a:cubicBezTo>
                    <a:pt x="101" y="43"/>
                    <a:pt x="99" y="45"/>
                    <a:pt x="98" y="47"/>
                  </a:cubicBezTo>
                  <a:cubicBezTo>
                    <a:pt x="97" y="49"/>
                    <a:pt x="96" y="51"/>
                    <a:pt x="95" y="54"/>
                  </a:cubicBezTo>
                  <a:cubicBezTo>
                    <a:pt x="95" y="56"/>
                    <a:pt x="95" y="59"/>
                    <a:pt x="95" y="61"/>
                  </a:cubicBezTo>
                  <a:cubicBezTo>
                    <a:pt x="95" y="64"/>
                    <a:pt x="95" y="67"/>
                    <a:pt x="95" y="70"/>
                  </a:cubicBezTo>
                  <a:cubicBezTo>
                    <a:pt x="96" y="72"/>
                    <a:pt x="96" y="75"/>
                    <a:pt x="98" y="77"/>
                  </a:cubicBezTo>
                  <a:cubicBezTo>
                    <a:pt x="99" y="79"/>
                    <a:pt x="100" y="81"/>
                    <a:pt x="102" y="82"/>
                  </a:cubicBezTo>
                  <a:cubicBezTo>
                    <a:pt x="104" y="83"/>
                    <a:pt x="106" y="84"/>
                    <a:pt x="109" y="84"/>
                  </a:cubicBezTo>
                  <a:cubicBezTo>
                    <a:pt x="110" y="84"/>
                    <a:pt x="111" y="84"/>
                    <a:pt x="113" y="83"/>
                  </a:cubicBezTo>
                  <a:cubicBezTo>
                    <a:pt x="114" y="83"/>
                    <a:pt x="115" y="82"/>
                    <a:pt x="117" y="81"/>
                  </a:cubicBezTo>
                  <a:cubicBezTo>
                    <a:pt x="118" y="81"/>
                    <a:pt x="119" y="79"/>
                    <a:pt x="121" y="78"/>
                  </a:cubicBezTo>
                  <a:cubicBezTo>
                    <a:pt x="122" y="77"/>
                    <a:pt x="124" y="75"/>
                    <a:pt x="125" y="73"/>
                  </a:cubicBezTo>
                  <a:lnTo>
                    <a:pt x="125" y="50"/>
                  </a:lnTo>
                  <a:close/>
                  <a:moveTo>
                    <a:pt x="200" y="90"/>
                  </a:moveTo>
                  <a:cubicBezTo>
                    <a:pt x="200" y="90"/>
                    <a:pt x="200" y="91"/>
                    <a:pt x="199" y="91"/>
                  </a:cubicBezTo>
                  <a:cubicBezTo>
                    <a:pt x="199" y="91"/>
                    <a:pt x="199" y="91"/>
                    <a:pt x="199" y="91"/>
                  </a:cubicBezTo>
                  <a:cubicBezTo>
                    <a:pt x="198" y="92"/>
                    <a:pt x="198" y="92"/>
                    <a:pt x="197" y="92"/>
                  </a:cubicBezTo>
                  <a:cubicBezTo>
                    <a:pt x="197" y="92"/>
                    <a:pt x="196" y="92"/>
                    <a:pt x="195" y="92"/>
                  </a:cubicBezTo>
                  <a:cubicBezTo>
                    <a:pt x="194" y="92"/>
                    <a:pt x="194" y="92"/>
                    <a:pt x="193" y="92"/>
                  </a:cubicBezTo>
                  <a:cubicBezTo>
                    <a:pt x="192" y="92"/>
                    <a:pt x="192" y="92"/>
                    <a:pt x="192" y="91"/>
                  </a:cubicBezTo>
                  <a:cubicBezTo>
                    <a:pt x="191" y="91"/>
                    <a:pt x="191" y="91"/>
                    <a:pt x="191" y="91"/>
                  </a:cubicBezTo>
                  <a:cubicBezTo>
                    <a:pt x="191" y="91"/>
                    <a:pt x="191" y="90"/>
                    <a:pt x="191" y="90"/>
                  </a:cubicBezTo>
                  <a:lnTo>
                    <a:pt x="191" y="83"/>
                  </a:lnTo>
                  <a:cubicBezTo>
                    <a:pt x="188" y="86"/>
                    <a:pt x="184" y="88"/>
                    <a:pt x="181" y="90"/>
                  </a:cubicBezTo>
                  <a:cubicBezTo>
                    <a:pt x="178" y="92"/>
                    <a:pt x="175" y="93"/>
                    <a:pt x="171" y="93"/>
                  </a:cubicBezTo>
                  <a:cubicBezTo>
                    <a:pt x="167" y="93"/>
                    <a:pt x="163" y="92"/>
                    <a:pt x="160" y="90"/>
                  </a:cubicBezTo>
                  <a:cubicBezTo>
                    <a:pt x="157" y="89"/>
                    <a:pt x="155" y="87"/>
                    <a:pt x="153" y="84"/>
                  </a:cubicBezTo>
                  <a:cubicBezTo>
                    <a:pt x="151" y="81"/>
                    <a:pt x="150" y="78"/>
                    <a:pt x="149" y="74"/>
                  </a:cubicBezTo>
                  <a:cubicBezTo>
                    <a:pt x="148" y="70"/>
                    <a:pt x="148" y="67"/>
                    <a:pt x="148" y="63"/>
                  </a:cubicBezTo>
                  <a:cubicBezTo>
                    <a:pt x="148" y="58"/>
                    <a:pt x="148" y="53"/>
                    <a:pt x="150" y="49"/>
                  </a:cubicBezTo>
                  <a:cubicBezTo>
                    <a:pt x="151" y="46"/>
                    <a:pt x="152" y="42"/>
                    <a:pt x="154" y="39"/>
                  </a:cubicBezTo>
                  <a:cubicBezTo>
                    <a:pt x="156" y="37"/>
                    <a:pt x="159" y="35"/>
                    <a:pt x="162" y="33"/>
                  </a:cubicBezTo>
                  <a:cubicBezTo>
                    <a:pt x="165" y="32"/>
                    <a:pt x="168" y="31"/>
                    <a:pt x="172" y="31"/>
                  </a:cubicBezTo>
                  <a:cubicBezTo>
                    <a:pt x="175" y="31"/>
                    <a:pt x="179" y="32"/>
                    <a:pt x="181" y="33"/>
                  </a:cubicBezTo>
                  <a:cubicBezTo>
                    <a:pt x="184" y="34"/>
                    <a:pt x="187" y="37"/>
                    <a:pt x="189" y="39"/>
                  </a:cubicBezTo>
                  <a:lnTo>
                    <a:pt x="189" y="7"/>
                  </a:lnTo>
                  <a:cubicBezTo>
                    <a:pt x="189" y="6"/>
                    <a:pt x="189" y="6"/>
                    <a:pt x="190" y="6"/>
                  </a:cubicBezTo>
                  <a:cubicBezTo>
                    <a:pt x="190" y="6"/>
                    <a:pt x="190" y="5"/>
                    <a:pt x="190" y="5"/>
                  </a:cubicBezTo>
                  <a:cubicBezTo>
                    <a:pt x="191" y="5"/>
                    <a:pt x="191" y="5"/>
                    <a:pt x="192" y="5"/>
                  </a:cubicBezTo>
                  <a:cubicBezTo>
                    <a:pt x="193" y="5"/>
                    <a:pt x="193" y="5"/>
                    <a:pt x="194" y="5"/>
                  </a:cubicBezTo>
                  <a:cubicBezTo>
                    <a:pt x="195" y="5"/>
                    <a:pt x="196" y="5"/>
                    <a:pt x="197" y="5"/>
                  </a:cubicBezTo>
                  <a:cubicBezTo>
                    <a:pt x="198" y="5"/>
                    <a:pt x="198" y="5"/>
                    <a:pt x="199" y="5"/>
                  </a:cubicBezTo>
                  <a:cubicBezTo>
                    <a:pt x="199" y="5"/>
                    <a:pt x="199" y="6"/>
                    <a:pt x="199" y="6"/>
                  </a:cubicBezTo>
                  <a:cubicBezTo>
                    <a:pt x="200" y="6"/>
                    <a:pt x="200" y="6"/>
                    <a:pt x="200" y="7"/>
                  </a:cubicBezTo>
                  <a:lnTo>
                    <a:pt x="200" y="90"/>
                  </a:lnTo>
                  <a:close/>
                  <a:moveTo>
                    <a:pt x="189" y="50"/>
                  </a:moveTo>
                  <a:cubicBezTo>
                    <a:pt x="187" y="47"/>
                    <a:pt x="184" y="44"/>
                    <a:pt x="181" y="42"/>
                  </a:cubicBezTo>
                  <a:cubicBezTo>
                    <a:pt x="179" y="41"/>
                    <a:pt x="176" y="40"/>
                    <a:pt x="173" y="40"/>
                  </a:cubicBezTo>
                  <a:cubicBezTo>
                    <a:pt x="170" y="40"/>
                    <a:pt x="168" y="40"/>
                    <a:pt x="166" y="42"/>
                  </a:cubicBezTo>
                  <a:cubicBezTo>
                    <a:pt x="165" y="43"/>
                    <a:pt x="163" y="45"/>
                    <a:pt x="162" y="47"/>
                  </a:cubicBezTo>
                  <a:cubicBezTo>
                    <a:pt x="161" y="49"/>
                    <a:pt x="160" y="51"/>
                    <a:pt x="159" y="54"/>
                  </a:cubicBezTo>
                  <a:cubicBezTo>
                    <a:pt x="159" y="56"/>
                    <a:pt x="159" y="59"/>
                    <a:pt x="159" y="61"/>
                  </a:cubicBezTo>
                  <a:cubicBezTo>
                    <a:pt x="159" y="64"/>
                    <a:pt x="159" y="67"/>
                    <a:pt x="159" y="70"/>
                  </a:cubicBezTo>
                  <a:cubicBezTo>
                    <a:pt x="160" y="72"/>
                    <a:pt x="160" y="75"/>
                    <a:pt x="162" y="77"/>
                  </a:cubicBezTo>
                  <a:cubicBezTo>
                    <a:pt x="163" y="79"/>
                    <a:pt x="164" y="81"/>
                    <a:pt x="166" y="82"/>
                  </a:cubicBezTo>
                  <a:cubicBezTo>
                    <a:pt x="168" y="83"/>
                    <a:pt x="170" y="84"/>
                    <a:pt x="173" y="84"/>
                  </a:cubicBezTo>
                  <a:cubicBezTo>
                    <a:pt x="174" y="84"/>
                    <a:pt x="175" y="84"/>
                    <a:pt x="177" y="83"/>
                  </a:cubicBezTo>
                  <a:cubicBezTo>
                    <a:pt x="178" y="83"/>
                    <a:pt x="179" y="82"/>
                    <a:pt x="181" y="81"/>
                  </a:cubicBezTo>
                  <a:cubicBezTo>
                    <a:pt x="182" y="81"/>
                    <a:pt x="183" y="79"/>
                    <a:pt x="185" y="78"/>
                  </a:cubicBezTo>
                  <a:cubicBezTo>
                    <a:pt x="186" y="77"/>
                    <a:pt x="188" y="75"/>
                    <a:pt x="189" y="73"/>
                  </a:cubicBezTo>
                  <a:lnTo>
                    <a:pt x="189" y="50"/>
                  </a:lnTo>
                  <a:close/>
                  <a:moveTo>
                    <a:pt x="216" y="107"/>
                  </a:moveTo>
                  <a:cubicBezTo>
                    <a:pt x="216" y="107"/>
                    <a:pt x="216" y="108"/>
                    <a:pt x="216" y="108"/>
                  </a:cubicBezTo>
                  <a:cubicBezTo>
                    <a:pt x="216" y="108"/>
                    <a:pt x="215" y="108"/>
                    <a:pt x="215" y="109"/>
                  </a:cubicBezTo>
                  <a:cubicBezTo>
                    <a:pt x="214" y="109"/>
                    <a:pt x="214" y="109"/>
                    <a:pt x="213" y="109"/>
                  </a:cubicBezTo>
                  <a:cubicBezTo>
                    <a:pt x="213" y="109"/>
                    <a:pt x="212" y="109"/>
                    <a:pt x="211" y="109"/>
                  </a:cubicBezTo>
                  <a:cubicBezTo>
                    <a:pt x="210" y="109"/>
                    <a:pt x="209" y="109"/>
                    <a:pt x="208" y="109"/>
                  </a:cubicBezTo>
                  <a:cubicBezTo>
                    <a:pt x="208" y="109"/>
                    <a:pt x="207" y="109"/>
                    <a:pt x="207" y="108"/>
                  </a:cubicBezTo>
                  <a:cubicBezTo>
                    <a:pt x="206" y="108"/>
                    <a:pt x="206" y="108"/>
                    <a:pt x="206" y="107"/>
                  </a:cubicBezTo>
                  <a:cubicBezTo>
                    <a:pt x="206" y="107"/>
                    <a:pt x="206" y="106"/>
                    <a:pt x="206" y="106"/>
                  </a:cubicBezTo>
                  <a:lnTo>
                    <a:pt x="244" y="2"/>
                  </a:lnTo>
                  <a:cubicBezTo>
                    <a:pt x="244" y="2"/>
                    <a:pt x="245" y="1"/>
                    <a:pt x="245" y="1"/>
                  </a:cubicBezTo>
                  <a:cubicBezTo>
                    <a:pt x="245" y="1"/>
                    <a:pt x="245" y="0"/>
                    <a:pt x="246" y="0"/>
                  </a:cubicBezTo>
                  <a:cubicBezTo>
                    <a:pt x="246" y="0"/>
                    <a:pt x="247" y="0"/>
                    <a:pt x="247" y="0"/>
                  </a:cubicBezTo>
                  <a:cubicBezTo>
                    <a:pt x="248" y="0"/>
                    <a:pt x="249" y="0"/>
                    <a:pt x="250" y="0"/>
                  </a:cubicBezTo>
                  <a:cubicBezTo>
                    <a:pt x="251" y="0"/>
                    <a:pt x="252" y="0"/>
                    <a:pt x="252" y="0"/>
                  </a:cubicBezTo>
                  <a:cubicBezTo>
                    <a:pt x="253" y="0"/>
                    <a:pt x="253" y="0"/>
                    <a:pt x="254" y="0"/>
                  </a:cubicBezTo>
                  <a:cubicBezTo>
                    <a:pt x="254" y="1"/>
                    <a:pt x="254" y="1"/>
                    <a:pt x="254" y="1"/>
                  </a:cubicBezTo>
                  <a:cubicBezTo>
                    <a:pt x="255" y="2"/>
                    <a:pt x="254" y="2"/>
                    <a:pt x="254" y="3"/>
                  </a:cubicBezTo>
                  <a:lnTo>
                    <a:pt x="216" y="107"/>
                  </a:lnTo>
                  <a:close/>
                  <a:moveTo>
                    <a:pt x="319" y="90"/>
                  </a:moveTo>
                  <a:cubicBezTo>
                    <a:pt x="319" y="90"/>
                    <a:pt x="319" y="91"/>
                    <a:pt x="318" y="91"/>
                  </a:cubicBezTo>
                  <a:cubicBezTo>
                    <a:pt x="318" y="91"/>
                    <a:pt x="318" y="91"/>
                    <a:pt x="318" y="91"/>
                  </a:cubicBezTo>
                  <a:cubicBezTo>
                    <a:pt x="317" y="92"/>
                    <a:pt x="317" y="92"/>
                    <a:pt x="316" y="92"/>
                  </a:cubicBezTo>
                  <a:cubicBezTo>
                    <a:pt x="315" y="92"/>
                    <a:pt x="314" y="92"/>
                    <a:pt x="313" y="92"/>
                  </a:cubicBezTo>
                  <a:cubicBezTo>
                    <a:pt x="312" y="92"/>
                    <a:pt x="311" y="92"/>
                    <a:pt x="310" y="92"/>
                  </a:cubicBezTo>
                  <a:cubicBezTo>
                    <a:pt x="310" y="92"/>
                    <a:pt x="309" y="92"/>
                    <a:pt x="309" y="91"/>
                  </a:cubicBezTo>
                  <a:cubicBezTo>
                    <a:pt x="308" y="91"/>
                    <a:pt x="308" y="91"/>
                    <a:pt x="308" y="91"/>
                  </a:cubicBezTo>
                  <a:cubicBezTo>
                    <a:pt x="307" y="90"/>
                    <a:pt x="307" y="90"/>
                    <a:pt x="307" y="89"/>
                  </a:cubicBezTo>
                  <a:lnTo>
                    <a:pt x="300" y="70"/>
                  </a:lnTo>
                  <a:cubicBezTo>
                    <a:pt x="299" y="68"/>
                    <a:pt x="298" y="66"/>
                    <a:pt x="297" y="64"/>
                  </a:cubicBezTo>
                  <a:cubicBezTo>
                    <a:pt x="296" y="62"/>
                    <a:pt x="295" y="61"/>
                    <a:pt x="294" y="60"/>
                  </a:cubicBezTo>
                  <a:cubicBezTo>
                    <a:pt x="292" y="58"/>
                    <a:pt x="291" y="57"/>
                    <a:pt x="289" y="57"/>
                  </a:cubicBezTo>
                  <a:cubicBezTo>
                    <a:pt x="287" y="56"/>
                    <a:pt x="285" y="55"/>
                    <a:pt x="283" y="55"/>
                  </a:cubicBezTo>
                  <a:lnTo>
                    <a:pt x="275" y="55"/>
                  </a:lnTo>
                  <a:lnTo>
                    <a:pt x="275" y="90"/>
                  </a:lnTo>
                  <a:cubicBezTo>
                    <a:pt x="275" y="90"/>
                    <a:pt x="275" y="91"/>
                    <a:pt x="275" y="91"/>
                  </a:cubicBezTo>
                  <a:cubicBezTo>
                    <a:pt x="275" y="91"/>
                    <a:pt x="275" y="91"/>
                    <a:pt x="274" y="91"/>
                  </a:cubicBezTo>
                  <a:cubicBezTo>
                    <a:pt x="274" y="92"/>
                    <a:pt x="273" y="92"/>
                    <a:pt x="273" y="92"/>
                  </a:cubicBezTo>
                  <a:cubicBezTo>
                    <a:pt x="272" y="92"/>
                    <a:pt x="271" y="92"/>
                    <a:pt x="270" y="92"/>
                  </a:cubicBezTo>
                  <a:cubicBezTo>
                    <a:pt x="269" y="92"/>
                    <a:pt x="268" y="92"/>
                    <a:pt x="267" y="92"/>
                  </a:cubicBezTo>
                  <a:cubicBezTo>
                    <a:pt x="267" y="92"/>
                    <a:pt x="266" y="92"/>
                    <a:pt x="266" y="91"/>
                  </a:cubicBezTo>
                  <a:cubicBezTo>
                    <a:pt x="265" y="91"/>
                    <a:pt x="265" y="91"/>
                    <a:pt x="265" y="91"/>
                  </a:cubicBezTo>
                  <a:cubicBezTo>
                    <a:pt x="265" y="91"/>
                    <a:pt x="265" y="90"/>
                    <a:pt x="265" y="90"/>
                  </a:cubicBezTo>
                  <a:lnTo>
                    <a:pt x="265" y="15"/>
                  </a:lnTo>
                  <a:cubicBezTo>
                    <a:pt x="265" y="13"/>
                    <a:pt x="265" y="12"/>
                    <a:pt x="266" y="12"/>
                  </a:cubicBezTo>
                  <a:cubicBezTo>
                    <a:pt x="267" y="11"/>
                    <a:pt x="268" y="11"/>
                    <a:pt x="269" y="11"/>
                  </a:cubicBezTo>
                  <a:lnTo>
                    <a:pt x="286" y="11"/>
                  </a:lnTo>
                  <a:cubicBezTo>
                    <a:pt x="288" y="11"/>
                    <a:pt x="290" y="11"/>
                    <a:pt x="291" y="11"/>
                  </a:cubicBezTo>
                  <a:cubicBezTo>
                    <a:pt x="292" y="11"/>
                    <a:pt x="294" y="11"/>
                    <a:pt x="295" y="11"/>
                  </a:cubicBezTo>
                  <a:cubicBezTo>
                    <a:pt x="298" y="12"/>
                    <a:pt x="301" y="13"/>
                    <a:pt x="303" y="14"/>
                  </a:cubicBezTo>
                  <a:cubicBezTo>
                    <a:pt x="305" y="15"/>
                    <a:pt x="307" y="16"/>
                    <a:pt x="309" y="18"/>
                  </a:cubicBezTo>
                  <a:cubicBezTo>
                    <a:pt x="311" y="20"/>
                    <a:pt x="312" y="22"/>
                    <a:pt x="313" y="24"/>
                  </a:cubicBezTo>
                  <a:cubicBezTo>
                    <a:pt x="313" y="27"/>
                    <a:pt x="314" y="29"/>
                    <a:pt x="314" y="32"/>
                  </a:cubicBezTo>
                  <a:cubicBezTo>
                    <a:pt x="314" y="35"/>
                    <a:pt x="313" y="37"/>
                    <a:pt x="313" y="39"/>
                  </a:cubicBezTo>
                  <a:cubicBezTo>
                    <a:pt x="312" y="41"/>
                    <a:pt x="311" y="43"/>
                    <a:pt x="310" y="45"/>
                  </a:cubicBezTo>
                  <a:cubicBezTo>
                    <a:pt x="308" y="47"/>
                    <a:pt x="307" y="48"/>
                    <a:pt x="305" y="49"/>
                  </a:cubicBezTo>
                  <a:cubicBezTo>
                    <a:pt x="303" y="50"/>
                    <a:pt x="301" y="51"/>
                    <a:pt x="298" y="52"/>
                  </a:cubicBezTo>
                  <a:cubicBezTo>
                    <a:pt x="300" y="53"/>
                    <a:pt x="301" y="54"/>
                    <a:pt x="302" y="54"/>
                  </a:cubicBezTo>
                  <a:cubicBezTo>
                    <a:pt x="303" y="55"/>
                    <a:pt x="304" y="56"/>
                    <a:pt x="305" y="58"/>
                  </a:cubicBezTo>
                  <a:cubicBezTo>
                    <a:pt x="306" y="59"/>
                    <a:pt x="307" y="60"/>
                    <a:pt x="308" y="62"/>
                  </a:cubicBezTo>
                  <a:cubicBezTo>
                    <a:pt x="308" y="64"/>
                    <a:pt x="309" y="65"/>
                    <a:pt x="310" y="68"/>
                  </a:cubicBezTo>
                  <a:lnTo>
                    <a:pt x="317" y="85"/>
                  </a:lnTo>
                  <a:cubicBezTo>
                    <a:pt x="318" y="87"/>
                    <a:pt x="318" y="88"/>
                    <a:pt x="318" y="88"/>
                  </a:cubicBezTo>
                  <a:cubicBezTo>
                    <a:pt x="319" y="89"/>
                    <a:pt x="319" y="90"/>
                    <a:pt x="319" y="90"/>
                  </a:cubicBezTo>
                  <a:close/>
                  <a:moveTo>
                    <a:pt x="302" y="33"/>
                  </a:moveTo>
                  <a:cubicBezTo>
                    <a:pt x="302" y="30"/>
                    <a:pt x="302" y="27"/>
                    <a:pt x="300" y="25"/>
                  </a:cubicBezTo>
                  <a:cubicBezTo>
                    <a:pt x="299" y="23"/>
                    <a:pt x="297" y="21"/>
                    <a:pt x="293" y="20"/>
                  </a:cubicBezTo>
                  <a:cubicBezTo>
                    <a:pt x="292" y="20"/>
                    <a:pt x="291" y="20"/>
                    <a:pt x="290" y="20"/>
                  </a:cubicBezTo>
                  <a:cubicBezTo>
                    <a:pt x="288" y="20"/>
                    <a:pt x="287" y="20"/>
                    <a:pt x="285" y="20"/>
                  </a:cubicBezTo>
                  <a:lnTo>
                    <a:pt x="275" y="20"/>
                  </a:lnTo>
                  <a:lnTo>
                    <a:pt x="275" y="47"/>
                  </a:lnTo>
                  <a:lnTo>
                    <a:pt x="286" y="47"/>
                  </a:lnTo>
                  <a:cubicBezTo>
                    <a:pt x="289" y="47"/>
                    <a:pt x="291" y="46"/>
                    <a:pt x="293" y="46"/>
                  </a:cubicBezTo>
                  <a:cubicBezTo>
                    <a:pt x="295" y="45"/>
                    <a:pt x="297" y="44"/>
                    <a:pt x="298" y="43"/>
                  </a:cubicBezTo>
                  <a:cubicBezTo>
                    <a:pt x="300" y="42"/>
                    <a:pt x="301" y="40"/>
                    <a:pt x="301" y="39"/>
                  </a:cubicBezTo>
                  <a:cubicBezTo>
                    <a:pt x="302" y="37"/>
                    <a:pt x="302" y="35"/>
                    <a:pt x="302" y="33"/>
                  </a:cubicBezTo>
                  <a:close/>
                  <a:moveTo>
                    <a:pt x="376" y="59"/>
                  </a:moveTo>
                  <a:cubicBezTo>
                    <a:pt x="376" y="61"/>
                    <a:pt x="375" y="62"/>
                    <a:pt x="374" y="63"/>
                  </a:cubicBezTo>
                  <a:cubicBezTo>
                    <a:pt x="373" y="64"/>
                    <a:pt x="373" y="64"/>
                    <a:pt x="371" y="64"/>
                  </a:cubicBezTo>
                  <a:lnTo>
                    <a:pt x="334" y="64"/>
                  </a:lnTo>
                  <a:cubicBezTo>
                    <a:pt x="334" y="67"/>
                    <a:pt x="335" y="70"/>
                    <a:pt x="335" y="72"/>
                  </a:cubicBezTo>
                  <a:cubicBezTo>
                    <a:pt x="336" y="75"/>
                    <a:pt x="337" y="77"/>
                    <a:pt x="339" y="79"/>
                  </a:cubicBezTo>
                  <a:cubicBezTo>
                    <a:pt x="340" y="81"/>
                    <a:pt x="342" y="82"/>
                    <a:pt x="344" y="83"/>
                  </a:cubicBezTo>
                  <a:cubicBezTo>
                    <a:pt x="347" y="84"/>
                    <a:pt x="349" y="84"/>
                    <a:pt x="353" y="84"/>
                  </a:cubicBezTo>
                  <a:cubicBezTo>
                    <a:pt x="356" y="84"/>
                    <a:pt x="358" y="84"/>
                    <a:pt x="360" y="84"/>
                  </a:cubicBezTo>
                  <a:cubicBezTo>
                    <a:pt x="362" y="83"/>
                    <a:pt x="364" y="83"/>
                    <a:pt x="365" y="82"/>
                  </a:cubicBezTo>
                  <a:cubicBezTo>
                    <a:pt x="367" y="82"/>
                    <a:pt x="368" y="81"/>
                    <a:pt x="369" y="81"/>
                  </a:cubicBezTo>
                  <a:cubicBezTo>
                    <a:pt x="370" y="80"/>
                    <a:pt x="371" y="80"/>
                    <a:pt x="371" y="80"/>
                  </a:cubicBezTo>
                  <a:cubicBezTo>
                    <a:pt x="372" y="80"/>
                    <a:pt x="372" y="80"/>
                    <a:pt x="372" y="80"/>
                  </a:cubicBezTo>
                  <a:cubicBezTo>
                    <a:pt x="372" y="80"/>
                    <a:pt x="373" y="81"/>
                    <a:pt x="373" y="81"/>
                  </a:cubicBezTo>
                  <a:cubicBezTo>
                    <a:pt x="373" y="81"/>
                    <a:pt x="373" y="82"/>
                    <a:pt x="373" y="82"/>
                  </a:cubicBezTo>
                  <a:cubicBezTo>
                    <a:pt x="373" y="83"/>
                    <a:pt x="373" y="83"/>
                    <a:pt x="373" y="84"/>
                  </a:cubicBezTo>
                  <a:cubicBezTo>
                    <a:pt x="373" y="85"/>
                    <a:pt x="373" y="85"/>
                    <a:pt x="373" y="85"/>
                  </a:cubicBezTo>
                  <a:cubicBezTo>
                    <a:pt x="373" y="86"/>
                    <a:pt x="373" y="86"/>
                    <a:pt x="373" y="87"/>
                  </a:cubicBezTo>
                  <a:cubicBezTo>
                    <a:pt x="373" y="87"/>
                    <a:pt x="373" y="87"/>
                    <a:pt x="373" y="87"/>
                  </a:cubicBezTo>
                  <a:cubicBezTo>
                    <a:pt x="372" y="88"/>
                    <a:pt x="372" y="88"/>
                    <a:pt x="372" y="88"/>
                  </a:cubicBezTo>
                  <a:cubicBezTo>
                    <a:pt x="372" y="88"/>
                    <a:pt x="371" y="89"/>
                    <a:pt x="370" y="89"/>
                  </a:cubicBezTo>
                  <a:cubicBezTo>
                    <a:pt x="369" y="90"/>
                    <a:pt x="367" y="90"/>
                    <a:pt x="366" y="91"/>
                  </a:cubicBezTo>
                  <a:cubicBezTo>
                    <a:pt x="364" y="91"/>
                    <a:pt x="362" y="92"/>
                    <a:pt x="359" y="92"/>
                  </a:cubicBezTo>
                  <a:cubicBezTo>
                    <a:pt x="357" y="93"/>
                    <a:pt x="355" y="93"/>
                    <a:pt x="352" y="93"/>
                  </a:cubicBezTo>
                  <a:cubicBezTo>
                    <a:pt x="347" y="93"/>
                    <a:pt x="343" y="92"/>
                    <a:pt x="340" y="91"/>
                  </a:cubicBezTo>
                  <a:cubicBezTo>
                    <a:pt x="336" y="89"/>
                    <a:pt x="333" y="88"/>
                    <a:pt x="331" y="85"/>
                  </a:cubicBezTo>
                  <a:cubicBezTo>
                    <a:pt x="329" y="82"/>
                    <a:pt x="327" y="79"/>
                    <a:pt x="326" y="75"/>
                  </a:cubicBezTo>
                  <a:cubicBezTo>
                    <a:pt x="324" y="72"/>
                    <a:pt x="324" y="67"/>
                    <a:pt x="324" y="62"/>
                  </a:cubicBezTo>
                  <a:cubicBezTo>
                    <a:pt x="324" y="57"/>
                    <a:pt x="324" y="53"/>
                    <a:pt x="326" y="49"/>
                  </a:cubicBezTo>
                  <a:cubicBezTo>
                    <a:pt x="327" y="45"/>
                    <a:pt x="329" y="42"/>
                    <a:pt x="331" y="39"/>
                  </a:cubicBezTo>
                  <a:cubicBezTo>
                    <a:pt x="333" y="37"/>
                    <a:pt x="336" y="34"/>
                    <a:pt x="340" y="33"/>
                  </a:cubicBezTo>
                  <a:cubicBezTo>
                    <a:pt x="343" y="32"/>
                    <a:pt x="347" y="31"/>
                    <a:pt x="351" y="31"/>
                  </a:cubicBezTo>
                  <a:cubicBezTo>
                    <a:pt x="355" y="31"/>
                    <a:pt x="359" y="32"/>
                    <a:pt x="362" y="33"/>
                  </a:cubicBezTo>
                  <a:cubicBezTo>
                    <a:pt x="365" y="34"/>
                    <a:pt x="368" y="36"/>
                    <a:pt x="370" y="39"/>
                  </a:cubicBezTo>
                  <a:cubicBezTo>
                    <a:pt x="372" y="41"/>
                    <a:pt x="373" y="44"/>
                    <a:pt x="374" y="47"/>
                  </a:cubicBezTo>
                  <a:cubicBezTo>
                    <a:pt x="375" y="50"/>
                    <a:pt x="376" y="54"/>
                    <a:pt x="376" y="58"/>
                  </a:cubicBezTo>
                  <a:lnTo>
                    <a:pt x="376" y="59"/>
                  </a:lnTo>
                  <a:close/>
                  <a:moveTo>
                    <a:pt x="365" y="56"/>
                  </a:moveTo>
                  <a:cubicBezTo>
                    <a:pt x="365" y="51"/>
                    <a:pt x="364" y="47"/>
                    <a:pt x="362" y="44"/>
                  </a:cubicBezTo>
                  <a:cubicBezTo>
                    <a:pt x="359" y="40"/>
                    <a:pt x="355" y="39"/>
                    <a:pt x="350" y="39"/>
                  </a:cubicBezTo>
                  <a:cubicBezTo>
                    <a:pt x="348" y="39"/>
                    <a:pt x="345" y="39"/>
                    <a:pt x="344" y="40"/>
                  </a:cubicBezTo>
                  <a:cubicBezTo>
                    <a:pt x="342" y="41"/>
                    <a:pt x="340" y="43"/>
                    <a:pt x="339" y="44"/>
                  </a:cubicBezTo>
                  <a:cubicBezTo>
                    <a:pt x="337" y="46"/>
                    <a:pt x="336" y="48"/>
                    <a:pt x="336" y="50"/>
                  </a:cubicBezTo>
                  <a:cubicBezTo>
                    <a:pt x="335" y="52"/>
                    <a:pt x="335" y="54"/>
                    <a:pt x="334" y="56"/>
                  </a:cubicBezTo>
                  <a:lnTo>
                    <a:pt x="365" y="56"/>
                  </a:lnTo>
                  <a:close/>
                  <a:moveTo>
                    <a:pt x="475" y="90"/>
                  </a:moveTo>
                  <a:cubicBezTo>
                    <a:pt x="475" y="90"/>
                    <a:pt x="475" y="91"/>
                    <a:pt x="475" y="91"/>
                  </a:cubicBezTo>
                  <a:cubicBezTo>
                    <a:pt x="475" y="91"/>
                    <a:pt x="474" y="91"/>
                    <a:pt x="474" y="91"/>
                  </a:cubicBezTo>
                  <a:cubicBezTo>
                    <a:pt x="474" y="92"/>
                    <a:pt x="473" y="92"/>
                    <a:pt x="472" y="92"/>
                  </a:cubicBezTo>
                  <a:cubicBezTo>
                    <a:pt x="472" y="92"/>
                    <a:pt x="471" y="92"/>
                    <a:pt x="470" y="92"/>
                  </a:cubicBezTo>
                  <a:cubicBezTo>
                    <a:pt x="469" y="92"/>
                    <a:pt x="468" y="92"/>
                    <a:pt x="467" y="92"/>
                  </a:cubicBezTo>
                  <a:cubicBezTo>
                    <a:pt x="467" y="92"/>
                    <a:pt x="466" y="92"/>
                    <a:pt x="466" y="91"/>
                  </a:cubicBezTo>
                  <a:cubicBezTo>
                    <a:pt x="465" y="91"/>
                    <a:pt x="465" y="91"/>
                    <a:pt x="465" y="91"/>
                  </a:cubicBezTo>
                  <a:cubicBezTo>
                    <a:pt x="465" y="91"/>
                    <a:pt x="465" y="90"/>
                    <a:pt x="465" y="90"/>
                  </a:cubicBezTo>
                  <a:lnTo>
                    <a:pt x="465" y="56"/>
                  </a:lnTo>
                  <a:cubicBezTo>
                    <a:pt x="465" y="53"/>
                    <a:pt x="464" y="51"/>
                    <a:pt x="464" y="49"/>
                  </a:cubicBezTo>
                  <a:cubicBezTo>
                    <a:pt x="464" y="47"/>
                    <a:pt x="463" y="46"/>
                    <a:pt x="462" y="44"/>
                  </a:cubicBezTo>
                  <a:cubicBezTo>
                    <a:pt x="461" y="43"/>
                    <a:pt x="460" y="42"/>
                    <a:pt x="458" y="41"/>
                  </a:cubicBezTo>
                  <a:cubicBezTo>
                    <a:pt x="457" y="40"/>
                    <a:pt x="455" y="40"/>
                    <a:pt x="453" y="40"/>
                  </a:cubicBezTo>
                  <a:cubicBezTo>
                    <a:pt x="451" y="40"/>
                    <a:pt x="449" y="41"/>
                    <a:pt x="446" y="43"/>
                  </a:cubicBezTo>
                  <a:cubicBezTo>
                    <a:pt x="444" y="44"/>
                    <a:pt x="441" y="47"/>
                    <a:pt x="438" y="51"/>
                  </a:cubicBezTo>
                  <a:lnTo>
                    <a:pt x="438" y="90"/>
                  </a:lnTo>
                  <a:cubicBezTo>
                    <a:pt x="438" y="90"/>
                    <a:pt x="438" y="91"/>
                    <a:pt x="438" y="91"/>
                  </a:cubicBezTo>
                  <a:cubicBezTo>
                    <a:pt x="438" y="91"/>
                    <a:pt x="438" y="91"/>
                    <a:pt x="437" y="91"/>
                  </a:cubicBezTo>
                  <a:cubicBezTo>
                    <a:pt x="437" y="92"/>
                    <a:pt x="436" y="92"/>
                    <a:pt x="436" y="92"/>
                  </a:cubicBezTo>
                  <a:cubicBezTo>
                    <a:pt x="435" y="92"/>
                    <a:pt x="434" y="92"/>
                    <a:pt x="433" y="92"/>
                  </a:cubicBezTo>
                  <a:cubicBezTo>
                    <a:pt x="432" y="92"/>
                    <a:pt x="431" y="92"/>
                    <a:pt x="431" y="92"/>
                  </a:cubicBezTo>
                  <a:cubicBezTo>
                    <a:pt x="430" y="92"/>
                    <a:pt x="430" y="92"/>
                    <a:pt x="429" y="91"/>
                  </a:cubicBezTo>
                  <a:cubicBezTo>
                    <a:pt x="429" y="91"/>
                    <a:pt x="428" y="91"/>
                    <a:pt x="428" y="91"/>
                  </a:cubicBezTo>
                  <a:cubicBezTo>
                    <a:pt x="428" y="91"/>
                    <a:pt x="428" y="90"/>
                    <a:pt x="428" y="90"/>
                  </a:cubicBezTo>
                  <a:lnTo>
                    <a:pt x="428" y="56"/>
                  </a:lnTo>
                  <a:cubicBezTo>
                    <a:pt x="428" y="53"/>
                    <a:pt x="428" y="51"/>
                    <a:pt x="427" y="49"/>
                  </a:cubicBezTo>
                  <a:cubicBezTo>
                    <a:pt x="427" y="47"/>
                    <a:pt x="426" y="46"/>
                    <a:pt x="425" y="44"/>
                  </a:cubicBezTo>
                  <a:cubicBezTo>
                    <a:pt x="424" y="43"/>
                    <a:pt x="423" y="42"/>
                    <a:pt x="422" y="41"/>
                  </a:cubicBezTo>
                  <a:cubicBezTo>
                    <a:pt x="420" y="40"/>
                    <a:pt x="419" y="40"/>
                    <a:pt x="417" y="40"/>
                  </a:cubicBezTo>
                  <a:cubicBezTo>
                    <a:pt x="415" y="40"/>
                    <a:pt x="412" y="41"/>
                    <a:pt x="410" y="43"/>
                  </a:cubicBezTo>
                  <a:cubicBezTo>
                    <a:pt x="407" y="44"/>
                    <a:pt x="405" y="47"/>
                    <a:pt x="402" y="51"/>
                  </a:cubicBezTo>
                  <a:lnTo>
                    <a:pt x="402" y="90"/>
                  </a:lnTo>
                  <a:cubicBezTo>
                    <a:pt x="402" y="90"/>
                    <a:pt x="402" y="91"/>
                    <a:pt x="402" y="91"/>
                  </a:cubicBezTo>
                  <a:cubicBezTo>
                    <a:pt x="401" y="91"/>
                    <a:pt x="401" y="91"/>
                    <a:pt x="401" y="91"/>
                  </a:cubicBezTo>
                  <a:cubicBezTo>
                    <a:pt x="400" y="92"/>
                    <a:pt x="400" y="92"/>
                    <a:pt x="399" y="92"/>
                  </a:cubicBezTo>
                  <a:cubicBezTo>
                    <a:pt x="399" y="92"/>
                    <a:pt x="398" y="92"/>
                    <a:pt x="397" y="92"/>
                  </a:cubicBezTo>
                  <a:cubicBezTo>
                    <a:pt x="396" y="92"/>
                    <a:pt x="395" y="92"/>
                    <a:pt x="394" y="92"/>
                  </a:cubicBezTo>
                  <a:cubicBezTo>
                    <a:pt x="393" y="92"/>
                    <a:pt x="393" y="92"/>
                    <a:pt x="393" y="91"/>
                  </a:cubicBezTo>
                  <a:cubicBezTo>
                    <a:pt x="392" y="91"/>
                    <a:pt x="392" y="91"/>
                    <a:pt x="392" y="91"/>
                  </a:cubicBezTo>
                  <a:cubicBezTo>
                    <a:pt x="392" y="91"/>
                    <a:pt x="392" y="90"/>
                    <a:pt x="392" y="90"/>
                  </a:cubicBezTo>
                  <a:lnTo>
                    <a:pt x="392" y="34"/>
                  </a:lnTo>
                  <a:cubicBezTo>
                    <a:pt x="392" y="33"/>
                    <a:pt x="392" y="33"/>
                    <a:pt x="392" y="33"/>
                  </a:cubicBezTo>
                  <a:cubicBezTo>
                    <a:pt x="392" y="33"/>
                    <a:pt x="392" y="32"/>
                    <a:pt x="392" y="32"/>
                  </a:cubicBezTo>
                  <a:cubicBezTo>
                    <a:pt x="393" y="32"/>
                    <a:pt x="393" y="32"/>
                    <a:pt x="394" y="32"/>
                  </a:cubicBezTo>
                  <a:cubicBezTo>
                    <a:pt x="394" y="32"/>
                    <a:pt x="395" y="32"/>
                    <a:pt x="396" y="32"/>
                  </a:cubicBezTo>
                  <a:cubicBezTo>
                    <a:pt x="397" y="32"/>
                    <a:pt x="398" y="32"/>
                    <a:pt x="398" y="32"/>
                  </a:cubicBezTo>
                  <a:cubicBezTo>
                    <a:pt x="399" y="32"/>
                    <a:pt x="400" y="32"/>
                    <a:pt x="400" y="32"/>
                  </a:cubicBezTo>
                  <a:cubicBezTo>
                    <a:pt x="400" y="32"/>
                    <a:pt x="400" y="33"/>
                    <a:pt x="401" y="33"/>
                  </a:cubicBezTo>
                  <a:cubicBezTo>
                    <a:pt x="401" y="33"/>
                    <a:pt x="401" y="33"/>
                    <a:pt x="401" y="34"/>
                  </a:cubicBezTo>
                  <a:lnTo>
                    <a:pt x="401" y="41"/>
                  </a:lnTo>
                  <a:cubicBezTo>
                    <a:pt x="404" y="38"/>
                    <a:pt x="407" y="35"/>
                    <a:pt x="410" y="33"/>
                  </a:cubicBezTo>
                  <a:cubicBezTo>
                    <a:pt x="413" y="32"/>
                    <a:pt x="416" y="31"/>
                    <a:pt x="419" y="31"/>
                  </a:cubicBezTo>
                  <a:cubicBezTo>
                    <a:pt x="421" y="31"/>
                    <a:pt x="424" y="31"/>
                    <a:pt x="425" y="32"/>
                  </a:cubicBezTo>
                  <a:cubicBezTo>
                    <a:pt x="427" y="32"/>
                    <a:pt x="429" y="33"/>
                    <a:pt x="430" y="34"/>
                  </a:cubicBezTo>
                  <a:cubicBezTo>
                    <a:pt x="432" y="35"/>
                    <a:pt x="433" y="36"/>
                    <a:pt x="434" y="37"/>
                  </a:cubicBezTo>
                  <a:cubicBezTo>
                    <a:pt x="435" y="39"/>
                    <a:pt x="436" y="40"/>
                    <a:pt x="436" y="42"/>
                  </a:cubicBezTo>
                  <a:cubicBezTo>
                    <a:pt x="438" y="40"/>
                    <a:pt x="440" y="38"/>
                    <a:pt x="442" y="37"/>
                  </a:cubicBezTo>
                  <a:cubicBezTo>
                    <a:pt x="443" y="35"/>
                    <a:pt x="445" y="34"/>
                    <a:pt x="447" y="33"/>
                  </a:cubicBezTo>
                  <a:cubicBezTo>
                    <a:pt x="448" y="33"/>
                    <a:pt x="450" y="32"/>
                    <a:pt x="451" y="31"/>
                  </a:cubicBezTo>
                  <a:cubicBezTo>
                    <a:pt x="453" y="31"/>
                    <a:pt x="454" y="31"/>
                    <a:pt x="456" y="31"/>
                  </a:cubicBezTo>
                  <a:cubicBezTo>
                    <a:pt x="459" y="31"/>
                    <a:pt x="462" y="32"/>
                    <a:pt x="465" y="33"/>
                  </a:cubicBezTo>
                  <a:cubicBezTo>
                    <a:pt x="467" y="34"/>
                    <a:pt x="469" y="36"/>
                    <a:pt x="471" y="38"/>
                  </a:cubicBezTo>
                  <a:cubicBezTo>
                    <a:pt x="472" y="40"/>
                    <a:pt x="473" y="43"/>
                    <a:pt x="474" y="45"/>
                  </a:cubicBezTo>
                  <a:cubicBezTo>
                    <a:pt x="475" y="48"/>
                    <a:pt x="475" y="51"/>
                    <a:pt x="475" y="54"/>
                  </a:cubicBezTo>
                  <a:lnTo>
                    <a:pt x="475" y="90"/>
                  </a:lnTo>
                  <a:close/>
                  <a:moveTo>
                    <a:pt x="556" y="61"/>
                  </a:moveTo>
                  <a:cubicBezTo>
                    <a:pt x="556" y="66"/>
                    <a:pt x="555" y="70"/>
                    <a:pt x="554" y="74"/>
                  </a:cubicBezTo>
                  <a:cubicBezTo>
                    <a:pt x="553" y="78"/>
                    <a:pt x="551" y="81"/>
                    <a:pt x="549" y="84"/>
                  </a:cubicBezTo>
                  <a:cubicBezTo>
                    <a:pt x="546" y="87"/>
                    <a:pt x="543" y="89"/>
                    <a:pt x="540" y="90"/>
                  </a:cubicBezTo>
                  <a:cubicBezTo>
                    <a:pt x="536" y="92"/>
                    <a:pt x="532" y="93"/>
                    <a:pt x="527" y="93"/>
                  </a:cubicBezTo>
                  <a:cubicBezTo>
                    <a:pt x="522" y="93"/>
                    <a:pt x="518" y="92"/>
                    <a:pt x="515" y="91"/>
                  </a:cubicBezTo>
                  <a:cubicBezTo>
                    <a:pt x="512" y="89"/>
                    <a:pt x="509" y="87"/>
                    <a:pt x="506" y="85"/>
                  </a:cubicBezTo>
                  <a:cubicBezTo>
                    <a:pt x="504" y="82"/>
                    <a:pt x="502" y="79"/>
                    <a:pt x="501" y="75"/>
                  </a:cubicBezTo>
                  <a:cubicBezTo>
                    <a:pt x="500" y="71"/>
                    <a:pt x="500" y="67"/>
                    <a:pt x="500" y="62"/>
                  </a:cubicBezTo>
                  <a:cubicBezTo>
                    <a:pt x="500" y="58"/>
                    <a:pt x="500" y="54"/>
                    <a:pt x="501" y="50"/>
                  </a:cubicBezTo>
                  <a:cubicBezTo>
                    <a:pt x="503" y="46"/>
                    <a:pt x="504" y="42"/>
                    <a:pt x="507" y="40"/>
                  </a:cubicBezTo>
                  <a:cubicBezTo>
                    <a:pt x="509" y="37"/>
                    <a:pt x="512" y="35"/>
                    <a:pt x="516" y="33"/>
                  </a:cubicBezTo>
                  <a:cubicBezTo>
                    <a:pt x="519" y="32"/>
                    <a:pt x="523" y="31"/>
                    <a:pt x="528" y="31"/>
                  </a:cubicBezTo>
                  <a:cubicBezTo>
                    <a:pt x="533" y="31"/>
                    <a:pt x="537" y="32"/>
                    <a:pt x="540" y="33"/>
                  </a:cubicBezTo>
                  <a:cubicBezTo>
                    <a:pt x="544" y="34"/>
                    <a:pt x="547" y="36"/>
                    <a:pt x="549" y="39"/>
                  </a:cubicBezTo>
                  <a:cubicBezTo>
                    <a:pt x="551" y="42"/>
                    <a:pt x="553" y="45"/>
                    <a:pt x="554" y="49"/>
                  </a:cubicBezTo>
                  <a:cubicBezTo>
                    <a:pt x="555" y="52"/>
                    <a:pt x="556" y="56"/>
                    <a:pt x="556" y="61"/>
                  </a:cubicBezTo>
                  <a:close/>
                  <a:moveTo>
                    <a:pt x="545" y="62"/>
                  </a:moveTo>
                  <a:cubicBezTo>
                    <a:pt x="545" y="59"/>
                    <a:pt x="545" y="56"/>
                    <a:pt x="544" y="53"/>
                  </a:cubicBezTo>
                  <a:cubicBezTo>
                    <a:pt x="544" y="51"/>
                    <a:pt x="543" y="48"/>
                    <a:pt x="541" y="46"/>
                  </a:cubicBezTo>
                  <a:cubicBezTo>
                    <a:pt x="540" y="44"/>
                    <a:pt x="538" y="42"/>
                    <a:pt x="536" y="41"/>
                  </a:cubicBezTo>
                  <a:cubicBezTo>
                    <a:pt x="534" y="40"/>
                    <a:pt x="531" y="40"/>
                    <a:pt x="528" y="40"/>
                  </a:cubicBezTo>
                  <a:cubicBezTo>
                    <a:pt x="525" y="40"/>
                    <a:pt x="522" y="40"/>
                    <a:pt x="520" y="41"/>
                  </a:cubicBezTo>
                  <a:cubicBezTo>
                    <a:pt x="518" y="42"/>
                    <a:pt x="516" y="44"/>
                    <a:pt x="514" y="46"/>
                  </a:cubicBezTo>
                  <a:cubicBezTo>
                    <a:pt x="513" y="48"/>
                    <a:pt x="512" y="50"/>
                    <a:pt x="511" y="53"/>
                  </a:cubicBezTo>
                  <a:cubicBezTo>
                    <a:pt x="511" y="55"/>
                    <a:pt x="510" y="58"/>
                    <a:pt x="510" y="62"/>
                  </a:cubicBezTo>
                  <a:cubicBezTo>
                    <a:pt x="510" y="65"/>
                    <a:pt x="511" y="68"/>
                    <a:pt x="511" y="70"/>
                  </a:cubicBezTo>
                  <a:cubicBezTo>
                    <a:pt x="512" y="73"/>
                    <a:pt x="513" y="75"/>
                    <a:pt x="514" y="77"/>
                  </a:cubicBezTo>
                  <a:cubicBezTo>
                    <a:pt x="515" y="79"/>
                    <a:pt x="517" y="81"/>
                    <a:pt x="519" y="82"/>
                  </a:cubicBezTo>
                  <a:cubicBezTo>
                    <a:pt x="522" y="83"/>
                    <a:pt x="524" y="84"/>
                    <a:pt x="528" y="84"/>
                  </a:cubicBezTo>
                  <a:cubicBezTo>
                    <a:pt x="531" y="84"/>
                    <a:pt x="533" y="83"/>
                    <a:pt x="535" y="82"/>
                  </a:cubicBezTo>
                  <a:cubicBezTo>
                    <a:pt x="538" y="81"/>
                    <a:pt x="540" y="80"/>
                    <a:pt x="541" y="78"/>
                  </a:cubicBezTo>
                  <a:cubicBezTo>
                    <a:pt x="542" y="76"/>
                    <a:pt x="543" y="74"/>
                    <a:pt x="544" y="71"/>
                  </a:cubicBezTo>
                  <a:cubicBezTo>
                    <a:pt x="545" y="68"/>
                    <a:pt x="545" y="65"/>
                    <a:pt x="545" y="62"/>
                  </a:cubicBezTo>
                  <a:close/>
                  <a:moveTo>
                    <a:pt x="614" y="34"/>
                  </a:moveTo>
                  <a:cubicBezTo>
                    <a:pt x="614" y="34"/>
                    <a:pt x="614" y="34"/>
                    <a:pt x="614" y="34"/>
                  </a:cubicBezTo>
                  <a:cubicBezTo>
                    <a:pt x="614" y="34"/>
                    <a:pt x="614" y="34"/>
                    <a:pt x="614" y="35"/>
                  </a:cubicBezTo>
                  <a:cubicBezTo>
                    <a:pt x="613" y="35"/>
                    <a:pt x="613" y="35"/>
                    <a:pt x="613" y="35"/>
                  </a:cubicBezTo>
                  <a:cubicBezTo>
                    <a:pt x="613" y="36"/>
                    <a:pt x="613" y="36"/>
                    <a:pt x="613" y="36"/>
                  </a:cubicBezTo>
                  <a:lnTo>
                    <a:pt x="594" y="90"/>
                  </a:lnTo>
                  <a:cubicBezTo>
                    <a:pt x="594" y="90"/>
                    <a:pt x="594" y="90"/>
                    <a:pt x="593" y="91"/>
                  </a:cubicBezTo>
                  <a:cubicBezTo>
                    <a:pt x="593" y="91"/>
                    <a:pt x="593" y="91"/>
                    <a:pt x="592" y="91"/>
                  </a:cubicBezTo>
                  <a:cubicBezTo>
                    <a:pt x="592" y="92"/>
                    <a:pt x="591" y="92"/>
                    <a:pt x="590" y="92"/>
                  </a:cubicBezTo>
                  <a:cubicBezTo>
                    <a:pt x="589" y="92"/>
                    <a:pt x="588" y="92"/>
                    <a:pt x="587" y="92"/>
                  </a:cubicBezTo>
                  <a:cubicBezTo>
                    <a:pt x="586" y="92"/>
                    <a:pt x="585" y="92"/>
                    <a:pt x="584" y="92"/>
                  </a:cubicBezTo>
                  <a:cubicBezTo>
                    <a:pt x="583" y="92"/>
                    <a:pt x="582" y="92"/>
                    <a:pt x="582" y="91"/>
                  </a:cubicBezTo>
                  <a:cubicBezTo>
                    <a:pt x="581" y="91"/>
                    <a:pt x="581" y="91"/>
                    <a:pt x="581" y="91"/>
                  </a:cubicBezTo>
                  <a:cubicBezTo>
                    <a:pt x="580" y="90"/>
                    <a:pt x="580" y="90"/>
                    <a:pt x="580" y="90"/>
                  </a:cubicBezTo>
                  <a:lnTo>
                    <a:pt x="561" y="36"/>
                  </a:lnTo>
                  <a:cubicBezTo>
                    <a:pt x="561" y="36"/>
                    <a:pt x="560" y="35"/>
                    <a:pt x="560" y="35"/>
                  </a:cubicBezTo>
                  <a:cubicBezTo>
                    <a:pt x="560" y="35"/>
                    <a:pt x="560" y="34"/>
                    <a:pt x="560" y="34"/>
                  </a:cubicBezTo>
                  <a:cubicBezTo>
                    <a:pt x="560" y="34"/>
                    <a:pt x="560" y="34"/>
                    <a:pt x="560" y="34"/>
                  </a:cubicBezTo>
                  <a:cubicBezTo>
                    <a:pt x="560" y="33"/>
                    <a:pt x="560" y="33"/>
                    <a:pt x="560" y="33"/>
                  </a:cubicBezTo>
                  <a:cubicBezTo>
                    <a:pt x="560" y="32"/>
                    <a:pt x="561" y="32"/>
                    <a:pt x="561" y="32"/>
                  </a:cubicBezTo>
                  <a:cubicBezTo>
                    <a:pt x="562" y="32"/>
                    <a:pt x="562" y="32"/>
                    <a:pt x="563" y="32"/>
                  </a:cubicBezTo>
                  <a:cubicBezTo>
                    <a:pt x="563" y="32"/>
                    <a:pt x="564" y="32"/>
                    <a:pt x="565" y="32"/>
                  </a:cubicBezTo>
                  <a:cubicBezTo>
                    <a:pt x="566" y="32"/>
                    <a:pt x="567" y="32"/>
                    <a:pt x="568" y="32"/>
                  </a:cubicBezTo>
                  <a:cubicBezTo>
                    <a:pt x="569" y="32"/>
                    <a:pt x="569" y="32"/>
                    <a:pt x="570" y="32"/>
                  </a:cubicBezTo>
                  <a:cubicBezTo>
                    <a:pt x="570" y="32"/>
                    <a:pt x="570" y="33"/>
                    <a:pt x="571" y="33"/>
                  </a:cubicBezTo>
                  <a:cubicBezTo>
                    <a:pt x="571" y="33"/>
                    <a:pt x="571" y="33"/>
                    <a:pt x="571" y="34"/>
                  </a:cubicBezTo>
                  <a:lnTo>
                    <a:pt x="587" y="80"/>
                  </a:lnTo>
                  <a:lnTo>
                    <a:pt x="587" y="81"/>
                  </a:lnTo>
                  <a:lnTo>
                    <a:pt x="587" y="80"/>
                  </a:lnTo>
                  <a:lnTo>
                    <a:pt x="603" y="34"/>
                  </a:lnTo>
                  <a:cubicBezTo>
                    <a:pt x="603" y="33"/>
                    <a:pt x="603" y="33"/>
                    <a:pt x="604" y="33"/>
                  </a:cubicBezTo>
                  <a:cubicBezTo>
                    <a:pt x="604" y="33"/>
                    <a:pt x="604" y="32"/>
                    <a:pt x="604" y="32"/>
                  </a:cubicBezTo>
                  <a:cubicBezTo>
                    <a:pt x="605" y="32"/>
                    <a:pt x="605" y="32"/>
                    <a:pt x="606" y="32"/>
                  </a:cubicBezTo>
                  <a:cubicBezTo>
                    <a:pt x="607" y="32"/>
                    <a:pt x="608" y="32"/>
                    <a:pt x="609" y="32"/>
                  </a:cubicBezTo>
                  <a:cubicBezTo>
                    <a:pt x="610" y="32"/>
                    <a:pt x="611" y="32"/>
                    <a:pt x="611" y="32"/>
                  </a:cubicBezTo>
                  <a:cubicBezTo>
                    <a:pt x="612" y="32"/>
                    <a:pt x="612" y="32"/>
                    <a:pt x="613" y="32"/>
                  </a:cubicBezTo>
                  <a:cubicBezTo>
                    <a:pt x="613" y="32"/>
                    <a:pt x="613" y="33"/>
                    <a:pt x="613" y="33"/>
                  </a:cubicBezTo>
                  <a:cubicBezTo>
                    <a:pt x="614" y="33"/>
                    <a:pt x="614" y="33"/>
                    <a:pt x="614" y="34"/>
                  </a:cubicBezTo>
                  <a:close/>
                  <a:moveTo>
                    <a:pt x="680" y="59"/>
                  </a:moveTo>
                  <a:cubicBezTo>
                    <a:pt x="680" y="61"/>
                    <a:pt x="679" y="62"/>
                    <a:pt x="678" y="63"/>
                  </a:cubicBezTo>
                  <a:cubicBezTo>
                    <a:pt x="677" y="64"/>
                    <a:pt x="677" y="64"/>
                    <a:pt x="675" y="64"/>
                  </a:cubicBezTo>
                  <a:lnTo>
                    <a:pt x="638" y="64"/>
                  </a:lnTo>
                  <a:cubicBezTo>
                    <a:pt x="638" y="67"/>
                    <a:pt x="639" y="70"/>
                    <a:pt x="639" y="72"/>
                  </a:cubicBezTo>
                  <a:cubicBezTo>
                    <a:pt x="640" y="75"/>
                    <a:pt x="641" y="77"/>
                    <a:pt x="643" y="79"/>
                  </a:cubicBezTo>
                  <a:cubicBezTo>
                    <a:pt x="644" y="81"/>
                    <a:pt x="646" y="82"/>
                    <a:pt x="648" y="83"/>
                  </a:cubicBezTo>
                  <a:cubicBezTo>
                    <a:pt x="651" y="84"/>
                    <a:pt x="653" y="84"/>
                    <a:pt x="657" y="84"/>
                  </a:cubicBezTo>
                  <a:cubicBezTo>
                    <a:pt x="660" y="84"/>
                    <a:pt x="662" y="84"/>
                    <a:pt x="664" y="84"/>
                  </a:cubicBezTo>
                  <a:cubicBezTo>
                    <a:pt x="666" y="83"/>
                    <a:pt x="668" y="83"/>
                    <a:pt x="669" y="82"/>
                  </a:cubicBezTo>
                  <a:cubicBezTo>
                    <a:pt x="671" y="82"/>
                    <a:pt x="672" y="81"/>
                    <a:pt x="673" y="81"/>
                  </a:cubicBezTo>
                  <a:cubicBezTo>
                    <a:pt x="674" y="80"/>
                    <a:pt x="675" y="80"/>
                    <a:pt x="675" y="80"/>
                  </a:cubicBezTo>
                  <a:cubicBezTo>
                    <a:pt x="676" y="80"/>
                    <a:pt x="676" y="80"/>
                    <a:pt x="676" y="80"/>
                  </a:cubicBezTo>
                  <a:cubicBezTo>
                    <a:pt x="676" y="80"/>
                    <a:pt x="677" y="81"/>
                    <a:pt x="677" y="81"/>
                  </a:cubicBezTo>
                  <a:cubicBezTo>
                    <a:pt x="677" y="81"/>
                    <a:pt x="677" y="82"/>
                    <a:pt x="677" y="82"/>
                  </a:cubicBezTo>
                  <a:cubicBezTo>
                    <a:pt x="677" y="83"/>
                    <a:pt x="677" y="83"/>
                    <a:pt x="677" y="84"/>
                  </a:cubicBezTo>
                  <a:cubicBezTo>
                    <a:pt x="677" y="85"/>
                    <a:pt x="677" y="85"/>
                    <a:pt x="677" y="85"/>
                  </a:cubicBezTo>
                  <a:cubicBezTo>
                    <a:pt x="677" y="86"/>
                    <a:pt x="677" y="86"/>
                    <a:pt x="677" y="87"/>
                  </a:cubicBezTo>
                  <a:cubicBezTo>
                    <a:pt x="677" y="87"/>
                    <a:pt x="677" y="87"/>
                    <a:pt x="677" y="87"/>
                  </a:cubicBezTo>
                  <a:cubicBezTo>
                    <a:pt x="676" y="88"/>
                    <a:pt x="676" y="88"/>
                    <a:pt x="676" y="88"/>
                  </a:cubicBezTo>
                  <a:cubicBezTo>
                    <a:pt x="676" y="88"/>
                    <a:pt x="675" y="89"/>
                    <a:pt x="674" y="89"/>
                  </a:cubicBezTo>
                  <a:cubicBezTo>
                    <a:pt x="673" y="90"/>
                    <a:pt x="671" y="90"/>
                    <a:pt x="670" y="91"/>
                  </a:cubicBezTo>
                  <a:cubicBezTo>
                    <a:pt x="668" y="91"/>
                    <a:pt x="666" y="92"/>
                    <a:pt x="663" y="92"/>
                  </a:cubicBezTo>
                  <a:cubicBezTo>
                    <a:pt x="661" y="93"/>
                    <a:pt x="659" y="93"/>
                    <a:pt x="656" y="93"/>
                  </a:cubicBezTo>
                  <a:cubicBezTo>
                    <a:pt x="651" y="93"/>
                    <a:pt x="647" y="92"/>
                    <a:pt x="644" y="91"/>
                  </a:cubicBezTo>
                  <a:cubicBezTo>
                    <a:pt x="640" y="89"/>
                    <a:pt x="637" y="88"/>
                    <a:pt x="635" y="85"/>
                  </a:cubicBezTo>
                  <a:cubicBezTo>
                    <a:pt x="633" y="82"/>
                    <a:pt x="631" y="79"/>
                    <a:pt x="630" y="75"/>
                  </a:cubicBezTo>
                  <a:cubicBezTo>
                    <a:pt x="628" y="72"/>
                    <a:pt x="628" y="67"/>
                    <a:pt x="628" y="62"/>
                  </a:cubicBezTo>
                  <a:cubicBezTo>
                    <a:pt x="628" y="57"/>
                    <a:pt x="628" y="53"/>
                    <a:pt x="630" y="49"/>
                  </a:cubicBezTo>
                  <a:cubicBezTo>
                    <a:pt x="631" y="45"/>
                    <a:pt x="633" y="42"/>
                    <a:pt x="635" y="39"/>
                  </a:cubicBezTo>
                  <a:cubicBezTo>
                    <a:pt x="637" y="37"/>
                    <a:pt x="640" y="34"/>
                    <a:pt x="644" y="33"/>
                  </a:cubicBezTo>
                  <a:cubicBezTo>
                    <a:pt x="647" y="32"/>
                    <a:pt x="651" y="31"/>
                    <a:pt x="655" y="31"/>
                  </a:cubicBezTo>
                  <a:cubicBezTo>
                    <a:pt x="659" y="31"/>
                    <a:pt x="663" y="32"/>
                    <a:pt x="666" y="33"/>
                  </a:cubicBezTo>
                  <a:cubicBezTo>
                    <a:pt x="669" y="34"/>
                    <a:pt x="672" y="36"/>
                    <a:pt x="674" y="39"/>
                  </a:cubicBezTo>
                  <a:cubicBezTo>
                    <a:pt x="676" y="41"/>
                    <a:pt x="677" y="44"/>
                    <a:pt x="678" y="47"/>
                  </a:cubicBezTo>
                  <a:cubicBezTo>
                    <a:pt x="679" y="50"/>
                    <a:pt x="680" y="54"/>
                    <a:pt x="680" y="58"/>
                  </a:cubicBezTo>
                  <a:lnTo>
                    <a:pt x="680" y="59"/>
                  </a:lnTo>
                  <a:close/>
                  <a:moveTo>
                    <a:pt x="669" y="56"/>
                  </a:moveTo>
                  <a:cubicBezTo>
                    <a:pt x="669" y="51"/>
                    <a:pt x="668" y="47"/>
                    <a:pt x="666" y="44"/>
                  </a:cubicBezTo>
                  <a:cubicBezTo>
                    <a:pt x="663" y="40"/>
                    <a:pt x="659" y="39"/>
                    <a:pt x="654" y="39"/>
                  </a:cubicBezTo>
                  <a:cubicBezTo>
                    <a:pt x="652" y="39"/>
                    <a:pt x="649" y="39"/>
                    <a:pt x="648" y="40"/>
                  </a:cubicBezTo>
                  <a:cubicBezTo>
                    <a:pt x="646" y="41"/>
                    <a:pt x="644" y="43"/>
                    <a:pt x="643" y="44"/>
                  </a:cubicBezTo>
                  <a:cubicBezTo>
                    <a:pt x="641" y="46"/>
                    <a:pt x="640" y="48"/>
                    <a:pt x="640" y="50"/>
                  </a:cubicBezTo>
                  <a:cubicBezTo>
                    <a:pt x="639" y="52"/>
                    <a:pt x="639" y="54"/>
                    <a:pt x="638" y="56"/>
                  </a:cubicBezTo>
                  <a:lnTo>
                    <a:pt x="669" y="56"/>
                  </a:lnTo>
                  <a:close/>
                  <a:moveTo>
                    <a:pt x="723" y="90"/>
                  </a:moveTo>
                  <a:cubicBezTo>
                    <a:pt x="723" y="90"/>
                    <a:pt x="723" y="91"/>
                    <a:pt x="723" y="91"/>
                  </a:cubicBezTo>
                  <a:cubicBezTo>
                    <a:pt x="723" y="91"/>
                    <a:pt x="723" y="91"/>
                    <a:pt x="722" y="91"/>
                  </a:cubicBezTo>
                  <a:cubicBezTo>
                    <a:pt x="722" y="92"/>
                    <a:pt x="721" y="92"/>
                    <a:pt x="721" y="92"/>
                  </a:cubicBezTo>
                  <a:cubicBezTo>
                    <a:pt x="720" y="92"/>
                    <a:pt x="719" y="92"/>
                    <a:pt x="718" y="92"/>
                  </a:cubicBezTo>
                  <a:cubicBezTo>
                    <a:pt x="717" y="92"/>
                    <a:pt x="716" y="92"/>
                    <a:pt x="716" y="92"/>
                  </a:cubicBezTo>
                  <a:cubicBezTo>
                    <a:pt x="715" y="92"/>
                    <a:pt x="714" y="92"/>
                    <a:pt x="714" y="91"/>
                  </a:cubicBezTo>
                  <a:cubicBezTo>
                    <a:pt x="713" y="91"/>
                    <a:pt x="713" y="91"/>
                    <a:pt x="713" y="91"/>
                  </a:cubicBezTo>
                  <a:cubicBezTo>
                    <a:pt x="713" y="91"/>
                    <a:pt x="713" y="90"/>
                    <a:pt x="713" y="90"/>
                  </a:cubicBezTo>
                  <a:lnTo>
                    <a:pt x="713" y="12"/>
                  </a:lnTo>
                  <a:cubicBezTo>
                    <a:pt x="713" y="12"/>
                    <a:pt x="713" y="12"/>
                    <a:pt x="713" y="11"/>
                  </a:cubicBezTo>
                  <a:cubicBezTo>
                    <a:pt x="713" y="11"/>
                    <a:pt x="713" y="11"/>
                    <a:pt x="714" y="11"/>
                  </a:cubicBezTo>
                  <a:cubicBezTo>
                    <a:pt x="714" y="11"/>
                    <a:pt x="715" y="11"/>
                    <a:pt x="716" y="10"/>
                  </a:cubicBezTo>
                  <a:cubicBezTo>
                    <a:pt x="716" y="10"/>
                    <a:pt x="717" y="10"/>
                    <a:pt x="718" y="10"/>
                  </a:cubicBezTo>
                  <a:cubicBezTo>
                    <a:pt x="719" y="10"/>
                    <a:pt x="720" y="10"/>
                    <a:pt x="721" y="10"/>
                  </a:cubicBezTo>
                  <a:cubicBezTo>
                    <a:pt x="721" y="11"/>
                    <a:pt x="722" y="11"/>
                    <a:pt x="722" y="11"/>
                  </a:cubicBezTo>
                  <a:cubicBezTo>
                    <a:pt x="723" y="11"/>
                    <a:pt x="723" y="11"/>
                    <a:pt x="723" y="11"/>
                  </a:cubicBezTo>
                  <a:cubicBezTo>
                    <a:pt x="723" y="12"/>
                    <a:pt x="723" y="12"/>
                    <a:pt x="723" y="12"/>
                  </a:cubicBezTo>
                  <a:lnTo>
                    <a:pt x="723" y="90"/>
                  </a:lnTo>
                  <a:close/>
                  <a:moveTo>
                    <a:pt x="773" y="86"/>
                  </a:moveTo>
                  <a:cubicBezTo>
                    <a:pt x="773" y="87"/>
                    <a:pt x="773" y="88"/>
                    <a:pt x="773" y="89"/>
                  </a:cubicBezTo>
                  <a:cubicBezTo>
                    <a:pt x="772" y="89"/>
                    <a:pt x="772" y="90"/>
                    <a:pt x="772" y="90"/>
                  </a:cubicBezTo>
                  <a:cubicBezTo>
                    <a:pt x="771" y="91"/>
                    <a:pt x="771" y="91"/>
                    <a:pt x="770" y="91"/>
                  </a:cubicBezTo>
                  <a:cubicBezTo>
                    <a:pt x="770" y="91"/>
                    <a:pt x="769" y="92"/>
                    <a:pt x="768" y="92"/>
                  </a:cubicBezTo>
                  <a:cubicBezTo>
                    <a:pt x="767" y="92"/>
                    <a:pt x="766" y="92"/>
                    <a:pt x="765" y="92"/>
                  </a:cubicBezTo>
                  <a:cubicBezTo>
                    <a:pt x="764" y="93"/>
                    <a:pt x="763" y="93"/>
                    <a:pt x="762" y="93"/>
                  </a:cubicBezTo>
                  <a:cubicBezTo>
                    <a:pt x="759" y="93"/>
                    <a:pt x="757" y="92"/>
                    <a:pt x="755" y="91"/>
                  </a:cubicBezTo>
                  <a:cubicBezTo>
                    <a:pt x="753" y="91"/>
                    <a:pt x="751" y="89"/>
                    <a:pt x="750" y="88"/>
                  </a:cubicBezTo>
                  <a:cubicBezTo>
                    <a:pt x="748" y="86"/>
                    <a:pt x="747" y="84"/>
                    <a:pt x="747" y="82"/>
                  </a:cubicBezTo>
                  <a:cubicBezTo>
                    <a:pt x="746" y="80"/>
                    <a:pt x="746" y="77"/>
                    <a:pt x="746" y="74"/>
                  </a:cubicBezTo>
                  <a:lnTo>
                    <a:pt x="746" y="41"/>
                  </a:lnTo>
                  <a:lnTo>
                    <a:pt x="738" y="41"/>
                  </a:lnTo>
                  <a:cubicBezTo>
                    <a:pt x="737" y="41"/>
                    <a:pt x="737" y="40"/>
                    <a:pt x="737" y="40"/>
                  </a:cubicBezTo>
                  <a:cubicBezTo>
                    <a:pt x="736" y="39"/>
                    <a:pt x="736" y="38"/>
                    <a:pt x="736" y="36"/>
                  </a:cubicBezTo>
                  <a:cubicBezTo>
                    <a:pt x="736" y="36"/>
                    <a:pt x="736" y="35"/>
                    <a:pt x="736" y="34"/>
                  </a:cubicBezTo>
                  <a:cubicBezTo>
                    <a:pt x="736" y="34"/>
                    <a:pt x="736" y="33"/>
                    <a:pt x="737" y="33"/>
                  </a:cubicBezTo>
                  <a:cubicBezTo>
                    <a:pt x="737" y="33"/>
                    <a:pt x="737" y="32"/>
                    <a:pt x="737" y="32"/>
                  </a:cubicBezTo>
                  <a:cubicBezTo>
                    <a:pt x="738" y="32"/>
                    <a:pt x="738" y="32"/>
                    <a:pt x="738" y="32"/>
                  </a:cubicBezTo>
                  <a:lnTo>
                    <a:pt x="746" y="32"/>
                  </a:lnTo>
                  <a:lnTo>
                    <a:pt x="746" y="19"/>
                  </a:lnTo>
                  <a:cubicBezTo>
                    <a:pt x="746" y="18"/>
                    <a:pt x="746" y="18"/>
                    <a:pt x="746" y="18"/>
                  </a:cubicBezTo>
                  <a:cubicBezTo>
                    <a:pt x="746" y="18"/>
                    <a:pt x="747" y="17"/>
                    <a:pt x="747" y="17"/>
                  </a:cubicBezTo>
                  <a:cubicBezTo>
                    <a:pt x="747" y="17"/>
                    <a:pt x="748" y="17"/>
                    <a:pt x="749" y="17"/>
                  </a:cubicBezTo>
                  <a:cubicBezTo>
                    <a:pt x="749" y="17"/>
                    <a:pt x="750" y="17"/>
                    <a:pt x="751" y="17"/>
                  </a:cubicBezTo>
                  <a:cubicBezTo>
                    <a:pt x="752" y="17"/>
                    <a:pt x="753" y="17"/>
                    <a:pt x="754" y="17"/>
                  </a:cubicBezTo>
                  <a:cubicBezTo>
                    <a:pt x="754" y="17"/>
                    <a:pt x="755" y="17"/>
                    <a:pt x="755" y="17"/>
                  </a:cubicBezTo>
                  <a:cubicBezTo>
                    <a:pt x="756" y="17"/>
                    <a:pt x="756" y="18"/>
                    <a:pt x="756" y="18"/>
                  </a:cubicBezTo>
                  <a:cubicBezTo>
                    <a:pt x="756" y="18"/>
                    <a:pt x="756" y="18"/>
                    <a:pt x="756" y="19"/>
                  </a:cubicBezTo>
                  <a:lnTo>
                    <a:pt x="756" y="32"/>
                  </a:lnTo>
                  <a:lnTo>
                    <a:pt x="771" y="32"/>
                  </a:lnTo>
                  <a:cubicBezTo>
                    <a:pt x="771" y="32"/>
                    <a:pt x="771" y="32"/>
                    <a:pt x="772" y="32"/>
                  </a:cubicBezTo>
                  <a:cubicBezTo>
                    <a:pt x="772" y="32"/>
                    <a:pt x="772" y="33"/>
                    <a:pt x="772" y="33"/>
                  </a:cubicBezTo>
                  <a:cubicBezTo>
                    <a:pt x="772" y="33"/>
                    <a:pt x="773" y="34"/>
                    <a:pt x="773" y="34"/>
                  </a:cubicBezTo>
                  <a:cubicBezTo>
                    <a:pt x="773" y="35"/>
                    <a:pt x="773" y="36"/>
                    <a:pt x="773" y="36"/>
                  </a:cubicBezTo>
                  <a:cubicBezTo>
                    <a:pt x="773" y="38"/>
                    <a:pt x="773" y="39"/>
                    <a:pt x="772" y="40"/>
                  </a:cubicBezTo>
                  <a:cubicBezTo>
                    <a:pt x="772" y="40"/>
                    <a:pt x="771" y="41"/>
                    <a:pt x="771" y="41"/>
                  </a:cubicBezTo>
                  <a:lnTo>
                    <a:pt x="756" y="41"/>
                  </a:lnTo>
                  <a:lnTo>
                    <a:pt x="756" y="72"/>
                  </a:lnTo>
                  <a:cubicBezTo>
                    <a:pt x="756" y="76"/>
                    <a:pt x="757" y="79"/>
                    <a:pt x="758" y="81"/>
                  </a:cubicBezTo>
                  <a:cubicBezTo>
                    <a:pt x="759" y="83"/>
                    <a:pt x="761" y="84"/>
                    <a:pt x="764" y="84"/>
                  </a:cubicBezTo>
                  <a:cubicBezTo>
                    <a:pt x="765" y="84"/>
                    <a:pt x="766" y="84"/>
                    <a:pt x="767" y="83"/>
                  </a:cubicBezTo>
                  <a:cubicBezTo>
                    <a:pt x="767" y="83"/>
                    <a:pt x="768" y="83"/>
                    <a:pt x="769" y="83"/>
                  </a:cubicBezTo>
                  <a:cubicBezTo>
                    <a:pt x="769" y="83"/>
                    <a:pt x="770" y="82"/>
                    <a:pt x="770" y="82"/>
                  </a:cubicBezTo>
                  <a:cubicBezTo>
                    <a:pt x="771" y="82"/>
                    <a:pt x="771" y="82"/>
                    <a:pt x="771" y="82"/>
                  </a:cubicBezTo>
                  <a:cubicBezTo>
                    <a:pt x="772" y="82"/>
                    <a:pt x="772" y="82"/>
                    <a:pt x="772" y="82"/>
                  </a:cubicBezTo>
                  <a:cubicBezTo>
                    <a:pt x="772" y="82"/>
                    <a:pt x="772" y="82"/>
                    <a:pt x="772" y="83"/>
                  </a:cubicBezTo>
                  <a:cubicBezTo>
                    <a:pt x="772" y="83"/>
                    <a:pt x="773" y="83"/>
                    <a:pt x="773" y="84"/>
                  </a:cubicBezTo>
                  <a:cubicBezTo>
                    <a:pt x="773" y="84"/>
                    <a:pt x="773" y="85"/>
                    <a:pt x="773" y="86"/>
                  </a:cubicBezTo>
                  <a:close/>
                  <a:moveTo>
                    <a:pt x="840" y="59"/>
                  </a:moveTo>
                  <a:cubicBezTo>
                    <a:pt x="840" y="61"/>
                    <a:pt x="839" y="62"/>
                    <a:pt x="838" y="63"/>
                  </a:cubicBezTo>
                  <a:cubicBezTo>
                    <a:pt x="837" y="64"/>
                    <a:pt x="837" y="64"/>
                    <a:pt x="835" y="64"/>
                  </a:cubicBezTo>
                  <a:lnTo>
                    <a:pt x="798" y="64"/>
                  </a:lnTo>
                  <a:cubicBezTo>
                    <a:pt x="798" y="67"/>
                    <a:pt x="799" y="70"/>
                    <a:pt x="799" y="72"/>
                  </a:cubicBezTo>
                  <a:cubicBezTo>
                    <a:pt x="800" y="75"/>
                    <a:pt x="801" y="77"/>
                    <a:pt x="803" y="79"/>
                  </a:cubicBezTo>
                  <a:cubicBezTo>
                    <a:pt x="804" y="81"/>
                    <a:pt x="806" y="82"/>
                    <a:pt x="808" y="83"/>
                  </a:cubicBezTo>
                  <a:cubicBezTo>
                    <a:pt x="811" y="84"/>
                    <a:pt x="813" y="84"/>
                    <a:pt x="817" y="84"/>
                  </a:cubicBezTo>
                  <a:cubicBezTo>
                    <a:pt x="820" y="84"/>
                    <a:pt x="822" y="84"/>
                    <a:pt x="824" y="84"/>
                  </a:cubicBezTo>
                  <a:cubicBezTo>
                    <a:pt x="826" y="83"/>
                    <a:pt x="828" y="83"/>
                    <a:pt x="829" y="82"/>
                  </a:cubicBezTo>
                  <a:cubicBezTo>
                    <a:pt x="831" y="82"/>
                    <a:pt x="832" y="81"/>
                    <a:pt x="833" y="81"/>
                  </a:cubicBezTo>
                  <a:cubicBezTo>
                    <a:pt x="834" y="80"/>
                    <a:pt x="835" y="80"/>
                    <a:pt x="835" y="80"/>
                  </a:cubicBezTo>
                  <a:cubicBezTo>
                    <a:pt x="836" y="80"/>
                    <a:pt x="836" y="80"/>
                    <a:pt x="836" y="80"/>
                  </a:cubicBezTo>
                  <a:cubicBezTo>
                    <a:pt x="836" y="80"/>
                    <a:pt x="837" y="81"/>
                    <a:pt x="837" y="81"/>
                  </a:cubicBezTo>
                  <a:cubicBezTo>
                    <a:pt x="837" y="81"/>
                    <a:pt x="837" y="82"/>
                    <a:pt x="837" y="82"/>
                  </a:cubicBezTo>
                  <a:cubicBezTo>
                    <a:pt x="837" y="83"/>
                    <a:pt x="837" y="83"/>
                    <a:pt x="837" y="84"/>
                  </a:cubicBezTo>
                  <a:cubicBezTo>
                    <a:pt x="837" y="85"/>
                    <a:pt x="837" y="85"/>
                    <a:pt x="837" y="85"/>
                  </a:cubicBezTo>
                  <a:cubicBezTo>
                    <a:pt x="837" y="86"/>
                    <a:pt x="837" y="86"/>
                    <a:pt x="837" y="87"/>
                  </a:cubicBezTo>
                  <a:cubicBezTo>
                    <a:pt x="837" y="87"/>
                    <a:pt x="837" y="87"/>
                    <a:pt x="837" y="87"/>
                  </a:cubicBezTo>
                  <a:cubicBezTo>
                    <a:pt x="836" y="88"/>
                    <a:pt x="836" y="88"/>
                    <a:pt x="836" y="88"/>
                  </a:cubicBezTo>
                  <a:cubicBezTo>
                    <a:pt x="836" y="88"/>
                    <a:pt x="835" y="89"/>
                    <a:pt x="834" y="89"/>
                  </a:cubicBezTo>
                  <a:cubicBezTo>
                    <a:pt x="833" y="90"/>
                    <a:pt x="831" y="90"/>
                    <a:pt x="830" y="91"/>
                  </a:cubicBezTo>
                  <a:cubicBezTo>
                    <a:pt x="828" y="91"/>
                    <a:pt x="826" y="92"/>
                    <a:pt x="823" y="92"/>
                  </a:cubicBezTo>
                  <a:cubicBezTo>
                    <a:pt x="821" y="93"/>
                    <a:pt x="819" y="93"/>
                    <a:pt x="816" y="93"/>
                  </a:cubicBezTo>
                  <a:cubicBezTo>
                    <a:pt x="811" y="93"/>
                    <a:pt x="807" y="92"/>
                    <a:pt x="804" y="91"/>
                  </a:cubicBezTo>
                  <a:cubicBezTo>
                    <a:pt x="800" y="89"/>
                    <a:pt x="797" y="88"/>
                    <a:pt x="795" y="85"/>
                  </a:cubicBezTo>
                  <a:cubicBezTo>
                    <a:pt x="793" y="82"/>
                    <a:pt x="791" y="79"/>
                    <a:pt x="790" y="75"/>
                  </a:cubicBezTo>
                  <a:cubicBezTo>
                    <a:pt x="788" y="72"/>
                    <a:pt x="788" y="67"/>
                    <a:pt x="788" y="62"/>
                  </a:cubicBezTo>
                  <a:cubicBezTo>
                    <a:pt x="788" y="57"/>
                    <a:pt x="788" y="53"/>
                    <a:pt x="790" y="49"/>
                  </a:cubicBezTo>
                  <a:cubicBezTo>
                    <a:pt x="791" y="45"/>
                    <a:pt x="793" y="42"/>
                    <a:pt x="795" y="39"/>
                  </a:cubicBezTo>
                  <a:cubicBezTo>
                    <a:pt x="797" y="37"/>
                    <a:pt x="800" y="34"/>
                    <a:pt x="804" y="33"/>
                  </a:cubicBezTo>
                  <a:cubicBezTo>
                    <a:pt x="807" y="32"/>
                    <a:pt x="811" y="31"/>
                    <a:pt x="815" y="31"/>
                  </a:cubicBezTo>
                  <a:cubicBezTo>
                    <a:pt x="819" y="31"/>
                    <a:pt x="823" y="32"/>
                    <a:pt x="826" y="33"/>
                  </a:cubicBezTo>
                  <a:cubicBezTo>
                    <a:pt x="829" y="34"/>
                    <a:pt x="832" y="36"/>
                    <a:pt x="834" y="39"/>
                  </a:cubicBezTo>
                  <a:cubicBezTo>
                    <a:pt x="836" y="41"/>
                    <a:pt x="837" y="44"/>
                    <a:pt x="838" y="47"/>
                  </a:cubicBezTo>
                  <a:cubicBezTo>
                    <a:pt x="839" y="50"/>
                    <a:pt x="840" y="54"/>
                    <a:pt x="840" y="58"/>
                  </a:cubicBezTo>
                  <a:lnTo>
                    <a:pt x="840" y="59"/>
                  </a:lnTo>
                  <a:close/>
                  <a:moveTo>
                    <a:pt x="829" y="56"/>
                  </a:moveTo>
                  <a:cubicBezTo>
                    <a:pt x="829" y="51"/>
                    <a:pt x="828" y="47"/>
                    <a:pt x="826" y="44"/>
                  </a:cubicBezTo>
                  <a:cubicBezTo>
                    <a:pt x="823" y="40"/>
                    <a:pt x="819" y="39"/>
                    <a:pt x="814" y="39"/>
                  </a:cubicBezTo>
                  <a:cubicBezTo>
                    <a:pt x="812" y="39"/>
                    <a:pt x="809" y="39"/>
                    <a:pt x="808" y="40"/>
                  </a:cubicBezTo>
                  <a:cubicBezTo>
                    <a:pt x="806" y="41"/>
                    <a:pt x="804" y="43"/>
                    <a:pt x="803" y="44"/>
                  </a:cubicBezTo>
                  <a:cubicBezTo>
                    <a:pt x="801" y="46"/>
                    <a:pt x="800" y="48"/>
                    <a:pt x="800" y="50"/>
                  </a:cubicBezTo>
                  <a:cubicBezTo>
                    <a:pt x="799" y="52"/>
                    <a:pt x="799" y="54"/>
                    <a:pt x="798" y="56"/>
                  </a:cubicBezTo>
                  <a:lnTo>
                    <a:pt x="829" y="56"/>
                  </a:lnTo>
                  <a:close/>
                  <a:moveTo>
                    <a:pt x="939" y="90"/>
                  </a:moveTo>
                  <a:cubicBezTo>
                    <a:pt x="939" y="90"/>
                    <a:pt x="939" y="91"/>
                    <a:pt x="939" y="91"/>
                  </a:cubicBezTo>
                  <a:cubicBezTo>
                    <a:pt x="939" y="91"/>
                    <a:pt x="938" y="91"/>
                    <a:pt x="938" y="91"/>
                  </a:cubicBezTo>
                  <a:cubicBezTo>
                    <a:pt x="938" y="92"/>
                    <a:pt x="937" y="92"/>
                    <a:pt x="936" y="92"/>
                  </a:cubicBezTo>
                  <a:cubicBezTo>
                    <a:pt x="936" y="92"/>
                    <a:pt x="935" y="92"/>
                    <a:pt x="934" y="92"/>
                  </a:cubicBezTo>
                  <a:cubicBezTo>
                    <a:pt x="933" y="92"/>
                    <a:pt x="932" y="92"/>
                    <a:pt x="931" y="92"/>
                  </a:cubicBezTo>
                  <a:cubicBezTo>
                    <a:pt x="931" y="92"/>
                    <a:pt x="930" y="92"/>
                    <a:pt x="930" y="91"/>
                  </a:cubicBezTo>
                  <a:cubicBezTo>
                    <a:pt x="929" y="91"/>
                    <a:pt x="929" y="91"/>
                    <a:pt x="929" y="91"/>
                  </a:cubicBezTo>
                  <a:cubicBezTo>
                    <a:pt x="929" y="91"/>
                    <a:pt x="929" y="90"/>
                    <a:pt x="929" y="90"/>
                  </a:cubicBezTo>
                  <a:lnTo>
                    <a:pt x="929" y="56"/>
                  </a:lnTo>
                  <a:cubicBezTo>
                    <a:pt x="929" y="53"/>
                    <a:pt x="928" y="51"/>
                    <a:pt x="928" y="49"/>
                  </a:cubicBezTo>
                  <a:cubicBezTo>
                    <a:pt x="928" y="47"/>
                    <a:pt x="927" y="46"/>
                    <a:pt x="926" y="44"/>
                  </a:cubicBezTo>
                  <a:cubicBezTo>
                    <a:pt x="925" y="43"/>
                    <a:pt x="924" y="42"/>
                    <a:pt x="922" y="41"/>
                  </a:cubicBezTo>
                  <a:cubicBezTo>
                    <a:pt x="921" y="40"/>
                    <a:pt x="919" y="40"/>
                    <a:pt x="917" y="40"/>
                  </a:cubicBezTo>
                  <a:cubicBezTo>
                    <a:pt x="915" y="40"/>
                    <a:pt x="913" y="41"/>
                    <a:pt x="910" y="43"/>
                  </a:cubicBezTo>
                  <a:cubicBezTo>
                    <a:pt x="908" y="44"/>
                    <a:pt x="905" y="47"/>
                    <a:pt x="902" y="51"/>
                  </a:cubicBezTo>
                  <a:lnTo>
                    <a:pt x="902" y="90"/>
                  </a:lnTo>
                  <a:cubicBezTo>
                    <a:pt x="902" y="90"/>
                    <a:pt x="902" y="91"/>
                    <a:pt x="902" y="91"/>
                  </a:cubicBezTo>
                  <a:cubicBezTo>
                    <a:pt x="902" y="91"/>
                    <a:pt x="902" y="91"/>
                    <a:pt x="901" y="91"/>
                  </a:cubicBezTo>
                  <a:cubicBezTo>
                    <a:pt x="901" y="92"/>
                    <a:pt x="900" y="92"/>
                    <a:pt x="900" y="92"/>
                  </a:cubicBezTo>
                  <a:cubicBezTo>
                    <a:pt x="899" y="92"/>
                    <a:pt x="898" y="92"/>
                    <a:pt x="897" y="92"/>
                  </a:cubicBezTo>
                  <a:cubicBezTo>
                    <a:pt x="896" y="92"/>
                    <a:pt x="895" y="92"/>
                    <a:pt x="895" y="92"/>
                  </a:cubicBezTo>
                  <a:cubicBezTo>
                    <a:pt x="894" y="92"/>
                    <a:pt x="894" y="92"/>
                    <a:pt x="893" y="91"/>
                  </a:cubicBezTo>
                  <a:cubicBezTo>
                    <a:pt x="893" y="91"/>
                    <a:pt x="892" y="91"/>
                    <a:pt x="892" y="91"/>
                  </a:cubicBezTo>
                  <a:cubicBezTo>
                    <a:pt x="892" y="91"/>
                    <a:pt x="892" y="90"/>
                    <a:pt x="892" y="90"/>
                  </a:cubicBezTo>
                  <a:lnTo>
                    <a:pt x="892" y="56"/>
                  </a:lnTo>
                  <a:cubicBezTo>
                    <a:pt x="892" y="53"/>
                    <a:pt x="892" y="51"/>
                    <a:pt x="891" y="49"/>
                  </a:cubicBezTo>
                  <a:cubicBezTo>
                    <a:pt x="891" y="47"/>
                    <a:pt x="890" y="46"/>
                    <a:pt x="889" y="44"/>
                  </a:cubicBezTo>
                  <a:cubicBezTo>
                    <a:pt x="888" y="43"/>
                    <a:pt x="887" y="42"/>
                    <a:pt x="886" y="41"/>
                  </a:cubicBezTo>
                  <a:cubicBezTo>
                    <a:pt x="884" y="40"/>
                    <a:pt x="883" y="40"/>
                    <a:pt x="881" y="40"/>
                  </a:cubicBezTo>
                  <a:cubicBezTo>
                    <a:pt x="879" y="40"/>
                    <a:pt x="876" y="41"/>
                    <a:pt x="874" y="43"/>
                  </a:cubicBezTo>
                  <a:cubicBezTo>
                    <a:pt x="871" y="44"/>
                    <a:pt x="869" y="47"/>
                    <a:pt x="866" y="51"/>
                  </a:cubicBezTo>
                  <a:lnTo>
                    <a:pt x="866" y="90"/>
                  </a:lnTo>
                  <a:cubicBezTo>
                    <a:pt x="866" y="90"/>
                    <a:pt x="866" y="91"/>
                    <a:pt x="866" y="91"/>
                  </a:cubicBezTo>
                  <a:cubicBezTo>
                    <a:pt x="865" y="91"/>
                    <a:pt x="865" y="91"/>
                    <a:pt x="865" y="91"/>
                  </a:cubicBezTo>
                  <a:cubicBezTo>
                    <a:pt x="864" y="92"/>
                    <a:pt x="864" y="92"/>
                    <a:pt x="863" y="92"/>
                  </a:cubicBezTo>
                  <a:cubicBezTo>
                    <a:pt x="863" y="92"/>
                    <a:pt x="862" y="92"/>
                    <a:pt x="861" y="92"/>
                  </a:cubicBezTo>
                  <a:cubicBezTo>
                    <a:pt x="860" y="92"/>
                    <a:pt x="859" y="92"/>
                    <a:pt x="858" y="92"/>
                  </a:cubicBezTo>
                  <a:cubicBezTo>
                    <a:pt x="857" y="92"/>
                    <a:pt x="857" y="92"/>
                    <a:pt x="857" y="91"/>
                  </a:cubicBezTo>
                  <a:cubicBezTo>
                    <a:pt x="856" y="91"/>
                    <a:pt x="856" y="91"/>
                    <a:pt x="856" y="91"/>
                  </a:cubicBezTo>
                  <a:cubicBezTo>
                    <a:pt x="856" y="91"/>
                    <a:pt x="856" y="90"/>
                    <a:pt x="856" y="90"/>
                  </a:cubicBezTo>
                  <a:lnTo>
                    <a:pt x="856" y="34"/>
                  </a:lnTo>
                  <a:cubicBezTo>
                    <a:pt x="856" y="33"/>
                    <a:pt x="856" y="33"/>
                    <a:pt x="856" y="33"/>
                  </a:cubicBezTo>
                  <a:cubicBezTo>
                    <a:pt x="856" y="33"/>
                    <a:pt x="856" y="32"/>
                    <a:pt x="856" y="32"/>
                  </a:cubicBezTo>
                  <a:cubicBezTo>
                    <a:pt x="857" y="32"/>
                    <a:pt x="857" y="32"/>
                    <a:pt x="858" y="32"/>
                  </a:cubicBezTo>
                  <a:cubicBezTo>
                    <a:pt x="858" y="32"/>
                    <a:pt x="859" y="32"/>
                    <a:pt x="860" y="32"/>
                  </a:cubicBezTo>
                  <a:cubicBezTo>
                    <a:pt x="861" y="32"/>
                    <a:pt x="862" y="32"/>
                    <a:pt x="862" y="32"/>
                  </a:cubicBezTo>
                  <a:cubicBezTo>
                    <a:pt x="863" y="32"/>
                    <a:pt x="864" y="32"/>
                    <a:pt x="864" y="32"/>
                  </a:cubicBezTo>
                  <a:cubicBezTo>
                    <a:pt x="864" y="32"/>
                    <a:pt x="864" y="33"/>
                    <a:pt x="865" y="33"/>
                  </a:cubicBezTo>
                  <a:cubicBezTo>
                    <a:pt x="865" y="33"/>
                    <a:pt x="865" y="33"/>
                    <a:pt x="865" y="34"/>
                  </a:cubicBezTo>
                  <a:lnTo>
                    <a:pt x="865" y="41"/>
                  </a:lnTo>
                  <a:cubicBezTo>
                    <a:pt x="868" y="38"/>
                    <a:pt x="871" y="35"/>
                    <a:pt x="874" y="33"/>
                  </a:cubicBezTo>
                  <a:cubicBezTo>
                    <a:pt x="877" y="32"/>
                    <a:pt x="880" y="31"/>
                    <a:pt x="883" y="31"/>
                  </a:cubicBezTo>
                  <a:cubicBezTo>
                    <a:pt x="885" y="31"/>
                    <a:pt x="888" y="31"/>
                    <a:pt x="889" y="32"/>
                  </a:cubicBezTo>
                  <a:cubicBezTo>
                    <a:pt x="891" y="32"/>
                    <a:pt x="893" y="33"/>
                    <a:pt x="894" y="34"/>
                  </a:cubicBezTo>
                  <a:cubicBezTo>
                    <a:pt x="896" y="35"/>
                    <a:pt x="897" y="36"/>
                    <a:pt x="898" y="37"/>
                  </a:cubicBezTo>
                  <a:cubicBezTo>
                    <a:pt x="899" y="39"/>
                    <a:pt x="900" y="40"/>
                    <a:pt x="900" y="42"/>
                  </a:cubicBezTo>
                  <a:cubicBezTo>
                    <a:pt x="902" y="40"/>
                    <a:pt x="904" y="38"/>
                    <a:pt x="906" y="37"/>
                  </a:cubicBezTo>
                  <a:cubicBezTo>
                    <a:pt x="907" y="35"/>
                    <a:pt x="909" y="34"/>
                    <a:pt x="911" y="33"/>
                  </a:cubicBezTo>
                  <a:cubicBezTo>
                    <a:pt x="912" y="33"/>
                    <a:pt x="914" y="32"/>
                    <a:pt x="915" y="31"/>
                  </a:cubicBezTo>
                  <a:cubicBezTo>
                    <a:pt x="917" y="31"/>
                    <a:pt x="918" y="31"/>
                    <a:pt x="920" y="31"/>
                  </a:cubicBezTo>
                  <a:cubicBezTo>
                    <a:pt x="923" y="31"/>
                    <a:pt x="926" y="32"/>
                    <a:pt x="929" y="33"/>
                  </a:cubicBezTo>
                  <a:cubicBezTo>
                    <a:pt x="931" y="34"/>
                    <a:pt x="933" y="36"/>
                    <a:pt x="935" y="38"/>
                  </a:cubicBezTo>
                  <a:cubicBezTo>
                    <a:pt x="936" y="40"/>
                    <a:pt x="937" y="43"/>
                    <a:pt x="938" y="45"/>
                  </a:cubicBezTo>
                  <a:cubicBezTo>
                    <a:pt x="939" y="48"/>
                    <a:pt x="939" y="51"/>
                    <a:pt x="939" y="54"/>
                  </a:cubicBezTo>
                  <a:lnTo>
                    <a:pt x="939" y="90"/>
                  </a:ln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56">
              <a:extLst>
                <a:ext uri="{FF2B5EF4-FFF2-40B4-BE49-F238E27FC236}">
                  <a16:creationId xmlns:a16="http://schemas.microsoft.com/office/drawing/2014/main" id="{56F9410C-0009-482D-BADC-C52F32856339}"/>
                </a:ext>
              </a:extLst>
            </p:cNvPr>
            <p:cNvSpPr>
              <a:spLocks noEditPoints="1"/>
            </p:cNvSpPr>
            <p:nvPr/>
          </p:nvSpPr>
          <p:spPr bwMode="auto">
            <a:xfrm>
              <a:off x="4926" y="1600"/>
              <a:ext cx="987" cy="80"/>
            </a:xfrm>
            <a:custGeom>
              <a:avLst/>
              <a:gdLst>
                <a:gd name="T0" fmla="*/ 2 w 2206"/>
                <a:gd name="T1" fmla="*/ 5 h 179"/>
                <a:gd name="T2" fmla="*/ 100 w 2206"/>
                <a:gd name="T3" fmla="*/ 22 h 179"/>
                <a:gd name="T4" fmla="*/ 123 w 2206"/>
                <a:gd name="T5" fmla="*/ 24 h 179"/>
                <a:gd name="T6" fmla="*/ 120 w 2206"/>
                <a:gd name="T7" fmla="*/ 26 h 179"/>
                <a:gd name="T8" fmla="*/ 218 w 2206"/>
                <a:gd name="T9" fmla="*/ 49 h 179"/>
                <a:gd name="T10" fmla="*/ 275 w 2206"/>
                <a:gd name="T11" fmla="*/ 55 h 179"/>
                <a:gd name="T12" fmla="*/ 243 w 2206"/>
                <a:gd name="T13" fmla="*/ 54 h 179"/>
                <a:gd name="T14" fmla="*/ 342 w 2206"/>
                <a:gd name="T15" fmla="*/ 69 h 179"/>
                <a:gd name="T16" fmla="*/ 365 w 2206"/>
                <a:gd name="T17" fmla="*/ 70 h 179"/>
                <a:gd name="T18" fmla="*/ 362 w 2206"/>
                <a:gd name="T19" fmla="*/ 72 h 179"/>
                <a:gd name="T20" fmla="*/ 460 w 2206"/>
                <a:gd name="T21" fmla="*/ 91 h 179"/>
                <a:gd name="T22" fmla="*/ 521 w 2206"/>
                <a:gd name="T23" fmla="*/ 96 h 179"/>
                <a:gd name="T24" fmla="*/ 486 w 2206"/>
                <a:gd name="T25" fmla="*/ 90 h 179"/>
                <a:gd name="T26" fmla="*/ 581 w 2206"/>
                <a:gd name="T27" fmla="*/ 109 h 179"/>
                <a:gd name="T28" fmla="*/ 607 w 2206"/>
                <a:gd name="T29" fmla="*/ 107 h 179"/>
                <a:gd name="T30" fmla="*/ 605 w 2206"/>
                <a:gd name="T31" fmla="*/ 110 h 179"/>
                <a:gd name="T32" fmla="*/ 703 w 2206"/>
                <a:gd name="T33" fmla="*/ 124 h 179"/>
                <a:gd name="T34" fmla="*/ 765 w 2206"/>
                <a:gd name="T35" fmla="*/ 127 h 179"/>
                <a:gd name="T36" fmla="*/ 729 w 2206"/>
                <a:gd name="T37" fmla="*/ 122 h 179"/>
                <a:gd name="T38" fmla="*/ 825 w 2206"/>
                <a:gd name="T39" fmla="*/ 139 h 179"/>
                <a:gd name="T40" fmla="*/ 851 w 2206"/>
                <a:gd name="T41" fmla="*/ 136 h 179"/>
                <a:gd name="T42" fmla="*/ 849 w 2206"/>
                <a:gd name="T43" fmla="*/ 139 h 179"/>
                <a:gd name="T44" fmla="*/ 948 w 2206"/>
                <a:gd name="T45" fmla="*/ 150 h 179"/>
                <a:gd name="T46" fmla="*/ 1009 w 2206"/>
                <a:gd name="T47" fmla="*/ 150 h 179"/>
                <a:gd name="T48" fmla="*/ 974 w 2206"/>
                <a:gd name="T49" fmla="*/ 147 h 179"/>
                <a:gd name="T50" fmla="*/ 1035 w 2206"/>
                <a:gd name="T51" fmla="*/ 158 h 179"/>
                <a:gd name="T52" fmla="*/ 1132 w 2206"/>
                <a:gd name="T53" fmla="*/ 160 h 179"/>
                <a:gd name="T54" fmla="*/ 1093 w 2206"/>
                <a:gd name="T55" fmla="*/ 160 h 179"/>
                <a:gd name="T56" fmla="*/ 1193 w 2206"/>
                <a:gd name="T57" fmla="*/ 168 h 179"/>
                <a:gd name="T58" fmla="*/ 1255 w 2206"/>
                <a:gd name="T59" fmla="*/ 165 h 179"/>
                <a:gd name="T60" fmla="*/ 1219 w 2206"/>
                <a:gd name="T61" fmla="*/ 164 h 179"/>
                <a:gd name="T62" fmla="*/ 1280 w 2206"/>
                <a:gd name="T63" fmla="*/ 172 h 179"/>
                <a:gd name="T64" fmla="*/ 1377 w 2206"/>
                <a:gd name="T65" fmla="*/ 171 h 179"/>
                <a:gd name="T66" fmla="*/ 1339 w 2206"/>
                <a:gd name="T67" fmla="*/ 172 h 179"/>
                <a:gd name="T68" fmla="*/ 1439 w 2206"/>
                <a:gd name="T69" fmla="*/ 177 h 179"/>
                <a:gd name="T70" fmla="*/ 1500 w 2206"/>
                <a:gd name="T71" fmla="*/ 172 h 179"/>
                <a:gd name="T72" fmla="*/ 1464 w 2206"/>
                <a:gd name="T73" fmla="*/ 172 h 179"/>
                <a:gd name="T74" fmla="*/ 1526 w 2206"/>
                <a:gd name="T75" fmla="*/ 178 h 179"/>
                <a:gd name="T76" fmla="*/ 1625 w 2206"/>
                <a:gd name="T77" fmla="*/ 176 h 179"/>
                <a:gd name="T78" fmla="*/ 1649 w 2206"/>
                <a:gd name="T79" fmla="*/ 174 h 179"/>
                <a:gd name="T80" fmla="*/ 1650 w 2206"/>
                <a:gd name="T81" fmla="*/ 179 h 179"/>
                <a:gd name="T82" fmla="*/ 1746 w 2206"/>
                <a:gd name="T83" fmla="*/ 171 h 179"/>
                <a:gd name="T84" fmla="*/ 1710 w 2206"/>
                <a:gd name="T85" fmla="*/ 172 h 179"/>
                <a:gd name="T86" fmla="*/ 1771 w 2206"/>
                <a:gd name="T87" fmla="*/ 176 h 179"/>
                <a:gd name="T88" fmla="*/ 1871 w 2206"/>
                <a:gd name="T89" fmla="*/ 170 h 179"/>
                <a:gd name="T90" fmla="*/ 1894 w 2206"/>
                <a:gd name="T91" fmla="*/ 167 h 179"/>
                <a:gd name="T92" fmla="*/ 1927 w 2206"/>
                <a:gd name="T93" fmla="*/ 171 h 179"/>
                <a:gd name="T94" fmla="*/ 1991 w 2206"/>
                <a:gd name="T95" fmla="*/ 162 h 179"/>
                <a:gd name="T96" fmla="*/ 1955 w 2206"/>
                <a:gd name="T97" fmla="*/ 164 h 179"/>
                <a:gd name="T98" fmla="*/ 2017 w 2206"/>
                <a:gd name="T99" fmla="*/ 165 h 179"/>
                <a:gd name="T100" fmla="*/ 2116 w 2206"/>
                <a:gd name="T101" fmla="*/ 156 h 179"/>
                <a:gd name="T102" fmla="*/ 2139 w 2206"/>
                <a:gd name="T103" fmla="*/ 152 h 179"/>
                <a:gd name="T104" fmla="*/ 2137 w 2206"/>
                <a:gd name="T105" fmla="*/ 155 h 179"/>
                <a:gd name="T106" fmla="*/ 2204 w 2206"/>
                <a:gd name="T107" fmla="*/ 15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06" h="179">
                  <a:moveTo>
                    <a:pt x="3" y="0"/>
                  </a:moveTo>
                  <a:lnTo>
                    <a:pt x="38" y="7"/>
                  </a:lnTo>
                  <a:cubicBezTo>
                    <a:pt x="39" y="7"/>
                    <a:pt x="40" y="9"/>
                    <a:pt x="40" y="10"/>
                  </a:cubicBezTo>
                  <a:cubicBezTo>
                    <a:pt x="40" y="11"/>
                    <a:pt x="38" y="12"/>
                    <a:pt x="37" y="12"/>
                  </a:cubicBezTo>
                  <a:lnTo>
                    <a:pt x="2" y="5"/>
                  </a:lnTo>
                  <a:cubicBezTo>
                    <a:pt x="1" y="5"/>
                    <a:pt x="0" y="3"/>
                    <a:pt x="0" y="2"/>
                  </a:cubicBezTo>
                  <a:cubicBezTo>
                    <a:pt x="0" y="1"/>
                    <a:pt x="2" y="0"/>
                    <a:pt x="3" y="0"/>
                  </a:cubicBezTo>
                  <a:close/>
                  <a:moveTo>
                    <a:pt x="63" y="12"/>
                  </a:moveTo>
                  <a:lnTo>
                    <a:pt x="98" y="19"/>
                  </a:lnTo>
                  <a:cubicBezTo>
                    <a:pt x="100" y="20"/>
                    <a:pt x="101" y="21"/>
                    <a:pt x="100" y="22"/>
                  </a:cubicBezTo>
                  <a:cubicBezTo>
                    <a:pt x="100" y="24"/>
                    <a:pt x="99" y="25"/>
                    <a:pt x="97" y="24"/>
                  </a:cubicBezTo>
                  <a:lnTo>
                    <a:pt x="62" y="17"/>
                  </a:lnTo>
                  <a:cubicBezTo>
                    <a:pt x="61" y="17"/>
                    <a:pt x="60" y="16"/>
                    <a:pt x="60" y="14"/>
                  </a:cubicBezTo>
                  <a:cubicBezTo>
                    <a:pt x="60" y="13"/>
                    <a:pt x="62" y="12"/>
                    <a:pt x="63" y="12"/>
                  </a:cubicBezTo>
                  <a:close/>
                  <a:moveTo>
                    <a:pt x="123" y="24"/>
                  </a:moveTo>
                  <a:lnTo>
                    <a:pt x="159" y="31"/>
                  </a:lnTo>
                  <a:cubicBezTo>
                    <a:pt x="160" y="32"/>
                    <a:pt x="161" y="33"/>
                    <a:pt x="161" y="34"/>
                  </a:cubicBezTo>
                  <a:cubicBezTo>
                    <a:pt x="160" y="36"/>
                    <a:pt x="159" y="37"/>
                    <a:pt x="158" y="36"/>
                  </a:cubicBezTo>
                  <a:lnTo>
                    <a:pt x="122" y="29"/>
                  </a:lnTo>
                  <a:cubicBezTo>
                    <a:pt x="121" y="29"/>
                    <a:pt x="120" y="28"/>
                    <a:pt x="120" y="26"/>
                  </a:cubicBezTo>
                  <a:cubicBezTo>
                    <a:pt x="121" y="25"/>
                    <a:pt x="122" y="24"/>
                    <a:pt x="123" y="24"/>
                  </a:cubicBezTo>
                  <a:close/>
                  <a:moveTo>
                    <a:pt x="184" y="36"/>
                  </a:moveTo>
                  <a:lnTo>
                    <a:pt x="219" y="44"/>
                  </a:lnTo>
                  <a:cubicBezTo>
                    <a:pt x="220" y="44"/>
                    <a:pt x="221" y="45"/>
                    <a:pt x="221" y="47"/>
                  </a:cubicBezTo>
                  <a:cubicBezTo>
                    <a:pt x="220" y="48"/>
                    <a:pt x="219" y="49"/>
                    <a:pt x="218" y="49"/>
                  </a:cubicBezTo>
                  <a:lnTo>
                    <a:pt x="183" y="42"/>
                  </a:lnTo>
                  <a:cubicBezTo>
                    <a:pt x="181" y="41"/>
                    <a:pt x="180" y="40"/>
                    <a:pt x="181" y="38"/>
                  </a:cubicBezTo>
                  <a:cubicBezTo>
                    <a:pt x="181" y="37"/>
                    <a:pt x="182" y="36"/>
                    <a:pt x="184" y="36"/>
                  </a:cubicBezTo>
                  <a:close/>
                  <a:moveTo>
                    <a:pt x="244" y="49"/>
                  </a:moveTo>
                  <a:lnTo>
                    <a:pt x="275" y="55"/>
                  </a:lnTo>
                  <a:lnTo>
                    <a:pt x="279" y="56"/>
                  </a:lnTo>
                  <a:cubicBezTo>
                    <a:pt x="280" y="56"/>
                    <a:pt x="281" y="57"/>
                    <a:pt x="281" y="59"/>
                  </a:cubicBezTo>
                  <a:cubicBezTo>
                    <a:pt x="281" y="60"/>
                    <a:pt x="279" y="61"/>
                    <a:pt x="278" y="61"/>
                  </a:cubicBezTo>
                  <a:lnTo>
                    <a:pt x="274" y="60"/>
                  </a:lnTo>
                  <a:lnTo>
                    <a:pt x="243" y="54"/>
                  </a:lnTo>
                  <a:cubicBezTo>
                    <a:pt x="241" y="53"/>
                    <a:pt x="241" y="52"/>
                    <a:pt x="241" y="51"/>
                  </a:cubicBezTo>
                  <a:cubicBezTo>
                    <a:pt x="241" y="49"/>
                    <a:pt x="242" y="48"/>
                    <a:pt x="244" y="49"/>
                  </a:cubicBezTo>
                  <a:close/>
                  <a:moveTo>
                    <a:pt x="304" y="60"/>
                  </a:moveTo>
                  <a:lnTo>
                    <a:pt x="340" y="66"/>
                  </a:lnTo>
                  <a:cubicBezTo>
                    <a:pt x="341" y="66"/>
                    <a:pt x="342" y="67"/>
                    <a:pt x="342" y="69"/>
                  </a:cubicBezTo>
                  <a:cubicBezTo>
                    <a:pt x="341" y="70"/>
                    <a:pt x="340" y="71"/>
                    <a:pt x="339" y="71"/>
                  </a:cubicBezTo>
                  <a:lnTo>
                    <a:pt x="303" y="65"/>
                  </a:lnTo>
                  <a:cubicBezTo>
                    <a:pt x="302" y="65"/>
                    <a:pt x="301" y="63"/>
                    <a:pt x="301" y="62"/>
                  </a:cubicBezTo>
                  <a:cubicBezTo>
                    <a:pt x="301" y="60"/>
                    <a:pt x="303" y="60"/>
                    <a:pt x="304" y="60"/>
                  </a:cubicBezTo>
                  <a:close/>
                  <a:moveTo>
                    <a:pt x="365" y="70"/>
                  </a:moveTo>
                  <a:lnTo>
                    <a:pt x="400" y="76"/>
                  </a:lnTo>
                  <a:cubicBezTo>
                    <a:pt x="402" y="76"/>
                    <a:pt x="402" y="77"/>
                    <a:pt x="402" y="79"/>
                  </a:cubicBezTo>
                  <a:cubicBezTo>
                    <a:pt x="402" y="80"/>
                    <a:pt x="401" y="81"/>
                    <a:pt x="399" y="81"/>
                  </a:cubicBezTo>
                  <a:lnTo>
                    <a:pt x="364" y="75"/>
                  </a:lnTo>
                  <a:cubicBezTo>
                    <a:pt x="363" y="75"/>
                    <a:pt x="362" y="73"/>
                    <a:pt x="362" y="72"/>
                  </a:cubicBezTo>
                  <a:cubicBezTo>
                    <a:pt x="362" y="70"/>
                    <a:pt x="363" y="70"/>
                    <a:pt x="365" y="70"/>
                  </a:cubicBezTo>
                  <a:close/>
                  <a:moveTo>
                    <a:pt x="425" y="80"/>
                  </a:moveTo>
                  <a:lnTo>
                    <a:pt x="461" y="86"/>
                  </a:lnTo>
                  <a:cubicBezTo>
                    <a:pt x="462" y="86"/>
                    <a:pt x="463" y="87"/>
                    <a:pt x="463" y="89"/>
                  </a:cubicBezTo>
                  <a:cubicBezTo>
                    <a:pt x="463" y="90"/>
                    <a:pt x="461" y="91"/>
                    <a:pt x="460" y="91"/>
                  </a:cubicBezTo>
                  <a:lnTo>
                    <a:pt x="425" y="85"/>
                  </a:lnTo>
                  <a:cubicBezTo>
                    <a:pt x="423" y="85"/>
                    <a:pt x="422" y="83"/>
                    <a:pt x="422" y="82"/>
                  </a:cubicBezTo>
                  <a:cubicBezTo>
                    <a:pt x="423" y="80"/>
                    <a:pt x="424" y="80"/>
                    <a:pt x="425" y="80"/>
                  </a:cubicBezTo>
                  <a:close/>
                  <a:moveTo>
                    <a:pt x="486" y="90"/>
                  </a:moveTo>
                  <a:lnTo>
                    <a:pt x="521" y="96"/>
                  </a:lnTo>
                  <a:cubicBezTo>
                    <a:pt x="523" y="96"/>
                    <a:pt x="524" y="97"/>
                    <a:pt x="523" y="99"/>
                  </a:cubicBezTo>
                  <a:cubicBezTo>
                    <a:pt x="523" y="100"/>
                    <a:pt x="522" y="101"/>
                    <a:pt x="521" y="101"/>
                  </a:cubicBezTo>
                  <a:lnTo>
                    <a:pt x="485" y="95"/>
                  </a:lnTo>
                  <a:cubicBezTo>
                    <a:pt x="484" y="95"/>
                    <a:pt x="483" y="93"/>
                    <a:pt x="483" y="92"/>
                  </a:cubicBezTo>
                  <a:cubicBezTo>
                    <a:pt x="483" y="90"/>
                    <a:pt x="485" y="90"/>
                    <a:pt x="486" y="90"/>
                  </a:cubicBezTo>
                  <a:close/>
                  <a:moveTo>
                    <a:pt x="547" y="100"/>
                  </a:moveTo>
                  <a:lnTo>
                    <a:pt x="548" y="100"/>
                  </a:lnTo>
                  <a:lnTo>
                    <a:pt x="582" y="104"/>
                  </a:lnTo>
                  <a:cubicBezTo>
                    <a:pt x="583" y="104"/>
                    <a:pt x="584" y="106"/>
                    <a:pt x="584" y="107"/>
                  </a:cubicBezTo>
                  <a:cubicBezTo>
                    <a:pt x="584" y="108"/>
                    <a:pt x="583" y="109"/>
                    <a:pt x="581" y="109"/>
                  </a:cubicBezTo>
                  <a:lnTo>
                    <a:pt x="547" y="105"/>
                  </a:lnTo>
                  <a:lnTo>
                    <a:pt x="546" y="105"/>
                  </a:lnTo>
                  <a:cubicBezTo>
                    <a:pt x="544" y="105"/>
                    <a:pt x="543" y="103"/>
                    <a:pt x="544" y="102"/>
                  </a:cubicBezTo>
                  <a:cubicBezTo>
                    <a:pt x="544" y="100"/>
                    <a:pt x="545" y="100"/>
                    <a:pt x="547" y="100"/>
                  </a:cubicBezTo>
                  <a:close/>
                  <a:moveTo>
                    <a:pt x="607" y="107"/>
                  </a:moveTo>
                  <a:lnTo>
                    <a:pt x="643" y="112"/>
                  </a:lnTo>
                  <a:cubicBezTo>
                    <a:pt x="644" y="112"/>
                    <a:pt x="645" y="113"/>
                    <a:pt x="645" y="115"/>
                  </a:cubicBezTo>
                  <a:cubicBezTo>
                    <a:pt x="645" y="116"/>
                    <a:pt x="644" y="117"/>
                    <a:pt x="642" y="117"/>
                  </a:cubicBezTo>
                  <a:lnTo>
                    <a:pt x="607" y="112"/>
                  </a:lnTo>
                  <a:cubicBezTo>
                    <a:pt x="605" y="112"/>
                    <a:pt x="604" y="111"/>
                    <a:pt x="605" y="110"/>
                  </a:cubicBezTo>
                  <a:cubicBezTo>
                    <a:pt x="605" y="108"/>
                    <a:pt x="606" y="107"/>
                    <a:pt x="607" y="107"/>
                  </a:cubicBezTo>
                  <a:close/>
                  <a:moveTo>
                    <a:pt x="668" y="115"/>
                  </a:moveTo>
                  <a:lnTo>
                    <a:pt x="704" y="119"/>
                  </a:lnTo>
                  <a:cubicBezTo>
                    <a:pt x="705" y="119"/>
                    <a:pt x="706" y="121"/>
                    <a:pt x="706" y="122"/>
                  </a:cubicBezTo>
                  <a:cubicBezTo>
                    <a:pt x="706" y="124"/>
                    <a:pt x="705" y="125"/>
                    <a:pt x="703" y="124"/>
                  </a:cubicBezTo>
                  <a:lnTo>
                    <a:pt x="668" y="120"/>
                  </a:lnTo>
                  <a:cubicBezTo>
                    <a:pt x="666" y="120"/>
                    <a:pt x="665" y="119"/>
                    <a:pt x="666" y="117"/>
                  </a:cubicBezTo>
                  <a:cubicBezTo>
                    <a:pt x="666" y="116"/>
                    <a:pt x="667" y="115"/>
                    <a:pt x="668" y="115"/>
                  </a:cubicBezTo>
                  <a:close/>
                  <a:moveTo>
                    <a:pt x="729" y="122"/>
                  </a:moveTo>
                  <a:lnTo>
                    <a:pt x="765" y="127"/>
                  </a:lnTo>
                  <a:cubicBezTo>
                    <a:pt x="766" y="127"/>
                    <a:pt x="767" y="128"/>
                    <a:pt x="767" y="130"/>
                  </a:cubicBezTo>
                  <a:cubicBezTo>
                    <a:pt x="767" y="131"/>
                    <a:pt x="766" y="132"/>
                    <a:pt x="764" y="132"/>
                  </a:cubicBezTo>
                  <a:lnTo>
                    <a:pt x="729" y="128"/>
                  </a:lnTo>
                  <a:cubicBezTo>
                    <a:pt x="727" y="127"/>
                    <a:pt x="726" y="126"/>
                    <a:pt x="727" y="125"/>
                  </a:cubicBezTo>
                  <a:cubicBezTo>
                    <a:pt x="727" y="123"/>
                    <a:pt x="728" y="122"/>
                    <a:pt x="729" y="122"/>
                  </a:cubicBezTo>
                  <a:close/>
                  <a:moveTo>
                    <a:pt x="790" y="130"/>
                  </a:moveTo>
                  <a:lnTo>
                    <a:pt x="822" y="134"/>
                  </a:lnTo>
                  <a:lnTo>
                    <a:pt x="826" y="134"/>
                  </a:lnTo>
                  <a:cubicBezTo>
                    <a:pt x="827" y="134"/>
                    <a:pt x="828" y="136"/>
                    <a:pt x="828" y="137"/>
                  </a:cubicBezTo>
                  <a:cubicBezTo>
                    <a:pt x="828" y="138"/>
                    <a:pt x="827" y="140"/>
                    <a:pt x="825" y="139"/>
                  </a:cubicBezTo>
                  <a:lnTo>
                    <a:pt x="821" y="139"/>
                  </a:lnTo>
                  <a:lnTo>
                    <a:pt x="790" y="135"/>
                  </a:lnTo>
                  <a:cubicBezTo>
                    <a:pt x="788" y="135"/>
                    <a:pt x="787" y="134"/>
                    <a:pt x="788" y="132"/>
                  </a:cubicBezTo>
                  <a:cubicBezTo>
                    <a:pt x="788" y="131"/>
                    <a:pt x="789" y="130"/>
                    <a:pt x="790" y="130"/>
                  </a:cubicBezTo>
                  <a:close/>
                  <a:moveTo>
                    <a:pt x="851" y="136"/>
                  </a:moveTo>
                  <a:lnTo>
                    <a:pt x="887" y="140"/>
                  </a:lnTo>
                  <a:cubicBezTo>
                    <a:pt x="888" y="140"/>
                    <a:pt x="890" y="141"/>
                    <a:pt x="889" y="142"/>
                  </a:cubicBezTo>
                  <a:cubicBezTo>
                    <a:pt x="889" y="144"/>
                    <a:pt x="888" y="145"/>
                    <a:pt x="887" y="145"/>
                  </a:cubicBezTo>
                  <a:lnTo>
                    <a:pt x="851" y="142"/>
                  </a:lnTo>
                  <a:cubicBezTo>
                    <a:pt x="850" y="141"/>
                    <a:pt x="848" y="140"/>
                    <a:pt x="849" y="139"/>
                  </a:cubicBezTo>
                  <a:cubicBezTo>
                    <a:pt x="849" y="137"/>
                    <a:pt x="850" y="136"/>
                    <a:pt x="851" y="136"/>
                  </a:cubicBezTo>
                  <a:close/>
                  <a:moveTo>
                    <a:pt x="913" y="142"/>
                  </a:moveTo>
                  <a:lnTo>
                    <a:pt x="948" y="145"/>
                  </a:lnTo>
                  <a:cubicBezTo>
                    <a:pt x="950" y="145"/>
                    <a:pt x="951" y="146"/>
                    <a:pt x="951" y="148"/>
                  </a:cubicBezTo>
                  <a:cubicBezTo>
                    <a:pt x="950" y="149"/>
                    <a:pt x="949" y="150"/>
                    <a:pt x="948" y="150"/>
                  </a:cubicBezTo>
                  <a:lnTo>
                    <a:pt x="912" y="147"/>
                  </a:lnTo>
                  <a:cubicBezTo>
                    <a:pt x="911" y="147"/>
                    <a:pt x="910" y="146"/>
                    <a:pt x="910" y="144"/>
                  </a:cubicBezTo>
                  <a:cubicBezTo>
                    <a:pt x="910" y="143"/>
                    <a:pt x="911" y="142"/>
                    <a:pt x="913" y="142"/>
                  </a:cubicBezTo>
                  <a:close/>
                  <a:moveTo>
                    <a:pt x="974" y="147"/>
                  </a:moveTo>
                  <a:lnTo>
                    <a:pt x="1009" y="150"/>
                  </a:lnTo>
                  <a:cubicBezTo>
                    <a:pt x="1011" y="150"/>
                    <a:pt x="1012" y="152"/>
                    <a:pt x="1012" y="153"/>
                  </a:cubicBezTo>
                  <a:cubicBezTo>
                    <a:pt x="1012" y="154"/>
                    <a:pt x="1010" y="155"/>
                    <a:pt x="1009" y="155"/>
                  </a:cubicBezTo>
                  <a:lnTo>
                    <a:pt x="973" y="152"/>
                  </a:lnTo>
                  <a:cubicBezTo>
                    <a:pt x="972" y="152"/>
                    <a:pt x="971" y="151"/>
                    <a:pt x="971" y="149"/>
                  </a:cubicBezTo>
                  <a:cubicBezTo>
                    <a:pt x="971" y="148"/>
                    <a:pt x="972" y="147"/>
                    <a:pt x="974" y="147"/>
                  </a:cubicBezTo>
                  <a:close/>
                  <a:moveTo>
                    <a:pt x="1035" y="152"/>
                  </a:moveTo>
                  <a:lnTo>
                    <a:pt x="1071" y="156"/>
                  </a:lnTo>
                  <a:cubicBezTo>
                    <a:pt x="1072" y="156"/>
                    <a:pt x="1073" y="157"/>
                    <a:pt x="1073" y="158"/>
                  </a:cubicBezTo>
                  <a:cubicBezTo>
                    <a:pt x="1073" y="160"/>
                    <a:pt x="1072" y="161"/>
                    <a:pt x="1070" y="161"/>
                  </a:cubicBezTo>
                  <a:lnTo>
                    <a:pt x="1035" y="158"/>
                  </a:lnTo>
                  <a:cubicBezTo>
                    <a:pt x="1033" y="157"/>
                    <a:pt x="1032" y="156"/>
                    <a:pt x="1032" y="155"/>
                  </a:cubicBezTo>
                  <a:cubicBezTo>
                    <a:pt x="1032" y="153"/>
                    <a:pt x="1034" y="152"/>
                    <a:pt x="1035" y="152"/>
                  </a:cubicBezTo>
                  <a:close/>
                  <a:moveTo>
                    <a:pt x="1096" y="158"/>
                  </a:moveTo>
                  <a:lnTo>
                    <a:pt x="1098" y="158"/>
                  </a:lnTo>
                  <a:lnTo>
                    <a:pt x="1132" y="160"/>
                  </a:lnTo>
                  <a:cubicBezTo>
                    <a:pt x="1133" y="160"/>
                    <a:pt x="1134" y="161"/>
                    <a:pt x="1134" y="162"/>
                  </a:cubicBezTo>
                  <a:cubicBezTo>
                    <a:pt x="1134" y="164"/>
                    <a:pt x="1133" y="165"/>
                    <a:pt x="1132" y="165"/>
                  </a:cubicBezTo>
                  <a:lnTo>
                    <a:pt x="1097" y="163"/>
                  </a:lnTo>
                  <a:lnTo>
                    <a:pt x="1096" y="163"/>
                  </a:lnTo>
                  <a:cubicBezTo>
                    <a:pt x="1094" y="163"/>
                    <a:pt x="1093" y="162"/>
                    <a:pt x="1093" y="160"/>
                  </a:cubicBezTo>
                  <a:cubicBezTo>
                    <a:pt x="1094" y="159"/>
                    <a:pt x="1095" y="158"/>
                    <a:pt x="1096" y="158"/>
                  </a:cubicBezTo>
                  <a:close/>
                  <a:moveTo>
                    <a:pt x="1157" y="161"/>
                  </a:moveTo>
                  <a:lnTo>
                    <a:pt x="1193" y="162"/>
                  </a:lnTo>
                  <a:cubicBezTo>
                    <a:pt x="1195" y="162"/>
                    <a:pt x="1196" y="164"/>
                    <a:pt x="1196" y="165"/>
                  </a:cubicBezTo>
                  <a:cubicBezTo>
                    <a:pt x="1196" y="167"/>
                    <a:pt x="1194" y="168"/>
                    <a:pt x="1193" y="168"/>
                  </a:cubicBezTo>
                  <a:lnTo>
                    <a:pt x="1157" y="166"/>
                  </a:lnTo>
                  <a:cubicBezTo>
                    <a:pt x="1156" y="166"/>
                    <a:pt x="1155" y="165"/>
                    <a:pt x="1155" y="163"/>
                  </a:cubicBezTo>
                  <a:cubicBezTo>
                    <a:pt x="1155" y="162"/>
                    <a:pt x="1156" y="161"/>
                    <a:pt x="1157" y="161"/>
                  </a:cubicBezTo>
                  <a:close/>
                  <a:moveTo>
                    <a:pt x="1219" y="164"/>
                  </a:moveTo>
                  <a:lnTo>
                    <a:pt x="1255" y="165"/>
                  </a:lnTo>
                  <a:cubicBezTo>
                    <a:pt x="1256" y="165"/>
                    <a:pt x="1257" y="167"/>
                    <a:pt x="1257" y="168"/>
                  </a:cubicBezTo>
                  <a:cubicBezTo>
                    <a:pt x="1257" y="169"/>
                    <a:pt x="1256" y="170"/>
                    <a:pt x="1254" y="170"/>
                  </a:cubicBezTo>
                  <a:lnTo>
                    <a:pt x="1219" y="169"/>
                  </a:lnTo>
                  <a:cubicBezTo>
                    <a:pt x="1217" y="169"/>
                    <a:pt x="1216" y="167"/>
                    <a:pt x="1216" y="166"/>
                  </a:cubicBezTo>
                  <a:cubicBezTo>
                    <a:pt x="1216" y="165"/>
                    <a:pt x="1217" y="164"/>
                    <a:pt x="1219" y="164"/>
                  </a:cubicBezTo>
                  <a:close/>
                  <a:moveTo>
                    <a:pt x="1280" y="167"/>
                  </a:moveTo>
                  <a:lnTo>
                    <a:pt x="1316" y="168"/>
                  </a:lnTo>
                  <a:cubicBezTo>
                    <a:pt x="1317" y="168"/>
                    <a:pt x="1318" y="169"/>
                    <a:pt x="1318" y="171"/>
                  </a:cubicBezTo>
                  <a:cubicBezTo>
                    <a:pt x="1318" y="172"/>
                    <a:pt x="1317" y="173"/>
                    <a:pt x="1316" y="173"/>
                  </a:cubicBezTo>
                  <a:lnTo>
                    <a:pt x="1280" y="172"/>
                  </a:lnTo>
                  <a:cubicBezTo>
                    <a:pt x="1279" y="172"/>
                    <a:pt x="1277" y="170"/>
                    <a:pt x="1277" y="169"/>
                  </a:cubicBezTo>
                  <a:cubicBezTo>
                    <a:pt x="1278" y="168"/>
                    <a:pt x="1279" y="166"/>
                    <a:pt x="1280" y="167"/>
                  </a:cubicBezTo>
                  <a:close/>
                  <a:moveTo>
                    <a:pt x="1342" y="169"/>
                  </a:moveTo>
                  <a:lnTo>
                    <a:pt x="1374" y="171"/>
                  </a:lnTo>
                  <a:lnTo>
                    <a:pt x="1377" y="171"/>
                  </a:lnTo>
                  <a:cubicBezTo>
                    <a:pt x="1379" y="171"/>
                    <a:pt x="1380" y="172"/>
                    <a:pt x="1380" y="174"/>
                  </a:cubicBezTo>
                  <a:cubicBezTo>
                    <a:pt x="1380" y="175"/>
                    <a:pt x="1379" y="176"/>
                    <a:pt x="1377" y="176"/>
                  </a:cubicBezTo>
                  <a:lnTo>
                    <a:pt x="1373" y="176"/>
                  </a:lnTo>
                  <a:lnTo>
                    <a:pt x="1341" y="175"/>
                  </a:lnTo>
                  <a:cubicBezTo>
                    <a:pt x="1340" y="174"/>
                    <a:pt x="1339" y="173"/>
                    <a:pt x="1339" y="172"/>
                  </a:cubicBezTo>
                  <a:cubicBezTo>
                    <a:pt x="1339" y="170"/>
                    <a:pt x="1340" y="169"/>
                    <a:pt x="1342" y="169"/>
                  </a:cubicBezTo>
                  <a:close/>
                  <a:moveTo>
                    <a:pt x="1403" y="171"/>
                  </a:moveTo>
                  <a:lnTo>
                    <a:pt x="1439" y="172"/>
                  </a:lnTo>
                  <a:cubicBezTo>
                    <a:pt x="1440" y="172"/>
                    <a:pt x="1441" y="173"/>
                    <a:pt x="1441" y="174"/>
                  </a:cubicBezTo>
                  <a:cubicBezTo>
                    <a:pt x="1441" y="176"/>
                    <a:pt x="1440" y="177"/>
                    <a:pt x="1439" y="177"/>
                  </a:cubicBezTo>
                  <a:lnTo>
                    <a:pt x="1403" y="176"/>
                  </a:lnTo>
                  <a:cubicBezTo>
                    <a:pt x="1401" y="176"/>
                    <a:pt x="1400" y="175"/>
                    <a:pt x="1400" y="174"/>
                  </a:cubicBezTo>
                  <a:cubicBezTo>
                    <a:pt x="1400" y="172"/>
                    <a:pt x="1401" y="171"/>
                    <a:pt x="1403" y="171"/>
                  </a:cubicBezTo>
                  <a:close/>
                  <a:moveTo>
                    <a:pt x="1464" y="172"/>
                  </a:moveTo>
                  <a:lnTo>
                    <a:pt x="1500" y="172"/>
                  </a:lnTo>
                  <a:cubicBezTo>
                    <a:pt x="1502" y="172"/>
                    <a:pt x="1503" y="173"/>
                    <a:pt x="1503" y="175"/>
                  </a:cubicBezTo>
                  <a:cubicBezTo>
                    <a:pt x="1503" y="176"/>
                    <a:pt x="1501" y="177"/>
                    <a:pt x="1500" y="177"/>
                  </a:cubicBezTo>
                  <a:lnTo>
                    <a:pt x="1464" y="177"/>
                  </a:lnTo>
                  <a:cubicBezTo>
                    <a:pt x="1463" y="177"/>
                    <a:pt x="1462" y="176"/>
                    <a:pt x="1462" y="174"/>
                  </a:cubicBezTo>
                  <a:cubicBezTo>
                    <a:pt x="1462" y="173"/>
                    <a:pt x="1463" y="172"/>
                    <a:pt x="1464" y="172"/>
                  </a:cubicBezTo>
                  <a:close/>
                  <a:moveTo>
                    <a:pt x="1526" y="173"/>
                  </a:moveTo>
                  <a:lnTo>
                    <a:pt x="1562" y="173"/>
                  </a:lnTo>
                  <a:cubicBezTo>
                    <a:pt x="1563" y="173"/>
                    <a:pt x="1564" y="174"/>
                    <a:pt x="1564" y="176"/>
                  </a:cubicBezTo>
                  <a:cubicBezTo>
                    <a:pt x="1564" y="177"/>
                    <a:pt x="1563" y="178"/>
                    <a:pt x="1561" y="178"/>
                  </a:cubicBezTo>
                  <a:lnTo>
                    <a:pt x="1526" y="178"/>
                  </a:lnTo>
                  <a:cubicBezTo>
                    <a:pt x="1524" y="178"/>
                    <a:pt x="1523" y="177"/>
                    <a:pt x="1523" y="175"/>
                  </a:cubicBezTo>
                  <a:cubicBezTo>
                    <a:pt x="1523" y="174"/>
                    <a:pt x="1524" y="173"/>
                    <a:pt x="1526" y="173"/>
                  </a:cubicBezTo>
                  <a:close/>
                  <a:moveTo>
                    <a:pt x="1587" y="173"/>
                  </a:moveTo>
                  <a:lnTo>
                    <a:pt x="1623" y="174"/>
                  </a:lnTo>
                  <a:cubicBezTo>
                    <a:pt x="1624" y="174"/>
                    <a:pt x="1626" y="175"/>
                    <a:pt x="1625" y="176"/>
                  </a:cubicBezTo>
                  <a:cubicBezTo>
                    <a:pt x="1625" y="178"/>
                    <a:pt x="1624" y="179"/>
                    <a:pt x="1623" y="179"/>
                  </a:cubicBezTo>
                  <a:lnTo>
                    <a:pt x="1587" y="178"/>
                  </a:lnTo>
                  <a:cubicBezTo>
                    <a:pt x="1586" y="178"/>
                    <a:pt x="1585" y="177"/>
                    <a:pt x="1585" y="176"/>
                  </a:cubicBezTo>
                  <a:cubicBezTo>
                    <a:pt x="1585" y="174"/>
                    <a:pt x="1586" y="173"/>
                    <a:pt x="1587" y="173"/>
                  </a:cubicBezTo>
                  <a:close/>
                  <a:moveTo>
                    <a:pt x="1649" y="174"/>
                  </a:moveTo>
                  <a:lnTo>
                    <a:pt x="1650" y="174"/>
                  </a:lnTo>
                  <a:lnTo>
                    <a:pt x="1684" y="173"/>
                  </a:lnTo>
                  <a:cubicBezTo>
                    <a:pt x="1686" y="173"/>
                    <a:pt x="1687" y="174"/>
                    <a:pt x="1687" y="175"/>
                  </a:cubicBezTo>
                  <a:cubicBezTo>
                    <a:pt x="1687" y="177"/>
                    <a:pt x="1686" y="178"/>
                    <a:pt x="1684" y="178"/>
                  </a:cubicBezTo>
                  <a:lnTo>
                    <a:pt x="1650" y="179"/>
                  </a:lnTo>
                  <a:lnTo>
                    <a:pt x="1649" y="179"/>
                  </a:lnTo>
                  <a:cubicBezTo>
                    <a:pt x="1647" y="179"/>
                    <a:pt x="1646" y="178"/>
                    <a:pt x="1646" y="176"/>
                  </a:cubicBezTo>
                  <a:cubicBezTo>
                    <a:pt x="1646" y="175"/>
                    <a:pt x="1647" y="174"/>
                    <a:pt x="1649" y="174"/>
                  </a:cubicBezTo>
                  <a:close/>
                  <a:moveTo>
                    <a:pt x="1710" y="172"/>
                  </a:moveTo>
                  <a:lnTo>
                    <a:pt x="1746" y="171"/>
                  </a:lnTo>
                  <a:cubicBezTo>
                    <a:pt x="1747" y="171"/>
                    <a:pt x="1748" y="172"/>
                    <a:pt x="1748" y="174"/>
                  </a:cubicBezTo>
                  <a:cubicBezTo>
                    <a:pt x="1748" y="175"/>
                    <a:pt x="1747" y="176"/>
                    <a:pt x="1746" y="176"/>
                  </a:cubicBezTo>
                  <a:lnTo>
                    <a:pt x="1710" y="177"/>
                  </a:lnTo>
                  <a:cubicBezTo>
                    <a:pt x="1709" y="177"/>
                    <a:pt x="1707" y="176"/>
                    <a:pt x="1707" y="175"/>
                  </a:cubicBezTo>
                  <a:cubicBezTo>
                    <a:pt x="1707" y="173"/>
                    <a:pt x="1708" y="172"/>
                    <a:pt x="1710" y="172"/>
                  </a:cubicBezTo>
                  <a:close/>
                  <a:moveTo>
                    <a:pt x="1771" y="170"/>
                  </a:moveTo>
                  <a:lnTo>
                    <a:pt x="1807" y="169"/>
                  </a:lnTo>
                  <a:cubicBezTo>
                    <a:pt x="1809" y="169"/>
                    <a:pt x="1810" y="170"/>
                    <a:pt x="1810" y="172"/>
                  </a:cubicBezTo>
                  <a:cubicBezTo>
                    <a:pt x="1810" y="173"/>
                    <a:pt x="1809" y="174"/>
                    <a:pt x="1807" y="174"/>
                  </a:cubicBezTo>
                  <a:lnTo>
                    <a:pt x="1771" y="176"/>
                  </a:lnTo>
                  <a:cubicBezTo>
                    <a:pt x="1770" y="176"/>
                    <a:pt x="1769" y="174"/>
                    <a:pt x="1769" y="173"/>
                  </a:cubicBezTo>
                  <a:cubicBezTo>
                    <a:pt x="1769" y="172"/>
                    <a:pt x="1770" y="170"/>
                    <a:pt x="1771" y="170"/>
                  </a:cubicBezTo>
                  <a:close/>
                  <a:moveTo>
                    <a:pt x="1833" y="169"/>
                  </a:moveTo>
                  <a:lnTo>
                    <a:pt x="1869" y="168"/>
                  </a:lnTo>
                  <a:cubicBezTo>
                    <a:pt x="1870" y="168"/>
                    <a:pt x="1871" y="169"/>
                    <a:pt x="1871" y="170"/>
                  </a:cubicBezTo>
                  <a:cubicBezTo>
                    <a:pt x="1871" y="171"/>
                    <a:pt x="1870" y="173"/>
                    <a:pt x="1869" y="173"/>
                  </a:cubicBezTo>
                  <a:lnTo>
                    <a:pt x="1833" y="174"/>
                  </a:lnTo>
                  <a:cubicBezTo>
                    <a:pt x="1831" y="174"/>
                    <a:pt x="1830" y="173"/>
                    <a:pt x="1830" y="171"/>
                  </a:cubicBezTo>
                  <a:cubicBezTo>
                    <a:pt x="1830" y="170"/>
                    <a:pt x="1831" y="169"/>
                    <a:pt x="1833" y="169"/>
                  </a:cubicBezTo>
                  <a:close/>
                  <a:moveTo>
                    <a:pt x="1894" y="167"/>
                  </a:moveTo>
                  <a:lnTo>
                    <a:pt x="1926" y="166"/>
                  </a:lnTo>
                  <a:lnTo>
                    <a:pt x="1930" y="166"/>
                  </a:lnTo>
                  <a:cubicBezTo>
                    <a:pt x="1931" y="166"/>
                    <a:pt x="1932" y="167"/>
                    <a:pt x="1933" y="168"/>
                  </a:cubicBezTo>
                  <a:cubicBezTo>
                    <a:pt x="1933" y="169"/>
                    <a:pt x="1932" y="171"/>
                    <a:pt x="1930" y="171"/>
                  </a:cubicBezTo>
                  <a:lnTo>
                    <a:pt x="1927" y="171"/>
                  </a:lnTo>
                  <a:lnTo>
                    <a:pt x="1894" y="172"/>
                  </a:lnTo>
                  <a:cubicBezTo>
                    <a:pt x="1893" y="172"/>
                    <a:pt x="1892" y="171"/>
                    <a:pt x="1892" y="169"/>
                  </a:cubicBezTo>
                  <a:cubicBezTo>
                    <a:pt x="1892" y="168"/>
                    <a:pt x="1893" y="167"/>
                    <a:pt x="1894" y="167"/>
                  </a:cubicBezTo>
                  <a:close/>
                  <a:moveTo>
                    <a:pt x="1955" y="164"/>
                  </a:moveTo>
                  <a:lnTo>
                    <a:pt x="1991" y="162"/>
                  </a:lnTo>
                  <a:cubicBezTo>
                    <a:pt x="1993" y="162"/>
                    <a:pt x="1994" y="163"/>
                    <a:pt x="1994" y="164"/>
                  </a:cubicBezTo>
                  <a:cubicBezTo>
                    <a:pt x="1994" y="166"/>
                    <a:pt x="1993" y="167"/>
                    <a:pt x="1991" y="167"/>
                  </a:cubicBezTo>
                  <a:lnTo>
                    <a:pt x="1956" y="169"/>
                  </a:lnTo>
                  <a:cubicBezTo>
                    <a:pt x="1954" y="169"/>
                    <a:pt x="1953" y="168"/>
                    <a:pt x="1953" y="167"/>
                  </a:cubicBezTo>
                  <a:cubicBezTo>
                    <a:pt x="1953" y="165"/>
                    <a:pt x="1954" y="164"/>
                    <a:pt x="1955" y="164"/>
                  </a:cubicBezTo>
                  <a:close/>
                  <a:moveTo>
                    <a:pt x="2017" y="160"/>
                  </a:moveTo>
                  <a:lnTo>
                    <a:pt x="2052" y="158"/>
                  </a:lnTo>
                  <a:cubicBezTo>
                    <a:pt x="2054" y="158"/>
                    <a:pt x="2055" y="159"/>
                    <a:pt x="2055" y="160"/>
                  </a:cubicBezTo>
                  <a:cubicBezTo>
                    <a:pt x="2055" y="162"/>
                    <a:pt x="2054" y="163"/>
                    <a:pt x="2053" y="163"/>
                  </a:cubicBezTo>
                  <a:lnTo>
                    <a:pt x="2017" y="165"/>
                  </a:lnTo>
                  <a:cubicBezTo>
                    <a:pt x="2016" y="165"/>
                    <a:pt x="2014" y="164"/>
                    <a:pt x="2014" y="163"/>
                  </a:cubicBezTo>
                  <a:cubicBezTo>
                    <a:pt x="2014" y="161"/>
                    <a:pt x="2015" y="160"/>
                    <a:pt x="2017" y="160"/>
                  </a:cubicBezTo>
                  <a:close/>
                  <a:moveTo>
                    <a:pt x="2078" y="156"/>
                  </a:moveTo>
                  <a:lnTo>
                    <a:pt x="2114" y="154"/>
                  </a:lnTo>
                  <a:cubicBezTo>
                    <a:pt x="2115" y="154"/>
                    <a:pt x="2116" y="155"/>
                    <a:pt x="2116" y="156"/>
                  </a:cubicBezTo>
                  <a:cubicBezTo>
                    <a:pt x="2117" y="158"/>
                    <a:pt x="2115" y="159"/>
                    <a:pt x="2114" y="159"/>
                  </a:cubicBezTo>
                  <a:lnTo>
                    <a:pt x="2078" y="161"/>
                  </a:lnTo>
                  <a:cubicBezTo>
                    <a:pt x="2077" y="161"/>
                    <a:pt x="2076" y="160"/>
                    <a:pt x="2076" y="159"/>
                  </a:cubicBezTo>
                  <a:cubicBezTo>
                    <a:pt x="2075" y="157"/>
                    <a:pt x="2077" y="156"/>
                    <a:pt x="2078" y="156"/>
                  </a:cubicBezTo>
                  <a:close/>
                  <a:moveTo>
                    <a:pt x="2139" y="152"/>
                  </a:moveTo>
                  <a:lnTo>
                    <a:pt x="2175" y="150"/>
                  </a:lnTo>
                  <a:cubicBezTo>
                    <a:pt x="2176" y="150"/>
                    <a:pt x="2178" y="151"/>
                    <a:pt x="2178" y="152"/>
                  </a:cubicBezTo>
                  <a:cubicBezTo>
                    <a:pt x="2178" y="154"/>
                    <a:pt x="2177" y="155"/>
                    <a:pt x="2175" y="155"/>
                  </a:cubicBezTo>
                  <a:lnTo>
                    <a:pt x="2140" y="157"/>
                  </a:lnTo>
                  <a:cubicBezTo>
                    <a:pt x="2138" y="157"/>
                    <a:pt x="2137" y="156"/>
                    <a:pt x="2137" y="155"/>
                  </a:cubicBezTo>
                  <a:cubicBezTo>
                    <a:pt x="2137" y="153"/>
                    <a:pt x="2138" y="152"/>
                    <a:pt x="2139" y="152"/>
                  </a:cubicBezTo>
                  <a:close/>
                  <a:moveTo>
                    <a:pt x="2201" y="148"/>
                  </a:moveTo>
                  <a:lnTo>
                    <a:pt x="2203" y="148"/>
                  </a:lnTo>
                  <a:cubicBezTo>
                    <a:pt x="2205" y="148"/>
                    <a:pt x="2206" y="149"/>
                    <a:pt x="2206" y="150"/>
                  </a:cubicBezTo>
                  <a:cubicBezTo>
                    <a:pt x="2206" y="152"/>
                    <a:pt x="2205" y="153"/>
                    <a:pt x="2204" y="153"/>
                  </a:cubicBezTo>
                  <a:lnTo>
                    <a:pt x="2201" y="153"/>
                  </a:lnTo>
                  <a:cubicBezTo>
                    <a:pt x="2199" y="153"/>
                    <a:pt x="2198" y="152"/>
                    <a:pt x="2198" y="151"/>
                  </a:cubicBezTo>
                  <a:cubicBezTo>
                    <a:pt x="2198" y="149"/>
                    <a:pt x="2199" y="148"/>
                    <a:pt x="2201" y="148"/>
                  </a:cubicBezTo>
                  <a:close/>
                </a:path>
              </a:pathLst>
            </a:custGeom>
            <a:solidFill>
              <a:srgbClr val="0C0C0C"/>
            </a:solidFill>
            <a:ln w="0" cap="flat">
              <a:solidFill>
                <a:srgbClr val="0C0C0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57">
              <a:extLst>
                <a:ext uri="{FF2B5EF4-FFF2-40B4-BE49-F238E27FC236}">
                  <a16:creationId xmlns:a16="http://schemas.microsoft.com/office/drawing/2014/main" id="{A8E7164F-B519-4813-9136-E11B6BF7CFC6}"/>
                </a:ext>
              </a:extLst>
            </p:cNvPr>
            <p:cNvSpPr>
              <a:spLocks/>
            </p:cNvSpPr>
            <p:nvPr/>
          </p:nvSpPr>
          <p:spPr bwMode="auto">
            <a:xfrm>
              <a:off x="5903" y="1641"/>
              <a:ext cx="55" cy="53"/>
            </a:xfrm>
            <a:custGeom>
              <a:avLst/>
              <a:gdLst>
                <a:gd name="T0" fmla="*/ 0 w 55"/>
                <a:gd name="T1" fmla="*/ 0 h 53"/>
                <a:gd name="T2" fmla="*/ 55 w 55"/>
                <a:gd name="T3" fmla="*/ 22 h 53"/>
                <a:gd name="T4" fmla="*/ 5 w 55"/>
                <a:gd name="T5" fmla="*/ 53 h 53"/>
                <a:gd name="T6" fmla="*/ 0 w 55"/>
                <a:gd name="T7" fmla="*/ 0 h 53"/>
              </a:gdLst>
              <a:ahLst/>
              <a:cxnLst>
                <a:cxn ang="0">
                  <a:pos x="T0" y="T1"/>
                </a:cxn>
                <a:cxn ang="0">
                  <a:pos x="T2" y="T3"/>
                </a:cxn>
                <a:cxn ang="0">
                  <a:pos x="T4" y="T5"/>
                </a:cxn>
                <a:cxn ang="0">
                  <a:pos x="T6" y="T7"/>
                </a:cxn>
              </a:cxnLst>
              <a:rect l="0" t="0" r="r" b="b"/>
              <a:pathLst>
                <a:path w="55" h="53">
                  <a:moveTo>
                    <a:pt x="0" y="0"/>
                  </a:moveTo>
                  <a:lnTo>
                    <a:pt x="55" y="22"/>
                  </a:lnTo>
                  <a:lnTo>
                    <a:pt x="5" y="53"/>
                  </a:lnTo>
                  <a:lnTo>
                    <a:pt x="0" y="0"/>
                  </a:lnTo>
                  <a:close/>
                </a:path>
              </a:pathLst>
            </a:custGeom>
            <a:solidFill>
              <a:srgbClr val="0C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8">
              <a:extLst>
                <a:ext uri="{FF2B5EF4-FFF2-40B4-BE49-F238E27FC236}">
                  <a16:creationId xmlns:a16="http://schemas.microsoft.com/office/drawing/2014/main" id="{C699866E-E874-4FBF-8512-AE9A8E22C98E}"/>
                </a:ext>
              </a:extLst>
            </p:cNvPr>
            <p:cNvSpPr>
              <a:spLocks noChangeArrowheads="1"/>
            </p:cNvSpPr>
            <p:nvPr/>
          </p:nvSpPr>
          <p:spPr bwMode="auto">
            <a:xfrm>
              <a:off x="5266" y="1604"/>
              <a:ext cx="348"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9">
              <a:extLst>
                <a:ext uri="{FF2B5EF4-FFF2-40B4-BE49-F238E27FC236}">
                  <a16:creationId xmlns:a16="http://schemas.microsoft.com/office/drawing/2014/main" id="{0B8826E3-E3B3-4700-BC16-6E7F53C4C007}"/>
                </a:ext>
              </a:extLst>
            </p:cNvPr>
            <p:cNvSpPr>
              <a:spLocks noEditPoints="1"/>
            </p:cNvSpPr>
            <p:nvPr/>
          </p:nvSpPr>
          <p:spPr bwMode="auto">
            <a:xfrm>
              <a:off x="5319" y="1618"/>
              <a:ext cx="243" cy="38"/>
            </a:xfrm>
            <a:custGeom>
              <a:avLst/>
              <a:gdLst>
                <a:gd name="T0" fmla="*/ 43 w 542"/>
                <a:gd name="T1" fmla="*/ 83 h 85"/>
                <a:gd name="T2" fmla="*/ 17 w 542"/>
                <a:gd name="T3" fmla="*/ 47 h 85"/>
                <a:gd name="T4" fmla="*/ 2 w 542"/>
                <a:gd name="T5" fmla="*/ 84 h 85"/>
                <a:gd name="T6" fmla="*/ 21 w 542"/>
                <a:gd name="T7" fmla="*/ 2 h 85"/>
                <a:gd name="T8" fmla="*/ 48 w 542"/>
                <a:gd name="T9" fmla="*/ 31 h 85"/>
                <a:gd name="T10" fmla="*/ 45 w 542"/>
                <a:gd name="T11" fmla="*/ 59 h 85"/>
                <a:gd name="T12" fmla="*/ 24 w 542"/>
                <a:gd name="T13" fmla="*/ 12 h 85"/>
                <a:gd name="T14" fmla="*/ 36 w 542"/>
                <a:gd name="T15" fmla="*/ 30 h 85"/>
                <a:gd name="T16" fmla="*/ 96 w 542"/>
                <a:gd name="T17" fmla="*/ 83 h 85"/>
                <a:gd name="T18" fmla="*/ 60 w 542"/>
                <a:gd name="T19" fmla="*/ 75 h 85"/>
                <a:gd name="T20" fmla="*/ 94 w 542"/>
                <a:gd name="T21" fmla="*/ 44 h 85"/>
                <a:gd name="T22" fmla="*/ 66 w 542"/>
                <a:gd name="T23" fmla="*/ 36 h 85"/>
                <a:gd name="T24" fmla="*/ 63 w 542"/>
                <a:gd name="T25" fmla="*/ 29 h 85"/>
                <a:gd name="T26" fmla="*/ 104 w 542"/>
                <a:gd name="T27" fmla="*/ 35 h 85"/>
                <a:gd name="T28" fmla="*/ 70 w 542"/>
                <a:gd name="T29" fmla="*/ 62 h 85"/>
                <a:gd name="T30" fmla="*/ 137 w 542"/>
                <a:gd name="T31" fmla="*/ 82 h 85"/>
                <a:gd name="T32" fmla="*/ 127 w 542"/>
                <a:gd name="T33" fmla="*/ 83 h 85"/>
                <a:gd name="T34" fmla="*/ 134 w 542"/>
                <a:gd name="T35" fmla="*/ 24 h 85"/>
                <a:gd name="T36" fmla="*/ 131 w 542"/>
                <a:gd name="T37" fmla="*/ 13 h 85"/>
                <a:gd name="T38" fmla="*/ 194 w 542"/>
                <a:gd name="T39" fmla="*/ 66 h 85"/>
                <a:gd name="T40" fmla="*/ 157 w 542"/>
                <a:gd name="T41" fmla="*/ 81 h 85"/>
                <a:gd name="T42" fmla="*/ 156 w 542"/>
                <a:gd name="T43" fmla="*/ 71 h 85"/>
                <a:gd name="T44" fmla="*/ 183 w 542"/>
                <a:gd name="T45" fmla="*/ 71 h 85"/>
                <a:gd name="T46" fmla="*/ 160 w 542"/>
                <a:gd name="T47" fmla="*/ 50 h 85"/>
                <a:gd name="T48" fmla="*/ 180 w 542"/>
                <a:gd name="T49" fmla="*/ 23 h 85"/>
                <a:gd name="T50" fmla="*/ 191 w 542"/>
                <a:gd name="T51" fmla="*/ 31 h 85"/>
                <a:gd name="T52" fmla="*/ 181 w 542"/>
                <a:gd name="T53" fmla="*/ 31 h 85"/>
                <a:gd name="T54" fmla="*/ 170 w 542"/>
                <a:gd name="T55" fmla="*/ 46 h 85"/>
                <a:gd name="T56" fmla="*/ 254 w 542"/>
                <a:gd name="T57" fmla="*/ 51 h 85"/>
                <a:gd name="T58" fmla="*/ 232 w 542"/>
                <a:gd name="T59" fmla="*/ 76 h 85"/>
                <a:gd name="T60" fmla="*/ 252 w 542"/>
                <a:gd name="T61" fmla="*/ 74 h 85"/>
                <a:gd name="T62" fmla="*/ 244 w 542"/>
                <a:gd name="T63" fmla="*/ 83 h 85"/>
                <a:gd name="T64" fmla="*/ 204 w 542"/>
                <a:gd name="T65" fmla="*/ 41 h 85"/>
                <a:gd name="T66" fmla="*/ 254 w 542"/>
                <a:gd name="T67" fmla="*/ 49 h 85"/>
                <a:gd name="T68" fmla="*/ 214 w 542"/>
                <a:gd name="T69" fmla="*/ 42 h 85"/>
                <a:gd name="T70" fmla="*/ 323 w 542"/>
                <a:gd name="T71" fmla="*/ 53 h 85"/>
                <a:gd name="T72" fmla="*/ 306 w 542"/>
                <a:gd name="T73" fmla="*/ 84 h 85"/>
                <a:gd name="T74" fmla="*/ 325 w 542"/>
                <a:gd name="T75" fmla="*/ 2 h 85"/>
                <a:gd name="T76" fmla="*/ 342 w 542"/>
                <a:gd name="T77" fmla="*/ 27 h 85"/>
                <a:gd name="T78" fmla="*/ 324 w 542"/>
                <a:gd name="T79" fmla="*/ 44 h 85"/>
                <a:gd name="T80" fmla="*/ 399 w 542"/>
                <a:gd name="T81" fmla="*/ 33 h 85"/>
                <a:gd name="T82" fmla="*/ 387 w 542"/>
                <a:gd name="T83" fmla="*/ 33 h 85"/>
                <a:gd name="T84" fmla="*/ 374 w 542"/>
                <a:gd name="T85" fmla="*/ 84 h 85"/>
                <a:gd name="T86" fmla="*/ 367 w 542"/>
                <a:gd name="T87" fmla="*/ 25 h 85"/>
                <a:gd name="T88" fmla="*/ 376 w 542"/>
                <a:gd name="T89" fmla="*/ 26 h 85"/>
                <a:gd name="T90" fmla="*/ 395 w 542"/>
                <a:gd name="T91" fmla="*/ 23 h 85"/>
                <a:gd name="T92" fmla="*/ 425 w 542"/>
                <a:gd name="T93" fmla="*/ 82 h 85"/>
                <a:gd name="T94" fmla="*/ 415 w 542"/>
                <a:gd name="T95" fmla="*/ 83 h 85"/>
                <a:gd name="T96" fmla="*/ 422 w 542"/>
                <a:gd name="T97" fmla="*/ 24 h 85"/>
                <a:gd name="T98" fmla="*/ 419 w 542"/>
                <a:gd name="T99" fmla="*/ 13 h 85"/>
                <a:gd name="T100" fmla="*/ 487 w 542"/>
                <a:gd name="T101" fmla="*/ 73 h 85"/>
                <a:gd name="T102" fmla="*/ 473 w 542"/>
                <a:gd name="T103" fmla="*/ 84 h 85"/>
                <a:gd name="T104" fmla="*/ 450 w 542"/>
                <a:gd name="T105" fmla="*/ 30 h 85"/>
                <a:gd name="T106" fmla="*/ 486 w 542"/>
                <a:gd name="T107" fmla="*/ 29 h 85"/>
                <a:gd name="T108" fmla="*/ 479 w 542"/>
                <a:gd name="T109" fmla="*/ 35 h 85"/>
                <a:gd name="T110" fmla="*/ 462 w 542"/>
                <a:gd name="T111" fmla="*/ 74 h 85"/>
                <a:gd name="T112" fmla="*/ 486 w 542"/>
                <a:gd name="T113" fmla="*/ 70 h 85"/>
                <a:gd name="T114" fmla="*/ 502 w 542"/>
                <a:gd name="T115" fmla="*/ 64 h 85"/>
                <a:gd name="T116" fmla="*/ 538 w 542"/>
                <a:gd name="T117" fmla="*/ 72 h 85"/>
                <a:gd name="T118" fmla="*/ 539 w 542"/>
                <a:gd name="T119" fmla="*/ 79 h 85"/>
                <a:gd name="T120" fmla="*/ 498 w 542"/>
                <a:gd name="T121" fmla="*/ 77 h 85"/>
                <a:gd name="T122" fmla="*/ 529 w 542"/>
                <a:gd name="T123" fmla="*/ 25 h 85"/>
                <a:gd name="T124" fmla="*/ 517 w 542"/>
                <a:gd name="T125" fmla="*/ 3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2" h="85">
                  <a:moveTo>
                    <a:pt x="53" y="82"/>
                  </a:moveTo>
                  <a:cubicBezTo>
                    <a:pt x="53" y="82"/>
                    <a:pt x="53" y="82"/>
                    <a:pt x="53" y="83"/>
                  </a:cubicBezTo>
                  <a:cubicBezTo>
                    <a:pt x="53" y="83"/>
                    <a:pt x="53" y="83"/>
                    <a:pt x="52" y="83"/>
                  </a:cubicBezTo>
                  <a:cubicBezTo>
                    <a:pt x="52" y="83"/>
                    <a:pt x="51" y="84"/>
                    <a:pt x="51" y="84"/>
                  </a:cubicBezTo>
                  <a:cubicBezTo>
                    <a:pt x="50" y="84"/>
                    <a:pt x="49" y="84"/>
                    <a:pt x="48" y="84"/>
                  </a:cubicBezTo>
                  <a:cubicBezTo>
                    <a:pt x="47" y="84"/>
                    <a:pt x="46" y="84"/>
                    <a:pt x="45" y="84"/>
                  </a:cubicBezTo>
                  <a:cubicBezTo>
                    <a:pt x="44" y="84"/>
                    <a:pt x="44" y="83"/>
                    <a:pt x="43" y="83"/>
                  </a:cubicBezTo>
                  <a:cubicBezTo>
                    <a:pt x="43" y="83"/>
                    <a:pt x="43" y="83"/>
                    <a:pt x="42" y="82"/>
                  </a:cubicBezTo>
                  <a:cubicBezTo>
                    <a:pt x="42" y="82"/>
                    <a:pt x="42" y="82"/>
                    <a:pt x="42" y="81"/>
                  </a:cubicBezTo>
                  <a:lnTo>
                    <a:pt x="34" y="62"/>
                  </a:lnTo>
                  <a:cubicBezTo>
                    <a:pt x="34" y="60"/>
                    <a:pt x="33" y="58"/>
                    <a:pt x="32" y="56"/>
                  </a:cubicBezTo>
                  <a:cubicBezTo>
                    <a:pt x="31" y="54"/>
                    <a:pt x="30" y="53"/>
                    <a:pt x="28" y="51"/>
                  </a:cubicBezTo>
                  <a:cubicBezTo>
                    <a:pt x="27" y="50"/>
                    <a:pt x="26" y="49"/>
                    <a:pt x="24" y="48"/>
                  </a:cubicBezTo>
                  <a:cubicBezTo>
                    <a:pt x="22" y="48"/>
                    <a:pt x="20" y="47"/>
                    <a:pt x="17" y="47"/>
                  </a:cubicBezTo>
                  <a:lnTo>
                    <a:pt x="10" y="47"/>
                  </a:lnTo>
                  <a:lnTo>
                    <a:pt x="10" y="82"/>
                  </a:lnTo>
                  <a:cubicBezTo>
                    <a:pt x="10" y="82"/>
                    <a:pt x="10" y="82"/>
                    <a:pt x="10" y="83"/>
                  </a:cubicBezTo>
                  <a:cubicBezTo>
                    <a:pt x="10" y="83"/>
                    <a:pt x="9" y="83"/>
                    <a:pt x="9" y="83"/>
                  </a:cubicBezTo>
                  <a:cubicBezTo>
                    <a:pt x="9" y="83"/>
                    <a:pt x="8" y="83"/>
                    <a:pt x="7" y="84"/>
                  </a:cubicBezTo>
                  <a:cubicBezTo>
                    <a:pt x="7" y="84"/>
                    <a:pt x="6" y="84"/>
                    <a:pt x="5" y="84"/>
                  </a:cubicBezTo>
                  <a:cubicBezTo>
                    <a:pt x="4" y="84"/>
                    <a:pt x="3" y="84"/>
                    <a:pt x="2" y="84"/>
                  </a:cubicBezTo>
                  <a:cubicBezTo>
                    <a:pt x="2" y="83"/>
                    <a:pt x="1" y="83"/>
                    <a:pt x="1" y="83"/>
                  </a:cubicBezTo>
                  <a:cubicBezTo>
                    <a:pt x="0" y="83"/>
                    <a:pt x="0" y="83"/>
                    <a:pt x="0" y="83"/>
                  </a:cubicBezTo>
                  <a:cubicBezTo>
                    <a:pt x="0" y="82"/>
                    <a:pt x="0" y="82"/>
                    <a:pt x="0" y="82"/>
                  </a:cubicBezTo>
                  <a:lnTo>
                    <a:pt x="0" y="7"/>
                  </a:lnTo>
                  <a:cubicBezTo>
                    <a:pt x="0" y="5"/>
                    <a:pt x="0" y="4"/>
                    <a:pt x="1" y="3"/>
                  </a:cubicBezTo>
                  <a:cubicBezTo>
                    <a:pt x="2" y="3"/>
                    <a:pt x="3" y="2"/>
                    <a:pt x="4" y="2"/>
                  </a:cubicBezTo>
                  <a:lnTo>
                    <a:pt x="21" y="2"/>
                  </a:lnTo>
                  <a:cubicBezTo>
                    <a:pt x="23" y="2"/>
                    <a:pt x="24" y="3"/>
                    <a:pt x="26" y="3"/>
                  </a:cubicBezTo>
                  <a:cubicBezTo>
                    <a:pt x="27" y="3"/>
                    <a:pt x="28" y="3"/>
                    <a:pt x="29" y="3"/>
                  </a:cubicBezTo>
                  <a:cubicBezTo>
                    <a:pt x="33" y="4"/>
                    <a:pt x="35" y="4"/>
                    <a:pt x="38" y="6"/>
                  </a:cubicBezTo>
                  <a:cubicBezTo>
                    <a:pt x="40" y="7"/>
                    <a:pt x="42" y="8"/>
                    <a:pt x="44" y="10"/>
                  </a:cubicBezTo>
                  <a:cubicBezTo>
                    <a:pt x="45" y="12"/>
                    <a:pt x="47" y="14"/>
                    <a:pt x="47" y="16"/>
                  </a:cubicBezTo>
                  <a:cubicBezTo>
                    <a:pt x="48" y="18"/>
                    <a:pt x="49" y="21"/>
                    <a:pt x="49" y="24"/>
                  </a:cubicBezTo>
                  <a:cubicBezTo>
                    <a:pt x="49" y="26"/>
                    <a:pt x="48" y="29"/>
                    <a:pt x="48" y="31"/>
                  </a:cubicBezTo>
                  <a:cubicBezTo>
                    <a:pt x="47" y="33"/>
                    <a:pt x="46" y="35"/>
                    <a:pt x="44" y="37"/>
                  </a:cubicBezTo>
                  <a:cubicBezTo>
                    <a:pt x="43" y="38"/>
                    <a:pt x="41" y="40"/>
                    <a:pt x="39" y="41"/>
                  </a:cubicBezTo>
                  <a:cubicBezTo>
                    <a:pt x="38" y="42"/>
                    <a:pt x="35" y="43"/>
                    <a:pt x="33" y="44"/>
                  </a:cubicBezTo>
                  <a:cubicBezTo>
                    <a:pt x="34" y="45"/>
                    <a:pt x="36" y="45"/>
                    <a:pt x="37" y="46"/>
                  </a:cubicBezTo>
                  <a:cubicBezTo>
                    <a:pt x="38" y="47"/>
                    <a:pt x="39" y="48"/>
                    <a:pt x="40" y="50"/>
                  </a:cubicBezTo>
                  <a:cubicBezTo>
                    <a:pt x="41" y="51"/>
                    <a:pt x="41" y="52"/>
                    <a:pt x="42" y="54"/>
                  </a:cubicBezTo>
                  <a:cubicBezTo>
                    <a:pt x="43" y="55"/>
                    <a:pt x="44" y="57"/>
                    <a:pt x="45" y="59"/>
                  </a:cubicBezTo>
                  <a:lnTo>
                    <a:pt x="52" y="77"/>
                  </a:lnTo>
                  <a:cubicBezTo>
                    <a:pt x="53" y="79"/>
                    <a:pt x="53" y="80"/>
                    <a:pt x="53" y="80"/>
                  </a:cubicBezTo>
                  <a:cubicBezTo>
                    <a:pt x="53" y="81"/>
                    <a:pt x="53" y="81"/>
                    <a:pt x="53" y="82"/>
                  </a:cubicBezTo>
                  <a:close/>
                  <a:moveTo>
                    <a:pt x="37" y="25"/>
                  </a:moveTo>
                  <a:cubicBezTo>
                    <a:pt x="37" y="22"/>
                    <a:pt x="37" y="19"/>
                    <a:pt x="35" y="17"/>
                  </a:cubicBezTo>
                  <a:cubicBezTo>
                    <a:pt x="34" y="15"/>
                    <a:pt x="31" y="13"/>
                    <a:pt x="28" y="12"/>
                  </a:cubicBezTo>
                  <a:cubicBezTo>
                    <a:pt x="27" y="12"/>
                    <a:pt x="26" y="12"/>
                    <a:pt x="24" y="12"/>
                  </a:cubicBezTo>
                  <a:cubicBezTo>
                    <a:pt x="23" y="11"/>
                    <a:pt x="21" y="11"/>
                    <a:pt x="19" y="11"/>
                  </a:cubicBezTo>
                  <a:lnTo>
                    <a:pt x="10" y="11"/>
                  </a:lnTo>
                  <a:lnTo>
                    <a:pt x="10" y="39"/>
                  </a:lnTo>
                  <a:lnTo>
                    <a:pt x="21" y="39"/>
                  </a:lnTo>
                  <a:cubicBezTo>
                    <a:pt x="24" y="39"/>
                    <a:pt x="26" y="38"/>
                    <a:pt x="28" y="38"/>
                  </a:cubicBezTo>
                  <a:cubicBezTo>
                    <a:pt x="30" y="37"/>
                    <a:pt x="32" y="36"/>
                    <a:pt x="33" y="35"/>
                  </a:cubicBezTo>
                  <a:cubicBezTo>
                    <a:pt x="35" y="33"/>
                    <a:pt x="36" y="32"/>
                    <a:pt x="36" y="30"/>
                  </a:cubicBezTo>
                  <a:cubicBezTo>
                    <a:pt x="37" y="29"/>
                    <a:pt x="37" y="27"/>
                    <a:pt x="37" y="25"/>
                  </a:cubicBezTo>
                  <a:close/>
                  <a:moveTo>
                    <a:pt x="105" y="82"/>
                  </a:moveTo>
                  <a:cubicBezTo>
                    <a:pt x="105" y="82"/>
                    <a:pt x="105" y="83"/>
                    <a:pt x="104" y="83"/>
                  </a:cubicBezTo>
                  <a:cubicBezTo>
                    <a:pt x="104" y="83"/>
                    <a:pt x="103" y="83"/>
                    <a:pt x="103" y="84"/>
                  </a:cubicBezTo>
                  <a:cubicBezTo>
                    <a:pt x="102" y="84"/>
                    <a:pt x="101" y="84"/>
                    <a:pt x="100" y="84"/>
                  </a:cubicBezTo>
                  <a:cubicBezTo>
                    <a:pt x="99" y="84"/>
                    <a:pt x="98" y="84"/>
                    <a:pt x="98" y="84"/>
                  </a:cubicBezTo>
                  <a:cubicBezTo>
                    <a:pt x="97" y="83"/>
                    <a:pt x="97" y="83"/>
                    <a:pt x="96" y="83"/>
                  </a:cubicBezTo>
                  <a:cubicBezTo>
                    <a:pt x="96" y="83"/>
                    <a:pt x="96" y="82"/>
                    <a:pt x="96" y="82"/>
                  </a:cubicBezTo>
                  <a:lnTo>
                    <a:pt x="96" y="76"/>
                  </a:lnTo>
                  <a:cubicBezTo>
                    <a:pt x="93" y="79"/>
                    <a:pt x="91" y="81"/>
                    <a:pt x="88" y="82"/>
                  </a:cubicBezTo>
                  <a:cubicBezTo>
                    <a:pt x="85" y="84"/>
                    <a:pt x="81" y="85"/>
                    <a:pt x="78" y="85"/>
                  </a:cubicBezTo>
                  <a:cubicBezTo>
                    <a:pt x="75" y="85"/>
                    <a:pt x="72" y="84"/>
                    <a:pt x="70" y="83"/>
                  </a:cubicBezTo>
                  <a:cubicBezTo>
                    <a:pt x="68" y="83"/>
                    <a:pt x="66" y="81"/>
                    <a:pt x="64" y="80"/>
                  </a:cubicBezTo>
                  <a:cubicBezTo>
                    <a:pt x="62" y="79"/>
                    <a:pt x="61" y="77"/>
                    <a:pt x="60" y="75"/>
                  </a:cubicBezTo>
                  <a:cubicBezTo>
                    <a:pt x="59" y="73"/>
                    <a:pt x="59" y="70"/>
                    <a:pt x="59" y="67"/>
                  </a:cubicBezTo>
                  <a:cubicBezTo>
                    <a:pt x="59" y="64"/>
                    <a:pt x="59" y="61"/>
                    <a:pt x="60" y="59"/>
                  </a:cubicBezTo>
                  <a:cubicBezTo>
                    <a:pt x="62" y="57"/>
                    <a:pt x="64" y="55"/>
                    <a:pt x="66" y="53"/>
                  </a:cubicBezTo>
                  <a:cubicBezTo>
                    <a:pt x="68" y="52"/>
                    <a:pt x="71" y="51"/>
                    <a:pt x="75" y="50"/>
                  </a:cubicBezTo>
                  <a:cubicBezTo>
                    <a:pt x="78" y="49"/>
                    <a:pt x="82" y="49"/>
                    <a:pt x="87" y="49"/>
                  </a:cubicBezTo>
                  <a:lnTo>
                    <a:pt x="94" y="49"/>
                  </a:lnTo>
                  <a:lnTo>
                    <a:pt x="94" y="44"/>
                  </a:lnTo>
                  <a:cubicBezTo>
                    <a:pt x="94" y="42"/>
                    <a:pt x="94" y="40"/>
                    <a:pt x="94" y="39"/>
                  </a:cubicBezTo>
                  <a:cubicBezTo>
                    <a:pt x="93" y="37"/>
                    <a:pt x="93" y="36"/>
                    <a:pt x="92" y="34"/>
                  </a:cubicBezTo>
                  <a:cubicBezTo>
                    <a:pt x="91" y="33"/>
                    <a:pt x="89" y="32"/>
                    <a:pt x="88" y="32"/>
                  </a:cubicBezTo>
                  <a:cubicBezTo>
                    <a:pt x="86" y="31"/>
                    <a:pt x="84" y="31"/>
                    <a:pt x="82" y="31"/>
                  </a:cubicBezTo>
                  <a:cubicBezTo>
                    <a:pt x="79" y="31"/>
                    <a:pt x="77" y="31"/>
                    <a:pt x="75" y="32"/>
                  </a:cubicBezTo>
                  <a:cubicBezTo>
                    <a:pt x="73" y="33"/>
                    <a:pt x="71" y="33"/>
                    <a:pt x="69" y="34"/>
                  </a:cubicBezTo>
                  <a:cubicBezTo>
                    <a:pt x="68" y="35"/>
                    <a:pt x="67" y="35"/>
                    <a:pt x="66" y="36"/>
                  </a:cubicBezTo>
                  <a:cubicBezTo>
                    <a:pt x="65" y="37"/>
                    <a:pt x="64" y="37"/>
                    <a:pt x="63" y="37"/>
                  </a:cubicBezTo>
                  <a:cubicBezTo>
                    <a:pt x="63" y="37"/>
                    <a:pt x="63" y="37"/>
                    <a:pt x="62" y="37"/>
                  </a:cubicBezTo>
                  <a:cubicBezTo>
                    <a:pt x="62" y="36"/>
                    <a:pt x="62" y="36"/>
                    <a:pt x="62" y="36"/>
                  </a:cubicBezTo>
                  <a:cubicBezTo>
                    <a:pt x="62" y="36"/>
                    <a:pt x="61" y="35"/>
                    <a:pt x="61" y="35"/>
                  </a:cubicBezTo>
                  <a:cubicBezTo>
                    <a:pt x="61" y="34"/>
                    <a:pt x="61" y="34"/>
                    <a:pt x="61" y="33"/>
                  </a:cubicBezTo>
                  <a:cubicBezTo>
                    <a:pt x="61" y="32"/>
                    <a:pt x="61" y="31"/>
                    <a:pt x="61" y="30"/>
                  </a:cubicBezTo>
                  <a:cubicBezTo>
                    <a:pt x="62" y="30"/>
                    <a:pt x="62" y="29"/>
                    <a:pt x="63" y="29"/>
                  </a:cubicBezTo>
                  <a:cubicBezTo>
                    <a:pt x="63" y="28"/>
                    <a:pt x="64" y="28"/>
                    <a:pt x="65" y="27"/>
                  </a:cubicBezTo>
                  <a:cubicBezTo>
                    <a:pt x="67" y="26"/>
                    <a:pt x="68" y="25"/>
                    <a:pt x="70" y="25"/>
                  </a:cubicBezTo>
                  <a:cubicBezTo>
                    <a:pt x="72" y="24"/>
                    <a:pt x="74" y="24"/>
                    <a:pt x="76" y="23"/>
                  </a:cubicBezTo>
                  <a:cubicBezTo>
                    <a:pt x="78" y="23"/>
                    <a:pt x="80" y="23"/>
                    <a:pt x="83" y="23"/>
                  </a:cubicBezTo>
                  <a:cubicBezTo>
                    <a:pt x="87" y="23"/>
                    <a:pt x="90" y="23"/>
                    <a:pt x="93" y="24"/>
                  </a:cubicBezTo>
                  <a:cubicBezTo>
                    <a:pt x="96" y="25"/>
                    <a:pt x="98" y="26"/>
                    <a:pt x="100" y="28"/>
                  </a:cubicBezTo>
                  <a:cubicBezTo>
                    <a:pt x="101" y="30"/>
                    <a:pt x="103" y="32"/>
                    <a:pt x="104" y="35"/>
                  </a:cubicBezTo>
                  <a:cubicBezTo>
                    <a:pt x="104" y="37"/>
                    <a:pt x="105" y="40"/>
                    <a:pt x="105" y="44"/>
                  </a:cubicBezTo>
                  <a:lnTo>
                    <a:pt x="105" y="82"/>
                  </a:lnTo>
                  <a:close/>
                  <a:moveTo>
                    <a:pt x="94" y="56"/>
                  </a:moveTo>
                  <a:lnTo>
                    <a:pt x="86" y="56"/>
                  </a:lnTo>
                  <a:cubicBezTo>
                    <a:pt x="83" y="56"/>
                    <a:pt x="80" y="56"/>
                    <a:pt x="78" y="57"/>
                  </a:cubicBezTo>
                  <a:cubicBezTo>
                    <a:pt x="76" y="57"/>
                    <a:pt x="74" y="58"/>
                    <a:pt x="73" y="59"/>
                  </a:cubicBezTo>
                  <a:cubicBezTo>
                    <a:pt x="72" y="60"/>
                    <a:pt x="71" y="61"/>
                    <a:pt x="70" y="62"/>
                  </a:cubicBezTo>
                  <a:cubicBezTo>
                    <a:pt x="69" y="64"/>
                    <a:pt x="69" y="65"/>
                    <a:pt x="69" y="67"/>
                  </a:cubicBezTo>
                  <a:cubicBezTo>
                    <a:pt x="69" y="70"/>
                    <a:pt x="70" y="72"/>
                    <a:pt x="72" y="74"/>
                  </a:cubicBezTo>
                  <a:cubicBezTo>
                    <a:pt x="74" y="76"/>
                    <a:pt x="76" y="76"/>
                    <a:pt x="80" y="76"/>
                  </a:cubicBezTo>
                  <a:cubicBezTo>
                    <a:pt x="82" y="76"/>
                    <a:pt x="85" y="76"/>
                    <a:pt x="87" y="74"/>
                  </a:cubicBezTo>
                  <a:cubicBezTo>
                    <a:pt x="89" y="73"/>
                    <a:pt x="92" y="71"/>
                    <a:pt x="94" y="68"/>
                  </a:cubicBezTo>
                  <a:lnTo>
                    <a:pt x="94" y="56"/>
                  </a:lnTo>
                  <a:close/>
                  <a:moveTo>
                    <a:pt x="137" y="82"/>
                  </a:moveTo>
                  <a:cubicBezTo>
                    <a:pt x="137" y="82"/>
                    <a:pt x="137" y="82"/>
                    <a:pt x="136" y="83"/>
                  </a:cubicBezTo>
                  <a:cubicBezTo>
                    <a:pt x="136" y="83"/>
                    <a:pt x="136" y="83"/>
                    <a:pt x="136" y="83"/>
                  </a:cubicBezTo>
                  <a:cubicBezTo>
                    <a:pt x="135" y="83"/>
                    <a:pt x="135" y="84"/>
                    <a:pt x="134" y="84"/>
                  </a:cubicBezTo>
                  <a:cubicBezTo>
                    <a:pt x="133" y="84"/>
                    <a:pt x="132" y="84"/>
                    <a:pt x="131" y="84"/>
                  </a:cubicBezTo>
                  <a:cubicBezTo>
                    <a:pt x="130" y="84"/>
                    <a:pt x="130" y="84"/>
                    <a:pt x="129" y="84"/>
                  </a:cubicBezTo>
                  <a:cubicBezTo>
                    <a:pt x="128" y="84"/>
                    <a:pt x="128" y="83"/>
                    <a:pt x="127" y="83"/>
                  </a:cubicBezTo>
                  <a:cubicBezTo>
                    <a:pt x="127" y="83"/>
                    <a:pt x="127" y="83"/>
                    <a:pt x="127" y="83"/>
                  </a:cubicBezTo>
                  <a:cubicBezTo>
                    <a:pt x="126" y="82"/>
                    <a:pt x="126" y="82"/>
                    <a:pt x="126" y="82"/>
                  </a:cubicBezTo>
                  <a:lnTo>
                    <a:pt x="126" y="26"/>
                  </a:lnTo>
                  <a:cubicBezTo>
                    <a:pt x="126" y="25"/>
                    <a:pt x="126" y="25"/>
                    <a:pt x="127" y="25"/>
                  </a:cubicBezTo>
                  <a:cubicBezTo>
                    <a:pt x="127" y="24"/>
                    <a:pt x="127" y="24"/>
                    <a:pt x="127" y="24"/>
                  </a:cubicBezTo>
                  <a:cubicBezTo>
                    <a:pt x="128" y="24"/>
                    <a:pt x="128" y="24"/>
                    <a:pt x="129" y="24"/>
                  </a:cubicBezTo>
                  <a:cubicBezTo>
                    <a:pt x="130" y="24"/>
                    <a:pt x="130" y="24"/>
                    <a:pt x="131" y="24"/>
                  </a:cubicBezTo>
                  <a:cubicBezTo>
                    <a:pt x="132" y="24"/>
                    <a:pt x="133" y="24"/>
                    <a:pt x="134" y="24"/>
                  </a:cubicBezTo>
                  <a:cubicBezTo>
                    <a:pt x="135" y="24"/>
                    <a:pt x="135" y="24"/>
                    <a:pt x="136" y="24"/>
                  </a:cubicBezTo>
                  <a:cubicBezTo>
                    <a:pt x="136" y="24"/>
                    <a:pt x="136" y="24"/>
                    <a:pt x="136" y="25"/>
                  </a:cubicBezTo>
                  <a:cubicBezTo>
                    <a:pt x="137" y="25"/>
                    <a:pt x="137" y="25"/>
                    <a:pt x="137" y="26"/>
                  </a:cubicBezTo>
                  <a:lnTo>
                    <a:pt x="137" y="82"/>
                  </a:lnTo>
                  <a:close/>
                  <a:moveTo>
                    <a:pt x="138" y="7"/>
                  </a:moveTo>
                  <a:cubicBezTo>
                    <a:pt x="138" y="9"/>
                    <a:pt x="137" y="11"/>
                    <a:pt x="136" y="11"/>
                  </a:cubicBezTo>
                  <a:cubicBezTo>
                    <a:pt x="136" y="12"/>
                    <a:pt x="134" y="13"/>
                    <a:pt x="131" y="13"/>
                  </a:cubicBezTo>
                  <a:cubicBezTo>
                    <a:pt x="129" y="13"/>
                    <a:pt x="127" y="12"/>
                    <a:pt x="126" y="11"/>
                  </a:cubicBezTo>
                  <a:cubicBezTo>
                    <a:pt x="126" y="11"/>
                    <a:pt x="125" y="9"/>
                    <a:pt x="125" y="7"/>
                  </a:cubicBezTo>
                  <a:cubicBezTo>
                    <a:pt x="125" y="4"/>
                    <a:pt x="126" y="3"/>
                    <a:pt x="126" y="2"/>
                  </a:cubicBezTo>
                  <a:cubicBezTo>
                    <a:pt x="127" y="1"/>
                    <a:pt x="129" y="0"/>
                    <a:pt x="132" y="0"/>
                  </a:cubicBezTo>
                  <a:cubicBezTo>
                    <a:pt x="134" y="0"/>
                    <a:pt x="136" y="1"/>
                    <a:pt x="136" y="2"/>
                  </a:cubicBezTo>
                  <a:cubicBezTo>
                    <a:pt x="137" y="3"/>
                    <a:pt x="138" y="4"/>
                    <a:pt x="138" y="7"/>
                  </a:cubicBezTo>
                  <a:close/>
                  <a:moveTo>
                    <a:pt x="194" y="66"/>
                  </a:moveTo>
                  <a:cubicBezTo>
                    <a:pt x="194" y="69"/>
                    <a:pt x="193" y="72"/>
                    <a:pt x="192" y="74"/>
                  </a:cubicBezTo>
                  <a:cubicBezTo>
                    <a:pt x="191" y="76"/>
                    <a:pt x="189" y="78"/>
                    <a:pt x="188" y="80"/>
                  </a:cubicBezTo>
                  <a:cubicBezTo>
                    <a:pt x="186" y="81"/>
                    <a:pt x="183" y="83"/>
                    <a:pt x="181" y="83"/>
                  </a:cubicBezTo>
                  <a:cubicBezTo>
                    <a:pt x="178" y="84"/>
                    <a:pt x="175" y="85"/>
                    <a:pt x="172" y="85"/>
                  </a:cubicBezTo>
                  <a:cubicBezTo>
                    <a:pt x="170" y="85"/>
                    <a:pt x="168" y="84"/>
                    <a:pt x="166" y="84"/>
                  </a:cubicBezTo>
                  <a:cubicBezTo>
                    <a:pt x="164" y="84"/>
                    <a:pt x="162" y="83"/>
                    <a:pt x="161" y="83"/>
                  </a:cubicBezTo>
                  <a:cubicBezTo>
                    <a:pt x="160" y="82"/>
                    <a:pt x="158" y="82"/>
                    <a:pt x="157" y="81"/>
                  </a:cubicBezTo>
                  <a:cubicBezTo>
                    <a:pt x="156" y="81"/>
                    <a:pt x="156" y="80"/>
                    <a:pt x="155" y="80"/>
                  </a:cubicBezTo>
                  <a:cubicBezTo>
                    <a:pt x="155" y="80"/>
                    <a:pt x="154" y="79"/>
                    <a:pt x="154" y="78"/>
                  </a:cubicBezTo>
                  <a:cubicBezTo>
                    <a:pt x="154" y="77"/>
                    <a:pt x="154" y="76"/>
                    <a:pt x="154" y="75"/>
                  </a:cubicBezTo>
                  <a:cubicBezTo>
                    <a:pt x="154" y="74"/>
                    <a:pt x="154" y="74"/>
                    <a:pt x="154" y="73"/>
                  </a:cubicBezTo>
                  <a:cubicBezTo>
                    <a:pt x="154" y="73"/>
                    <a:pt x="154" y="72"/>
                    <a:pt x="154" y="72"/>
                  </a:cubicBezTo>
                  <a:cubicBezTo>
                    <a:pt x="154" y="72"/>
                    <a:pt x="155" y="71"/>
                    <a:pt x="155" y="71"/>
                  </a:cubicBezTo>
                  <a:cubicBezTo>
                    <a:pt x="155" y="71"/>
                    <a:pt x="155" y="71"/>
                    <a:pt x="156" y="71"/>
                  </a:cubicBezTo>
                  <a:cubicBezTo>
                    <a:pt x="156" y="71"/>
                    <a:pt x="157" y="71"/>
                    <a:pt x="158" y="72"/>
                  </a:cubicBezTo>
                  <a:cubicBezTo>
                    <a:pt x="158" y="72"/>
                    <a:pt x="160" y="73"/>
                    <a:pt x="161" y="74"/>
                  </a:cubicBezTo>
                  <a:cubicBezTo>
                    <a:pt x="162" y="74"/>
                    <a:pt x="164" y="75"/>
                    <a:pt x="166" y="75"/>
                  </a:cubicBezTo>
                  <a:cubicBezTo>
                    <a:pt x="167" y="76"/>
                    <a:pt x="169" y="76"/>
                    <a:pt x="172" y="76"/>
                  </a:cubicBezTo>
                  <a:cubicBezTo>
                    <a:pt x="174" y="76"/>
                    <a:pt x="175" y="76"/>
                    <a:pt x="177" y="76"/>
                  </a:cubicBezTo>
                  <a:cubicBezTo>
                    <a:pt x="178" y="75"/>
                    <a:pt x="179" y="75"/>
                    <a:pt x="180" y="74"/>
                  </a:cubicBezTo>
                  <a:cubicBezTo>
                    <a:pt x="181" y="73"/>
                    <a:pt x="182" y="72"/>
                    <a:pt x="183" y="71"/>
                  </a:cubicBezTo>
                  <a:cubicBezTo>
                    <a:pt x="183" y="70"/>
                    <a:pt x="183" y="69"/>
                    <a:pt x="183" y="67"/>
                  </a:cubicBezTo>
                  <a:cubicBezTo>
                    <a:pt x="183" y="66"/>
                    <a:pt x="183" y="64"/>
                    <a:pt x="182" y="63"/>
                  </a:cubicBezTo>
                  <a:cubicBezTo>
                    <a:pt x="181" y="62"/>
                    <a:pt x="180" y="61"/>
                    <a:pt x="179" y="60"/>
                  </a:cubicBezTo>
                  <a:cubicBezTo>
                    <a:pt x="178" y="60"/>
                    <a:pt x="176" y="59"/>
                    <a:pt x="175" y="58"/>
                  </a:cubicBezTo>
                  <a:cubicBezTo>
                    <a:pt x="173" y="58"/>
                    <a:pt x="171" y="57"/>
                    <a:pt x="169" y="56"/>
                  </a:cubicBezTo>
                  <a:cubicBezTo>
                    <a:pt x="168" y="55"/>
                    <a:pt x="166" y="55"/>
                    <a:pt x="164" y="54"/>
                  </a:cubicBezTo>
                  <a:cubicBezTo>
                    <a:pt x="162" y="53"/>
                    <a:pt x="161" y="52"/>
                    <a:pt x="160" y="50"/>
                  </a:cubicBezTo>
                  <a:cubicBezTo>
                    <a:pt x="158" y="49"/>
                    <a:pt x="157" y="48"/>
                    <a:pt x="156" y="46"/>
                  </a:cubicBezTo>
                  <a:cubicBezTo>
                    <a:pt x="156" y="44"/>
                    <a:pt x="155" y="42"/>
                    <a:pt x="155" y="39"/>
                  </a:cubicBezTo>
                  <a:cubicBezTo>
                    <a:pt x="155" y="37"/>
                    <a:pt x="156" y="35"/>
                    <a:pt x="156" y="33"/>
                  </a:cubicBezTo>
                  <a:cubicBezTo>
                    <a:pt x="157" y="31"/>
                    <a:pt x="159" y="29"/>
                    <a:pt x="160" y="28"/>
                  </a:cubicBezTo>
                  <a:cubicBezTo>
                    <a:pt x="162" y="26"/>
                    <a:pt x="164" y="25"/>
                    <a:pt x="167" y="24"/>
                  </a:cubicBezTo>
                  <a:cubicBezTo>
                    <a:pt x="169" y="23"/>
                    <a:pt x="172" y="23"/>
                    <a:pt x="176" y="23"/>
                  </a:cubicBezTo>
                  <a:cubicBezTo>
                    <a:pt x="177" y="23"/>
                    <a:pt x="179" y="23"/>
                    <a:pt x="180" y="23"/>
                  </a:cubicBezTo>
                  <a:cubicBezTo>
                    <a:pt x="182" y="23"/>
                    <a:pt x="183" y="24"/>
                    <a:pt x="184" y="24"/>
                  </a:cubicBezTo>
                  <a:cubicBezTo>
                    <a:pt x="185" y="24"/>
                    <a:pt x="186" y="25"/>
                    <a:pt x="187" y="25"/>
                  </a:cubicBezTo>
                  <a:cubicBezTo>
                    <a:pt x="188" y="26"/>
                    <a:pt x="189" y="26"/>
                    <a:pt x="189" y="26"/>
                  </a:cubicBezTo>
                  <a:cubicBezTo>
                    <a:pt x="190" y="27"/>
                    <a:pt x="190" y="27"/>
                    <a:pt x="190" y="27"/>
                  </a:cubicBezTo>
                  <a:cubicBezTo>
                    <a:pt x="190" y="28"/>
                    <a:pt x="190" y="28"/>
                    <a:pt x="190" y="28"/>
                  </a:cubicBezTo>
                  <a:cubicBezTo>
                    <a:pt x="191" y="28"/>
                    <a:pt x="191" y="29"/>
                    <a:pt x="191" y="29"/>
                  </a:cubicBezTo>
                  <a:cubicBezTo>
                    <a:pt x="191" y="30"/>
                    <a:pt x="191" y="30"/>
                    <a:pt x="191" y="31"/>
                  </a:cubicBezTo>
                  <a:cubicBezTo>
                    <a:pt x="191" y="32"/>
                    <a:pt x="191" y="32"/>
                    <a:pt x="191" y="33"/>
                  </a:cubicBezTo>
                  <a:cubicBezTo>
                    <a:pt x="191" y="33"/>
                    <a:pt x="190" y="34"/>
                    <a:pt x="190" y="34"/>
                  </a:cubicBezTo>
                  <a:cubicBezTo>
                    <a:pt x="190" y="34"/>
                    <a:pt x="190" y="35"/>
                    <a:pt x="190" y="35"/>
                  </a:cubicBezTo>
                  <a:cubicBezTo>
                    <a:pt x="190" y="35"/>
                    <a:pt x="189" y="35"/>
                    <a:pt x="189" y="35"/>
                  </a:cubicBezTo>
                  <a:cubicBezTo>
                    <a:pt x="189" y="35"/>
                    <a:pt x="188" y="35"/>
                    <a:pt x="188" y="34"/>
                  </a:cubicBezTo>
                  <a:cubicBezTo>
                    <a:pt x="187" y="34"/>
                    <a:pt x="186" y="33"/>
                    <a:pt x="185" y="33"/>
                  </a:cubicBezTo>
                  <a:cubicBezTo>
                    <a:pt x="184" y="32"/>
                    <a:pt x="182" y="32"/>
                    <a:pt x="181" y="31"/>
                  </a:cubicBezTo>
                  <a:cubicBezTo>
                    <a:pt x="179" y="31"/>
                    <a:pt x="178" y="31"/>
                    <a:pt x="176" y="31"/>
                  </a:cubicBezTo>
                  <a:cubicBezTo>
                    <a:pt x="174" y="31"/>
                    <a:pt x="172" y="31"/>
                    <a:pt x="171" y="31"/>
                  </a:cubicBezTo>
                  <a:cubicBezTo>
                    <a:pt x="170" y="32"/>
                    <a:pt x="169" y="32"/>
                    <a:pt x="168" y="33"/>
                  </a:cubicBezTo>
                  <a:cubicBezTo>
                    <a:pt x="167" y="34"/>
                    <a:pt x="166" y="35"/>
                    <a:pt x="166" y="36"/>
                  </a:cubicBezTo>
                  <a:cubicBezTo>
                    <a:pt x="165" y="37"/>
                    <a:pt x="165" y="38"/>
                    <a:pt x="165" y="39"/>
                  </a:cubicBezTo>
                  <a:cubicBezTo>
                    <a:pt x="165" y="40"/>
                    <a:pt x="165" y="42"/>
                    <a:pt x="166" y="43"/>
                  </a:cubicBezTo>
                  <a:cubicBezTo>
                    <a:pt x="167" y="44"/>
                    <a:pt x="168" y="45"/>
                    <a:pt x="170" y="46"/>
                  </a:cubicBezTo>
                  <a:cubicBezTo>
                    <a:pt x="171" y="47"/>
                    <a:pt x="172" y="47"/>
                    <a:pt x="174" y="48"/>
                  </a:cubicBezTo>
                  <a:cubicBezTo>
                    <a:pt x="176" y="49"/>
                    <a:pt x="178" y="49"/>
                    <a:pt x="179" y="50"/>
                  </a:cubicBezTo>
                  <a:cubicBezTo>
                    <a:pt x="181" y="51"/>
                    <a:pt x="183" y="52"/>
                    <a:pt x="185" y="53"/>
                  </a:cubicBezTo>
                  <a:cubicBezTo>
                    <a:pt x="186" y="53"/>
                    <a:pt x="188" y="54"/>
                    <a:pt x="189" y="56"/>
                  </a:cubicBezTo>
                  <a:cubicBezTo>
                    <a:pt x="191" y="57"/>
                    <a:pt x="192" y="58"/>
                    <a:pt x="192" y="60"/>
                  </a:cubicBezTo>
                  <a:cubicBezTo>
                    <a:pt x="193" y="62"/>
                    <a:pt x="194" y="64"/>
                    <a:pt x="194" y="66"/>
                  </a:cubicBezTo>
                  <a:close/>
                  <a:moveTo>
                    <a:pt x="254" y="51"/>
                  </a:moveTo>
                  <a:cubicBezTo>
                    <a:pt x="254" y="53"/>
                    <a:pt x="254" y="54"/>
                    <a:pt x="253" y="55"/>
                  </a:cubicBezTo>
                  <a:cubicBezTo>
                    <a:pt x="252" y="55"/>
                    <a:pt x="251" y="56"/>
                    <a:pt x="250" y="56"/>
                  </a:cubicBezTo>
                  <a:lnTo>
                    <a:pt x="213" y="56"/>
                  </a:lnTo>
                  <a:cubicBezTo>
                    <a:pt x="213" y="59"/>
                    <a:pt x="214" y="62"/>
                    <a:pt x="214" y="64"/>
                  </a:cubicBezTo>
                  <a:cubicBezTo>
                    <a:pt x="215" y="67"/>
                    <a:pt x="216" y="69"/>
                    <a:pt x="217" y="71"/>
                  </a:cubicBezTo>
                  <a:cubicBezTo>
                    <a:pt x="219" y="72"/>
                    <a:pt x="221" y="74"/>
                    <a:pt x="223" y="75"/>
                  </a:cubicBezTo>
                  <a:cubicBezTo>
                    <a:pt x="225" y="76"/>
                    <a:pt x="228" y="76"/>
                    <a:pt x="232" y="76"/>
                  </a:cubicBezTo>
                  <a:cubicBezTo>
                    <a:pt x="234" y="76"/>
                    <a:pt x="237" y="76"/>
                    <a:pt x="239" y="75"/>
                  </a:cubicBezTo>
                  <a:cubicBezTo>
                    <a:pt x="241" y="75"/>
                    <a:pt x="243" y="75"/>
                    <a:pt x="244" y="74"/>
                  </a:cubicBezTo>
                  <a:cubicBezTo>
                    <a:pt x="246" y="73"/>
                    <a:pt x="247" y="73"/>
                    <a:pt x="248" y="73"/>
                  </a:cubicBezTo>
                  <a:cubicBezTo>
                    <a:pt x="249" y="72"/>
                    <a:pt x="250" y="72"/>
                    <a:pt x="250" y="72"/>
                  </a:cubicBezTo>
                  <a:cubicBezTo>
                    <a:pt x="251" y="72"/>
                    <a:pt x="251" y="72"/>
                    <a:pt x="251" y="72"/>
                  </a:cubicBezTo>
                  <a:cubicBezTo>
                    <a:pt x="251" y="72"/>
                    <a:pt x="251" y="72"/>
                    <a:pt x="252" y="73"/>
                  </a:cubicBezTo>
                  <a:cubicBezTo>
                    <a:pt x="252" y="73"/>
                    <a:pt x="252" y="73"/>
                    <a:pt x="252" y="74"/>
                  </a:cubicBezTo>
                  <a:cubicBezTo>
                    <a:pt x="252" y="75"/>
                    <a:pt x="252" y="75"/>
                    <a:pt x="252" y="76"/>
                  </a:cubicBezTo>
                  <a:cubicBezTo>
                    <a:pt x="252" y="76"/>
                    <a:pt x="252" y="77"/>
                    <a:pt x="252" y="77"/>
                  </a:cubicBezTo>
                  <a:cubicBezTo>
                    <a:pt x="252" y="78"/>
                    <a:pt x="252" y="78"/>
                    <a:pt x="252" y="78"/>
                  </a:cubicBezTo>
                  <a:cubicBezTo>
                    <a:pt x="252" y="79"/>
                    <a:pt x="252" y="79"/>
                    <a:pt x="251" y="79"/>
                  </a:cubicBezTo>
                  <a:cubicBezTo>
                    <a:pt x="251" y="79"/>
                    <a:pt x="251" y="80"/>
                    <a:pt x="251" y="80"/>
                  </a:cubicBezTo>
                  <a:cubicBezTo>
                    <a:pt x="251" y="80"/>
                    <a:pt x="250" y="81"/>
                    <a:pt x="249" y="81"/>
                  </a:cubicBezTo>
                  <a:cubicBezTo>
                    <a:pt x="248" y="82"/>
                    <a:pt x="246" y="82"/>
                    <a:pt x="244" y="83"/>
                  </a:cubicBezTo>
                  <a:cubicBezTo>
                    <a:pt x="243" y="83"/>
                    <a:pt x="241" y="84"/>
                    <a:pt x="238" y="84"/>
                  </a:cubicBezTo>
                  <a:cubicBezTo>
                    <a:pt x="236" y="84"/>
                    <a:pt x="233" y="85"/>
                    <a:pt x="231" y="85"/>
                  </a:cubicBezTo>
                  <a:cubicBezTo>
                    <a:pt x="226" y="85"/>
                    <a:pt x="222" y="84"/>
                    <a:pt x="219" y="83"/>
                  </a:cubicBezTo>
                  <a:cubicBezTo>
                    <a:pt x="215" y="81"/>
                    <a:pt x="212" y="79"/>
                    <a:pt x="210" y="77"/>
                  </a:cubicBezTo>
                  <a:cubicBezTo>
                    <a:pt x="207" y="74"/>
                    <a:pt x="206" y="71"/>
                    <a:pt x="204" y="67"/>
                  </a:cubicBezTo>
                  <a:cubicBezTo>
                    <a:pt x="203" y="63"/>
                    <a:pt x="203" y="59"/>
                    <a:pt x="203" y="54"/>
                  </a:cubicBezTo>
                  <a:cubicBezTo>
                    <a:pt x="203" y="49"/>
                    <a:pt x="203" y="45"/>
                    <a:pt x="204" y="41"/>
                  </a:cubicBezTo>
                  <a:cubicBezTo>
                    <a:pt x="206" y="37"/>
                    <a:pt x="207" y="34"/>
                    <a:pt x="210" y="31"/>
                  </a:cubicBezTo>
                  <a:cubicBezTo>
                    <a:pt x="212" y="28"/>
                    <a:pt x="215" y="26"/>
                    <a:pt x="218" y="25"/>
                  </a:cubicBezTo>
                  <a:cubicBezTo>
                    <a:pt x="222" y="23"/>
                    <a:pt x="225" y="23"/>
                    <a:pt x="230" y="23"/>
                  </a:cubicBezTo>
                  <a:cubicBezTo>
                    <a:pt x="234" y="23"/>
                    <a:pt x="238" y="23"/>
                    <a:pt x="241" y="25"/>
                  </a:cubicBezTo>
                  <a:cubicBezTo>
                    <a:pt x="244" y="26"/>
                    <a:pt x="247" y="28"/>
                    <a:pt x="249" y="31"/>
                  </a:cubicBezTo>
                  <a:cubicBezTo>
                    <a:pt x="251" y="33"/>
                    <a:pt x="252" y="36"/>
                    <a:pt x="253" y="39"/>
                  </a:cubicBezTo>
                  <a:cubicBezTo>
                    <a:pt x="254" y="42"/>
                    <a:pt x="254" y="46"/>
                    <a:pt x="254" y="49"/>
                  </a:cubicBezTo>
                  <a:lnTo>
                    <a:pt x="254" y="51"/>
                  </a:lnTo>
                  <a:close/>
                  <a:moveTo>
                    <a:pt x="244" y="48"/>
                  </a:moveTo>
                  <a:cubicBezTo>
                    <a:pt x="244" y="43"/>
                    <a:pt x="243" y="38"/>
                    <a:pt x="240" y="35"/>
                  </a:cubicBezTo>
                  <a:cubicBezTo>
                    <a:pt x="238" y="32"/>
                    <a:pt x="234" y="31"/>
                    <a:pt x="229" y="31"/>
                  </a:cubicBezTo>
                  <a:cubicBezTo>
                    <a:pt x="226" y="31"/>
                    <a:pt x="224" y="31"/>
                    <a:pt x="222" y="32"/>
                  </a:cubicBezTo>
                  <a:cubicBezTo>
                    <a:pt x="220" y="33"/>
                    <a:pt x="219" y="34"/>
                    <a:pt x="217" y="36"/>
                  </a:cubicBezTo>
                  <a:cubicBezTo>
                    <a:pt x="216" y="38"/>
                    <a:pt x="215" y="39"/>
                    <a:pt x="214" y="42"/>
                  </a:cubicBezTo>
                  <a:cubicBezTo>
                    <a:pt x="214" y="44"/>
                    <a:pt x="213" y="46"/>
                    <a:pt x="213" y="48"/>
                  </a:cubicBezTo>
                  <a:lnTo>
                    <a:pt x="244" y="48"/>
                  </a:lnTo>
                  <a:close/>
                  <a:moveTo>
                    <a:pt x="353" y="26"/>
                  </a:moveTo>
                  <a:cubicBezTo>
                    <a:pt x="353" y="30"/>
                    <a:pt x="353" y="34"/>
                    <a:pt x="351" y="37"/>
                  </a:cubicBezTo>
                  <a:cubicBezTo>
                    <a:pt x="350" y="40"/>
                    <a:pt x="348" y="43"/>
                    <a:pt x="345" y="45"/>
                  </a:cubicBezTo>
                  <a:cubicBezTo>
                    <a:pt x="343" y="48"/>
                    <a:pt x="340" y="49"/>
                    <a:pt x="336" y="51"/>
                  </a:cubicBezTo>
                  <a:cubicBezTo>
                    <a:pt x="333" y="52"/>
                    <a:pt x="328" y="53"/>
                    <a:pt x="323" y="53"/>
                  </a:cubicBezTo>
                  <a:lnTo>
                    <a:pt x="314" y="53"/>
                  </a:lnTo>
                  <a:lnTo>
                    <a:pt x="314" y="82"/>
                  </a:lnTo>
                  <a:cubicBezTo>
                    <a:pt x="314" y="82"/>
                    <a:pt x="314" y="82"/>
                    <a:pt x="314" y="83"/>
                  </a:cubicBezTo>
                  <a:cubicBezTo>
                    <a:pt x="314" y="83"/>
                    <a:pt x="313" y="83"/>
                    <a:pt x="313" y="83"/>
                  </a:cubicBezTo>
                  <a:cubicBezTo>
                    <a:pt x="313" y="83"/>
                    <a:pt x="312" y="83"/>
                    <a:pt x="311" y="84"/>
                  </a:cubicBezTo>
                  <a:cubicBezTo>
                    <a:pt x="311" y="84"/>
                    <a:pt x="310" y="84"/>
                    <a:pt x="309" y="84"/>
                  </a:cubicBezTo>
                  <a:cubicBezTo>
                    <a:pt x="308" y="84"/>
                    <a:pt x="307" y="84"/>
                    <a:pt x="306" y="84"/>
                  </a:cubicBezTo>
                  <a:cubicBezTo>
                    <a:pt x="306" y="83"/>
                    <a:pt x="305" y="83"/>
                    <a:pt x="305" y="83"/>
                  </a:cubicBezTo>
                  <a:cubicBezTo>
                    <a:pt x="304" y="83"/>
                    <a:pt x="304" y="83"/>
                    <a:pt x="304" y="83"/>
                  </a:cubicBezTo>
                  <a:cubicBezTo>
                    <a:pt x="304" y="82"/>
                    <a:pt x="304" y="82"/>
                    <a:pt x="304" y="82"/>
                  </a:cubicBezTo>
                  <a:lnTo>
                    <a:pt x="304" y="7"/>
                  </a:lnTo>
                  <a:cubicBezTo>
                    <a:pt x="304" y="5"/>
                    <a:pt x="304" y="4"/>
                    <a:pt x="305" y="4"/>
                  </a:cubicBezTo>
                  <a:cubicBezTo>
                    <a:pt x="306" y="3"/>
                    <a:pt x="307" y="2"/>
                    <a:pt x="308" y="2"/>
                  </a:cubicBezTo>
                  <a:lnTo>
                    <a:pt x="325" y="2"/>
                  </a:lnTo>
                  <a:cubicBezTo>
                    <a:pt x="327" y="2"/>
                    <a:pt x="328" y="3"/>
                    <a:pt x="330" y="3"/>
                  </a:cubicBezTo>
                  <a:cubicBezTo>
                    <a:pt x="332" y="3"/>
                    <a:pt x="334" y="3"/>
                    <a:pt x="336" y="4"/>
                  </a:cubicBezTo>
                  <a:cubicBezTo>
                    <a:pt x="338" y="4"/>
                    <a:pt x="340" y="5"/>
                    <a:pt x="342" y="6"/>
                  </a:cubicBezTo>
                  <a:cubicBezTo>
                    <a:pt x="345" y="8"/>
                    <a:pt x="347" y="9"/>
                    <a:pt x="348" y="11"/>
                  </a:cubicBezTo>
                  <a:cubicBezTo>
                    <a:pt x="350" y="13"/>
                    <a:pt x="351" y="15"/>
                    <a:pt x="352" y="18"/>
                  </a:cubicBezTo>
                  <a:cubicBezTo>
                    <a:pt x="353" y="20"/>
                    <a:pt x="353" y="23"/>
                    <a:pt x="353" y="26"/>
                  </a:cubicBezTo>
                  <a:close/>
                  <a:moveTo>
                    <a:pt x="342" y="27"/>
                  </a:moveTo>
                  <a:cubicBezTo>
                    <a:pt x="342" y="24"/>
                    <a:pt x="341" y="21"/>
                    <a:pt x="340" y="19"/>
                  </a:cubicBezTo>
                  <a:cubicBezTo>
                    <a:pt x="339" y="17"/>
                    <a:pt x="337" y="15"/>
                    <a:pt x="335" y="14"/>
                  </a:cubicBezTo>
                  <a:cubicBezTo>
                    <a:pt x="334" y="13"/>
                    <a:pt x="332" y="12"/>
                    <a:pt x="330" y="12"/>
                  </a:cubicBezTo>
                  <a:cubicBezTo>
                    <a:pt x="328" y="11"/>
                    <a:pt x="326" y="11"/>
                    <a:pt x="324" y="11"/>
                  </a:cubicBezTo>
                  <a:lnTo>
                    <a:pt x="314" y="11"/>
                  </a:lnTo>
                  <a:lnTo>
                    <a:pt x="314" y="44"/>
                  </a:lnTo>
                  <a:lnTo>
                    <a:pt x="324" y="44"/>
                  </a:lnTo>
                  <a:cubicBezTo>
                    <a:pt x="327" y="44"/>
                    <a:pt x="330" y="43"/>
                    <a:pt x="332" y="43"/>
                  </a:cubicBezTo>
                  <a:cubicBezTo>
                    <a:pt x="334" y="42"/>
                    <a:pt x="336" y="41"/>
                    <a:pt x="337" y="39"/>
                  </a:cubicBezTo>
                  <a:cubicBezTo>
                    <a:pt x="339" y="38"/>
                    <a:pt x="340" y="36"/>
                    <a:pt x="341" y="34"/>
                  </a:cubicBezTo>
                  <a:cubicBezTo>
                    <a:pt x="342" y="32"/>
                    <a:pt x="342" y="29"/>
                    <a:pt x="342" y="27"/>
                  </a:cubicBezTo>
                  <a:close/>
                  <a:moveTo>
                    <a:pt x="399" y="29"/>
                  </a:moveTo>
                  <a:cubicBezTo>
                    <a:pt x="399" y="30"/>
                    <a:pt x="399" y="31"/>
                    <a:pt x="399" y="32"/>
                  </a:cubicBezTo>
                  <a:cubicBezTo>
                    <a:pt x="399" y="32"/>
                    <a:pt x="399" y="33"/>
                    <a:pt x="399" y="33"/>
                  </a:cubicBezTo>
                  <a:cubicBezTo>
                    <a:pt x="399" y="33"/>
                    <a:pt x="399" y="34"/>
                    <a:pt x="398" y="34"/>
                  </a:cubicBezTo>
                  <a:cubicBezTo>
                    <a:pt x="398" y="34"/>
                    <a:pt x="398" y="34"/>
                    <a:pt x="398" y="34"/>
                  </a:cubicBezTo>
                  <a:cubicBezTo>
                    <a:pt x="397" y="34"/>
                    <a:pt x="397" y="34"/>
                    <a:pt x="396" y="34"/>
                  </a:cubicBezTo>
                  <a:cubicBezTo>
                    <a:pt x="396" y="34"/>
                    <a:pt x="395" y="33"/>
                    <a:pt x="395" y="33"/>
                  </a:cubicBezTo>
                  <a:cubicBezTo>
                    <a:pt x="394" y="33"/>
                    <a:pt x="394" y="33"/>
                    <a:pt x="393" y="33"/>
                  </a:cubicBezTo>
                  <a:cubicBezTo>
                    <a:pt x="392" y="33"/>
                    <a:pt x="391" y="32"/>
                    <a:pt x="390" y="32"/>
                  </a:cubicBezTo>
                  <a:cubicBezTo>
                    <a:pt x="389" y="32"/>
                    <a:pt x="388" y="33"/>
                    <a:pt x="387" y="33"/>
                  </a:cubicBezTo>
                  <a:cubicBezTo>
                    <a:pt x="386" y="34"/>
                    <a:pt x="385" y="34"/>
                    <a:pt x="384" y="35"/>
                  </a:cubicBezTo>
                  <a:cubicBezTo>
                    <a:pt x="383" y="36"/>
                    <a:pt x="382" y="37"/>
                    <a:pt x="381" y="39"/>
                  </a:cubicBezTo>
                  <a:cubicBezTo>
                    <a:pt x="379" y="41"/>
                    <a:pt x="378" y="42"/>
                    <a:pt x="377" y="45"/>
                  </a:cubicBezTo>
                  <a:lnTo>
                    <a:pt x="377" y="82"/>
                  </a:lnTo>
                  <a:cubicBezTo>
                    <a:pt x="377" y="82"/>
                    <a:pt x="377" y="82"/>
                    <a:pt x="376" y="83"/>
                  </a:cubicBezTo>
                  <a:cubicBezTo>
                    <a:pt x="376" y="83"/>
                    <a:pt x="376" y="83"/>
                    <a:pt x="376" y="83"/>
                  </a:cubicBezTo>
                  <a:cubicBezTo>
                    <a:pt x="375" y="83"/>
                    <a:pt x="375" y="84"/>
                    <a:pt x="374" y="84"/>
                  </a:cubicBezTo>
                  <a:cubicBezTo>
                    <a:pt x="373" y="84"/>
                    <a:pt x="372" y="84"/>
                    <a:pt x="371" y="84"/>
                  </a:cubicBezTo>
                  <a:cubicBezTo>
                    <a:pt x="370" y="84"/>
                    <a:pt x="370" y="84"/>
                    <a:pt x="369" y="84"/>
                  </a:cubicBezTo>
                  <a:cubicBezTo>
                    <a:pt x="368" y="84"/>
                    <a:pt x="368" y="83"/>
                    <a:pt x="367" y="83"/>
                  </a:cubicBezTo>
                  <a:cubicBezTo>
                    <a:pt x="367" y="83"/>
                    <a:pt x="367" y="83"/>
                    <a:pt x="367" y="83"/>
                  </a:cubicBezTo>
                  <a:cubicBezTo>
                    <a:pt x="366" y="82"/>
                    <a:pt x="366" y="82"/>
                    <a:pt x="366" y="82"/>
                  </a:cubicBezTo>
                  <a:lnTo>
                    <a:pt x="366" y="26"/>
                  </a:lnTo>
                  <a:cubicBezTo>
                    <a:pt x="366" y="25"/>
                    <a:pt x="366" y="25"/>
                    <a:pt x="367" y="25"/>
                  </a:cubicBezTo>
                  <a:cubicBezTo>
                    <a:pt x="367" y="24"/>
                    <a:pt x="367" y="24"/>
                    <a:pt x="367" y="24"/>
                  </a:cubicBezTo>
                  <a:cubicBezTo>
                    <a:pt x="368" y="24"/>
                    <a:pt x="368" y="24"/>
                    <a:pt x="369" y="24"/>
                  </a:cubicBezTo>
                  <a:cubicBezTo>
                    <a:pt x="369" y="24"/>
                    <a:pt x="370" y="24"/>
                    <a:pt x="371" y="24"/>
                  </a:cubicBezTo>
                  <a:cubicBezTo>
                    <a:pt x="372" y="24"/>
                    <a:pt x="373" y="24"/>
                    <a:pt x="373" y="24"/>
                  </a:cubicBezTo>
                  <a:cubicBezTo>
                    <a:pt x="374" y="24"/>
                    <a:pt x="374" y="24"/>
                    <a:pt x="375" y="24"/>
                  </a:cubicBezTo>
                  <a:cubicBezTo>
                    <a:pt x="375" y="24"/>
                    <a:pt x="375" y="24"/>
                    <a:pt x="375" y="25"/>
                  </a:cubicBezTo>
                  <a:cubicBezTo>
                    <a:pt x="376" y="25"/>
                    <a:pt x="376" y="25"/>
                    <a:pt x="376" y="26"/>
                  </a:cubicBezTo>
                  <a:lnTo>
                    <a:pt x="376" y="34"/>
                  </a:lnTo>
                  <a:cubicBezTo>
                    <a:pt x="377" y="31"/>
                    <a:pt x="379" y="30"/>
                    <a:pt x="380" y="28"/>
                  </a:cubicBezTo>
                  <a:cubicBezTo>
                    <a:pt x="381" y="27"/>
                    <a:pt x="383" y="26"/>
                    <a:pt x="384" y="25"/>
                  </a:cubicBezTo>
                  <a:cubicBezTo>
                    <a:pt x="385" y="24"/>
                    <a:pt x="386" y="23"/>
                    <a:pt x="387" y="23"/>
                  </a:cubicBezTo>
                  <a:cubicBezTo>
                    <a:pt x="389" y="23"/>
                    <a:pt x="390" y="23"/>
                    <a:pt x="391" y="23"/>
                  </a:cubicBezTo>
                  <a:cubicBezTo>
                    <a:pt x="392" y="23"/>
                    <a:pt x="392" y="23"/>
                    <a:pt x="393" y="23"/>
                  </a:cubicBezTo>
                  <a:cubicBezTo>
                    <a:pt x="394" y="23"/>
                    <a:pt x="394" y="23"/>
                    <a:pt x="395" y="23"/>
                  </a:cubicBezTo>
                  <a:cubicBezTo>
                    <a:pt x="396" y="23"/>
                    <a:pt x="396" y="24"/>
                    <a:pt x="397" y="24"/>
                  </a:cubicBezTo>
                  <a:cubicBezTo>
                    <a:pt x="398" y="24"/>
                    <a:pt x="398" y="24"/>
                    <a:pt x="398" y="24"/>
                  </a:cubicBezTo>
                  <a:cubicBezTo>
                    <a:pt x="399" y="25"/>
                    <a:pt x="399" y="25"/>
                    <a:pt x="399" y="25"/>
                  </a:cubicBezTo>
                  <a:cubicBezTo>
                    <a:pt x="399" y="25"/>
                    <a:pt x="399" y="25"/>
                    <a:pt x="399" y="26"/>
                  </a:cubicBezTo>
                  <a:cubicBezTo>
                    <a:pt x="399" y="26"/>
                    <a:pt x="399" y="26"/>
                    <a:pt x="399" y="27"/>
                  </a:cubicBezTo>
                  <a:cubicBezTo>
                    <a:pt x="399" y="27"/>
                    <a:pt x="399" y="28"/>
                    <a:pt x="399" y="29"/>
                  </a:cubicBezTo>
                  <a:close/>
                  <a:moveTo>
                    <a:pt x="425" y="82"/>
                  </a:moveTo>
                  <a:cubicBezTo>
                    <a:pt x="425" y="82"/>
                    <a:pt x="425" y="82"/>
                    <a:pt x="424" y="83"/>
                  </a:cubicBezTo>
                  <a:cubicBezTo>
                    <a:pt x="424" y="83"/>
                    <a:pt x="424" y="83"/>
                    <a:pt x="424" y="83"/>
                  </a:cubicBezTo>
                  <a:cubicBezTo>
                    <a:pt x="423" y="83"/>
                    <a:pt x="423" y="84"/>
                    <a:pt x="422" y="84"/>
                  </a:cubicBezTo>
                  <a:cubicBezTo>
                    <a:pt x="421" y="84"/>
                    <a:pt x="420" y="84"/>
                    <a:pt x="419" y="84"/>
                  </a:cubicBezTo>
                  <a:cubicBezTo>
                    <a:pt x="418" y="84"/>
                    <a:pt x="418" y="84"/>
                    <a:pt x="417" y="84"/>
                  </a:cubicBezTo>
                  <a:cubicBezTo>
                    <a:pt x="416" y="84"/>
                    <a:pt x="416" y="83"/>
                    <a:pt x="415" y="83"/>
                  </a:cubicBezTo>
                  <a:cubicBezTo>
                    <a:pt x="415" y="83"/>
                    <a:pt x="415" y="83"/>
                    <a:pt x="415" y="83"/>
                  </a:cubicBezTo>
                  <a:cubicBezTo>
                    <a:pt x="414" y="82"/>
                    <a:pt x="414" y="82"/>
                    <a:pt x="414" y="82"/>
                  </a:cubicBezTo>
                  <a:lnTo>
                    <a:pt x="414" y="26"/>
                  </a:lnTo>
                  <a:cubicBezTo>
                    <a:pt x="414" y="25"/>
                    <a:pt x="414" y="25"/>
                    <a:pt x="415" y="25"/>
                  </a:cubicBezTo>
                  <a:cubicBezTo>
                    <a:pt x="415" y="24"/>
                    <a:pt x="415" y="24"/>
                    <a:pt x="415" y="24"/>
                  </a:cubicBezTo>
                  <a:cubicBezTo>
                    <a:pt x="416" y="24"/>
                    <a:pt x="416" y="24"/>
                    <a:pt x="417" y="24"/>
                  </a:cubicBezTo>
                  <a:cubicBezTo>
                    <a:pt x="418" y="24"/>
                    <a:pt x="418" y="24"/>
                    <a:pt x="419" y="24"/>
                  </a:cubicBezTo>
                  <a:cubicBezTo>
                    <a:pt x="420" y="24"/>
                    <a:pt x="421" y="24"/>
                    <a:pt x="422" y="24"/>
                  </a:cubicBezTo>
                  <a:cubicBezTo>
                    <a:pt x="423" y="24"/>
                    <a:pt x="423" y="24"/>
                    <a:pt x="424" y="24"/>
                  </a:cubicBezTo>
                  <a:cubicBezTo>
                    <a:pt x="424" y="24"/>
                    <a:pt x="424" y="24"/>
                    <a:pt x="424" y="25"/>
                  </a:cubicBezTo>
                  <a:cubicBezTo>
                    <a:pt x="425" y="25"/>
                    <a:pt x="425" y="25"/>
                    <a:pt x="425" y="26"/>
                  </a:cubicBezTo>
                  <a:lnTo>
                    <a:pt x="425" y="82"/>
                  </a:lnTo>
                  <a:close/>
                  <a:moveTo>
                    <a:pt x="426" y="7"/>
                  </a:moveTo>
                  <a:cubicBezTo>
                    <a:pt x="426" y="9"/>
                    <a:pt x="425" y="11"/>
                    <a:pt x="424" y="11"/>
                  </a:cubicBezTo>
                  <a:cubicBezTo>
                    <a:pt x="424" y="12"/>
                    <a:pt x="422" y="13"/>
                    <a:pt x="419" y="13"/>
                  </a:cubicBezTo>
                  <a:cubicBezTo>
                    <a:pt x="417" y="13"/>
                    <a:pt x="415" y="12"/>
                    <a:pt x="414" y="11"/>
                  </a:cubicBezTo>
                  <a:cubicBezTo>
                    <a:pt x="414" y="11"/>
                    <a:pt x="413" y="9"/>
                    <a:pt x="413" y="7"/>
                  </a:cubicBezTo>
                  <a:cubicBezTo>
                    <a:pt x="413" y="4"/>
                    <a:pt x="414" y="3"/>
                    <a:pt x="414" y="2"/>
                  </a:cubicBezTo>
                  <a:cubicBezTo>
                    <a:pt x="415" y="1"/>
                    <a:pt x="417" y="0"/>
                    <a:pt x="420" y="0"/>
                  </a:cubicBezTo>
                  <a:cubicBezTo>
                    <a:pt x="422" y="0"/>
                    <a:pt x="424" y="1"/>
                    <a:pt x="424" y="2"/>
                  </a:cubicBezTo>
                  <a:cubicBezTo>
                    <a:pt x="425" y="3"/>
                    <a:pt x="426" y="4"/>
                    <a:pt x="426" y="7"/>
                  </a:cubicBezTo>
                  <a:close/>
                  <a:moveTo>
                    <a:pt x="487" y="73"/>
                  </a:moveTo>
                  <a:cubicBezTo>
                    <a:pt x="487" y="74"/>
                    <a:pt x="487" y="75"/>
                    <a:pt x="487" y="75"/>
                  </a:cubicBezTo>
                  <a:cubicBezTo>
                    <a:pt x="487" y="76"/>
                    <a:pt x="487" y="76"/>
                    <a:pt x="486" y="76"/>
                  </a:cubicBezTo>
                  <a:cubicBezTo>
                    <a:pt x="486" y="77"/>
                    <a:pt x="486" y="77"/>
                    <a:pt x="486" y="77"/>
                  </a:cubicBezTo>
                  <a:cubicBezTo>
                    <a:pt x="486" y="78"/>
                    <a:pt x="486" y="78"/>
                    <a:pt x="485" y="78"/>
                  </a:cubicBezTo>
                  <a:cubicBezTo>
                    <a:pt x="485" y="79"/>
                    <a:pt x="484" y="80"/>
                    <a:pt x="482" y="80"/>
                  </a:cubicBezTo>
                  <a:cubicBezTo>
                    <a:pt x="481" y="81"/>
                    <a:pt x="480" y="82"/>
                    <a:pt x="478" y="82"/>
                  </a:cubicBezTo>
                  <a:cubicBezTo>
                    <a:pt x="477" y="83"/>
                    <a:pt x="475" y="84"/>
                    <a:pt x="473" y="84"/>
                  </a:cubicBezTo>
                  <a:cubicBezTo>
                    <a:pt x="471" y="84"/>
                    <a:pt x="469" y="85"/>
                    <a:pt x="467" y="85"/>
                  </a:cubicBezTo>
                  <a:cubicBezTo>
                    <a:pt x="463" y="85"/>
                    <a:pt x="460" y="84"/>
                    <a:pt x="457" y="83"/>
                  </a:cubicBezTo>
                  <a:cubicBezTo>
                    <a:pt x="454" y="81"/>
                    <a:pt x="451" y="79"/>
                    <a:pt x="449" y="77"/>
                  </a:cubicBezTo>
                  <a:cubicBezTo>
                    <a:pt x="447" y="74"/>
                    <a:pt x="445" y="71"/>
                    <a:pt x="444" y="67"/>
                  </a:cubicBezTo>
                  <a:cubicBezTo>
                    <a:pt x="443" y="64"/>
                    <a:pt x="442" y="59"/>
                    <a:pt x="442" y="54"/>
                  </a:cubicBezTo>
                  <a:cubicBezTo>
                    <a:pt x="442" y="49"/>
                    <a:pt x="443" y="44"/>
                    <a:pt x="444" y="40"/>
                  </a:cubicBezTo>
                  <a:cubicBezTo>
                    <a:pt x="446" y="36"/>
                    <a:pt x="448" y="33"/>
                    <a:pt x="450" y="30"/>
                  </a:cubicBezTo>
                  <a:cubicBezTo>
                    <a:pt x="452" y="28"/>
                    <a:pt x="455" y="26"/>
                    <a:pt x="458" y="25"/>
                  </a:cubicBezTo>
                  <a:cubicBezTo>
                    <a:pt x="461" y="23"/>
                    <a:pt x="465" y="23"/>
                    <a:pt x="469" y="23"/>
                  </a:cubicBezTo>
                  <a:cubicBezTo>
                    <a:pt x="470" y="23"/>
                    <a:pt x="472" y="23"/>
                    <a:pt x="474" y="23"/>
                  </a:cubicBezTo>
                  <a:cubicBezTo>
                    <a:pt x="476" y="24"/>
                    <a:pt x="477" y="24"/>
                    <a:pt x="479" y="25"/>
                  </a:cubicBezTo>
                  <a:cubicBezTo>
                    <a:pt x="480" y="25"/>
                    <a:pt x="481" y="26"/>
                    <a:pt x="482" y="26"/>
                  </a:cubicBezTo>
                  <a:cubicBezTo>
                    <a:pt x="483" y="27"/>
                    <a:pt x="484" y="28"/>
                    <a:pt x="485" y="28"/>
                  </a:cubicBezTo>
                  <a:cubicBezTo>
                    <a:pt x="485" y="29"/>
                    <a:pt x="486" y="29"/>
                    <a:pt x="486" y="29"/>
                  </a:cubicBezTo>
                  <a:cubicBezTo>
                    <a:pt x="486" y="30"/>
                    <a:pt x="486" y="30"/>
                    <a:pt x="486" y="30"/>
                  </a:cubicBezTo>
                  <a:cubicBezTo>
                    <a:pt x="486" y="31"/>
                    <a:pt x="486" y="31"/>
                    <a:pt x="486" y="32"/>
                  </a:cubicBezTo>
                  <a:cubicBezTo>
                    <a:pt x="486" y="32"/>
                    <a:pt x="487" y="33"/>
                    <a:pt x="487" y="34"/>
                  </a:cubicBezTo>
                  <a:cubicBezTo>
                    <a:pt x="487" y="35"/>
                    <a:pt x="486" y="36"/>
                    <a:pt x="486" y="37"/>
                  </a:cubicBezTo>
                  <a:cubicBezTo>
                    <a:pt x="486" y="38"/>
                    <a:pt x="485" y="38"/>
                    <a:pt x="485" y="38"/>
                  </a:cubicBezTo>
                  <a:cubicBezTo>
                    <a:pt x="484" y="38"/>
                    <a:pt x="483" y="38"/>
                    <a:pt x="482" y="37"/>
                  </a:cubicBezTo>
                  <a:cubicBezTo>
                    <a:pt x="482" y="36"/>
                    <a:pt x="481" y="36"/>
                    <a:pt x="479" y="35"/>
                  </a:cubicBezTo>
                  <a:cubicBezTo>
                    <a:pt x="478" y="34"/>
                    <a:pt x="477" y="33"/>
                    <a:pt x="475" y="32"/>
                  </a:cubicBezTo>
                  <a:cubicBezTo>
                    <a:pt x="473" y="32"/>
                    <a:pt x="471" y="31"/>
                    <a:pt x="469" y="31"/>
                  </a:cubicBezTo>
                  <a:cubicBezTo>
                    <a:pt x="464" y="31"/>
                    <a:pt x="460" y="33"/>
                    <a:pt x="457" y="37"/>
                  </a:cubicBezTo>
                  <a:cubicBezTo>
                    <a:pt x="454" y="41"/>
                    <a:pt x="453" y="47"/>
                    <a:pt x="453" y="54"/>
                  </a:cubicBezTo>
                  <a:cubicBezTo>
                    <a:pt x="453" y="57"/>
                    <a:pt x="453" y="61"/>
                    <a:pt x="454" y="63"/>
                  </a:cubicBezTo>
                  <a:cubicBezTo>
                    <a:pt x="455" y="66"/>
                    <a:pt x="456" y="68"/>
                    <a:pt x="457" y="70"/>
                  </a:cubicBezTo>
                  <a:cubicBezTo>
                    <a:pt x="459" y="72"/>
                    <a:pt x="460" y="73"/>
                    <a:pt x="462" y="74"/>
                  </a:cubicBezTo>
                  <a:cubicBezTo>
                    <a:pt x="464" y="75"/>
                    <a:pt x="466" y="76"/>
                    <a:pt x="469" y="76"/>
                  </a:cubicBezTo>
                  <a:cubicBezTo>
                    <a:pt x="471" y="76"/>
                    <a:pt x="473" y="75"/>
                    <a:pt x="475" y="74"/>
                  </a:cubicBezTo>
                  <a:cubicBezTo>
                    <a:pt x="477" y="74"/>
                    <a:pt x="478" y="73"/>
                    <a:pt x="480" y="72"/>
                  </a:cubicBezTo>
                  <a:cubicBezTo>
                    <a:pt x="481" y="71"/>
                    <a:pt x="482" y="70"/>
                    <a:pt x="483" y="70"/>
                  </a:cubicBezTo>
                  <a:cubicBezTo>
                    <a:pt x="484" y="69"/>
                    <a:pt x="485" y="68"/>
                    <a:pt x="485" y="68"/>
                  </a:cubicBezTo>
                  <a:cubicBezTo>
                    <a:pt x="485" y="68"/>
                    <a:pt x="486" y="69"/>
                    <a:pt x="486" y="69"/>
                  </a:cubicBezTo>
                  <a:cubicBezTo>
                    <a:pt x="486" y="69"/>
                    <a:pt x="486" y="69"/>
                    <a:pt x="486" y="70"/>
                  </a:cubicBezTo>
                  <a:cubicBezTo>
                    <a:pt x="486" y="70"/>
                    <a:pt x="487" y="70"/>
                    <a:pt x="487" y="71"/>
                  </a:cubicBezTo>
                  <a:cubicBezTo>
                    <a:pt x="487" y="72"/>
                    <a:pt x="487" y="72"/>
                    <a:pt x="487" y="73"/>
                  </a:cubicBezTo>
                  <a:close/>
                  <a:moveTo>
                    <a:pt x="542" y="51"/>
                  </a:moveTo>
                  <a:cubicBezTo>
                    <a:pt x="542" y="53"/>
                    <a:pt x="542" y="54"/>
                    <a:pt x="541" y="55"/>
                  </a:cubicBezTo>
                  <a:cubicBezTo>
                    <a:pt x="540" y="55"/>
                    <a:pt x="539" y="56"/>
                    <a:pt x="538" y="56"/>
                  </a:cubicBezTo>
                  <a:lnTo>
                    <a:pt x="501" y="56"/>
                  </a:lnTo>
                  <a:cubicBezTo>
                    <a:pt x="501" y="59"/>
                    <a:pt x="502" y="62"/>
                    <a:pt x="502" y="64"/>
                  </a:cubicBezTo>
                  <a:cubicBezTo>
                    <a:pt x="503" y="67"/>
                    <a:pt x="504" y="69"/>
                    <a:pt x="505" y="71"/>
                  </a:cubicBezTo>
                  <a:cubicBezTo>
                    <a:pt x="507" y="72"/>
                    <a:pt x="509" y="74"/>
                    <a:pt x="511" y="75"/>
                  </a:cubicBezTo>
                  <a:cubicBezTo>
                    <a:pt x="513" y="76"/>
                    <a:pt x="516" y="76"/>
                    <a:pt x="520" y="76"/>
                  </a:cubicBezTo>
                  <a:cubicBezTo>
                    <a:pt x="522" y="76"/>
                    <a:pt x="525" y="76"/>
                    <a:pt x="527" y="75"/>
                  </a:cubicBezTo>
                  <a:cubicBezTo>
                    <a:pt x="529" y="75"/>
                    <a:pt x="531" y="75"/>
                    <a:pt x="532" y="74"/>
                  </a:cubicBezTo>
                  <a:cubicBezTo>
                    <a:pt x="534" y="73"/>
                    <a:pt x="535" y="73"/>
                    <a:pt x="536" y="73"/>
                  </a:cubicBezTo>
                  <a:cubicBezTo>
                    <a:pt x="537" y="72"/>
                    <a:pt x="538" y="72"/>
                    <a:pt x="538" y="72"/>
                  </a:cubicBezTo>
                  <a:cubicBezTo>
                    <a:pt x="539" y="72"/>
                    <a:pt x="539" y="72"/>
                    <a:pt x="539" y="72"/>
                  </a:cubicBezTo>
                  <a:cubicBezTo>
                    <a:pt x="539" y="72"/>
                    <a:pt x="539" y="72"/>
                    <a:pt x="540" y="73"/>
                  </a:cubicBezTo>
                  <a:cubicBezTo>
                    <a:pt x="540" y="73"/>
                    <a:pt x="540" y="73"/>
                    <a:pt x="540" y="74"/>
                  </a:cubicBezTo>
                  <a:cubicBezTo>
                    <a:pt x="540" y="75"/>
                    <a:pt x="540" y="75"/>
                    <a:pt x="540" y="76"/>
                  </a:cubicBezTo>
                  <a:cubicBezTo>
                    <a:pt x="540" y="76"/>
                    <a:pt x="540" y="77"/>
                    <a:pt x="540" y="77"/>
                  </a:cubicBezTo>
                  <a:cubicBezTo>
                    <a:pt x="540" y="78"/>
                    <a:pt x="540" y="78"/>
                    <a:pt x="540" y="78"/>
                  </a:cubicBezTo>
                  <a:cubicBezTo>
                    <a:pt x="540" y="79"/>
                    <a:pt x="540" y="79"/>
                    <a:pt x="539" y="79"/>
                  </a:cubicBezTo>
                  <a:cubicBezTo>
                    <a:pt x="539" y="79"/>
                    <a:pt x="539" y="80"/>
                    <a:pt x="539" y="80"/>
                  </a:cubicBezTo>
                  <a:cubicBezTo>
                    <a:pt x="539" y="80"/>
                    <a:pt x="538" y="81"/>
                    <a:pt x="537" y="81"/>
                  </a:cubicBezTo>
                  <a:cubicBezTo>
                    <a:pt x="536" y="82"/>
                    <a:pt x="534" y="82"/>
                    <a:pt x="532" y="83"/>
                  </a:cubicBezTo>
                  <a:cubicBezTo>
                    <a:pt x="531" y="83"/>
                    <a:pt x="529" y="84"/>
                    <a:pt x="526" y="84"/>
                  </a:cubicBezTo>
                  <a:cubicBezTo>
                    <a:pt x="524" y="84"/>
                    <a:pt x="521" y="85"/>
                    <a:pt x="519" y="85"/>
                  </a:cubicBezTo>
                  <a:cubicBezTo>
                    <a:pt x="514" y="85"/>
                    <a:pt x="510" y="84"/>
                    <a:pt x="507" y="83"/>
                  </a:cubicBezTo>
                  <a:cubicBezTo>
                    <a:pt x="503" y="81"/>
                    <a:pt x="500" y="79"/>
                    <a:pt x="498" y="77"/>
                  </a:cubicBezTo>
                  <a:cubicBezTo>
                    <a:pt x="495" y="74"/>
                    <a:pt x="494" y="71"/>
                    <a:pt x="492" y="67"/>
                  </a:cubicBezTo>
                  <a:cubicBezTo>
                    <a:pt x="491" y="63"/>
                    <a:pt x="491" y="59"/>
                    <a:pt x="491" y="54"/>
                  </a:cubicBezTo>
                  <a:cubicBezTo>
                    <a:pt x="491" y="49"/>
                    <a:pt x="491" y="45"/>
                    <a:pt x="492" y="41"/>
                  </a:cubicBezTo>
                  <a:cubicBezTo>
                    <a:pt x="494" y="37"/>
                    <a:pt x="495" y="34"/>
                    <a:pt x="498" y="31"/>
                  </a:cubicBezTo>
                  <a:cubicBezTo>
                    <a:pt x="500" y="28"/>
                    <a:pt x="503" y="26"/>
                    <a:pt x="506" y="25"/>
                  </a:cubicBezTo>
                  <a:cubicBezTo>
                    <a:pt x="510" y="23"/>
                    <a:pt x="513" y="23"/>
                    <a:pt x="518" y="23"/>
                  </a:cubicBezTo>
                  <a:cubicBezTo>
                    <a:pt x="522" y="23"/>
                    <a:pt x="526" y="23"/>
                    <a:pt x="529" y="25"/>
                  </a:cubicBezTo>
                  <a:cubicBezTo>
                    <a:pt x="532" y="26"/>
                    <a:pt x="535" y="28"/>
                    <a:pt x="537" y="31"/>
                  </a:cubicBezTo>
                  <a:cubicBezTo>
                    <a:pt x="539" y="33"/>
                    <a:pt x="540" y="36"/>
                    <a:pt x="541" y="39"/>
                  </a:cubicBezTo>
                  <a:cubicBezTo>
                    <a:pt x="542" y="42"/>
                    <a:pt x="542" y="46"/>
                    <a:pt x="542" y="49"/>
                  </a:cubicBezTo>
                  <a:lnTo>
                    <a:pt x="542" y="51"/>
                  </a:lnTo>
                  <a:close/>
                  <a:moveTo>
                    <a:pt x="532" y="48"/>
                  </a:moveTo>
                  <a:cubicBezTo>
                    <a:pt x="532" y="43"/>
                    <a:pt x="531" y="38"/>
                    <a:pt x="528" y="35"/>
                  </a:cubicBezTo>
                  <a:cubicBezTo>
                    <a:pt x="526" y="32"/>
                    <a:pt x="522" y="31"/>
                    <a:pt x="517" y="31"/>
                  </a:cubicBezTo>
                  <a:cubicBezTo>
                    <a:pt x="514" y="31"/>
                    <a:pt x="512" y="31"/>
                    <a:pt x="510" y="32"/>
                  </a:cubicBezTo>
                  <a:cubicBezTo>
                    <a:pt x="508" y="33"/>
                    <a:pt x="507" y="34"/>
                    <a:pt x="505" y="36"/>
                  </a:cubicBezTo>
                  <a:cubicBezTo>
                    <a:pt x="504" y="38"/>
                    <a:pt x="503" y="39"/>
                    <a:pt x="502" y="42"/>
                  </a:cubicBezTo>
                  <a:cubicBezTo>
                    <a:pt x="502" y="44"/>
                    <a:pt x="501" y="46"/>
                    <a:pt x="501" y="48"/>
                  </a:cubicBezTo>
                  <a:lnTo>
                    <a:pt x="532" y="48"/>
                  </a:ln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0">
              <a:extLst>
                <a:ext uri="{FF2B5EF4-FFF2-40B4-BE49-F238E27FC236}">
                  <a16:creationId xmlns:a16="http://schemas.microsoft.com/office/drawing/2014/main" id="{A3B492D9-A83E-4FC0-9638-644FD16BCB58}"/>
                </a:ext>
              </a:extLst>
            </p:cNvPr>
            <p:cNvSpPr>
              <a:spLocks noEditPoints="1"/>
            </p:cNvSpPr>
            <p:nvPr/>
          </p:nvSpPr>
          <p:spPr bwMode="auto">
            <a:xfrm>
              <a:off x="5268" y="1685"/>
              <a:ext cx="344" cy="50"/>
            </a:xfrm>
            <a:custGeom>
              <a:avLst/>
              <a:gdLst>
                <a:gd name="T0" fmla="*/ 34 w 769"/>
                <a:gd name="T1" fmla="*/ 88 h 110"/>
                <a:gd name="T2" fmla="*/ 42 w 769"/>
                <a:gd name="T3" fmla="*/ 6 h 110"/>
                <a:gd name="T4" fmla="*/ 58 w 769"/>
                <a:gd name="T5" fmla="*/ 21 h 110"/>
                <a:gd name="T6" fmla="*/ 13 w 769"/>
                <a:gd name="T7" fmla="*/ 33 h 110"/>
                <a:gd name="T8" fmla="*/ 57 w 769"/>
                <a:gd name="T9" fmla="*/ 71 h 110"/>
                <a:gd name="T10" fmla="*/ 111 w 769"/>
                <a:gd name="T11" fmla="*/ 87 h 110"/>
                <a:gd name="T12" fmla="*/ 94 w 769"/>
                <a:gd name="T13" fmla="*/ 35 h 110"/>
                <a:gd name="T14" fmla="*/ 69 w 769"/>
                <a:gd name="T15" fmla="*/ 87 h 110"/>
                <a:gd name="T16" fmla="*/ 77 w 769"/>
                <a:gd name="T17" fmla="*/ 0 h 110"/>
                <a:gd name="T18" fmla="*/ 116 w 769"/>
                <a:gd name="T19" fmla="*/ 51 h 110"/>
                <a:gd name="T20" fmla="*/ 165 w 769"/>
                <a:gd name="T21" fmla="*/ 80 h 110"/>
                <a:gd name="T22" fmla="*/ 144 w 769"/>
                <a:gd name="T23" fmla="*/ 53 h 110"/>
                <a:gd name="T24" fmla="*/ 139 w 769"/>
                <a:gd name="T25" fmla="*/ 38 h 110"/>
                <a:gd name="T26" fmla="*/ 135 w 769"/>
                <a:gd name="T27" fmla="*/ 30 h 110"/>
                <a:gd name="T28" fmla="*/ 164 w 769"/>
                <a:gd name="T29" fmla="*/ 60 h 110"/>
                <a:gd name="T30" fmla="*/ 164 w 769"/>
                <a:gd name="T31" fmla="*/ 72 h 110"/>
                <a:gd name="T32" fmla="*/ 234 w 769"/>
                <a:gd name="T33" fmla="*/ 86 h 110"/>
                <a:gd name="T34" fmla="*/ 206 w 769"/>
                <a:gd name="T35" fmla="*/ 85 h 110"/>
                <a:gd name="T36" fmla="*/ 196 w 769"/>
                <a:gd name="T37" fmla="*/ 29 h 110"/>
                <a:gd name="T38" fmla="*/ 205 w 769"/>
                <a:gd name="T39" fmla="*/ 37 h 110"/>
                <a:gd name="T40" fmla="*/ 322 w 769"/>
                <a:gd name="T41" fmla="*/ 35 h 110"/>
                <a:gd name="T42" fmla="*/ 288 w 769"/>
                <a:gd name="T43" fmla="*/ 66 h 110"/>
                <a:gd name="T44" fmla="*/ 321 w 769"/>
                <a:gd name="T45" fmla="*/ 84 h 110"/>
                <a:gd name="T46" fmla="*/ 269 w 769"/>
                <a:gd name="T47" fmla="*/ 95 h 110"/>
                <a:gd name="T48" fmla="*/ 274 w 769"/>
                <a:gd name="T49" fmla="*/ 54 h 110"/>
                <a:gd name="T50" fmla="*/ 322 w 769"/>
                <a:gd name="T51" fmla="*/ 29 h 110"/>
                <a:gd name="T52" fmla="*/ 286 w 769"/>
                <a:gd name="T53" fmla="*/ 56 h 110"/>
                <a:gd name="T54" fmla="*/ 286 w 769"/>
                <a:gd name="T55" fmla="*/ 83 h 110"/>
                <a:gd name="T56" fmla="*/ 311 w 769"/>
                <a:gd name="T57" fmla="*/ 95 h 110"/>
                <a:gd name="T58" fmla="*/ 349 w 769"/>
                <a:gd name="T59" fmla="*/ 80 h 110"/>
                <a:gd name="T60" fmla="*/ 369 w 769"/>
                <a:gd name="T61" fmla="*/ 81 h 110"/>
                <a:gd name="T62" fmla="*/ 327 w 769"/>
                <a:gd name="T63" fmla="*/ 80 h 110"/>
                <a:gd name="T64" fmla="*/ 370 w 769"/>
                <a:gd name="T65" fmla="*/ 43 h 110"/>
                <a:gd name="T66" fmla="*/ 331 w 769"/>
                <a:gd name="T67" fmla="*/ 52 h 110"/>
                <a:gd name="T68" fmla="*/ 427 w 769"/>
                <a:gd name="T69" fmla="*/ 86 h 110"/>
                <a:gd name="T70" fmla="*/ 386 w 769"/>
                <a:gd name="T71" fmla="*/ 45 h 110"/>
                <a:gd name="T72" fmla="*/ 428 w 769"/>
                <a:gd name="T73" fmla="*/ 0 h 110"/>
                <a:gd name="T74" fmla="*/ 409 w 769"/>
                <a:gd name="T75" fmla="*/ 35 h 110"/>
                <a:gd name="T76" fmla="*/ 413 w 769"/>
                <a:gd name="T77" fmla="*/ 79 h 110"/>
                <a:gd name="T78" fmla="*/ 528 w 769"/>
                <a:gd name="T79" fmla="*/ 87 h 110"/>
                <a:gd name="T80" fmla="*/ 529 w 769"/>
                <a:gd name="T81" fmla="*/ 7 h 110"/>
                <a:gd name="T82" fmla="*/ 523 w 769"/>
                <a:gd name="T83" fmla="*/ 40 h 110"/>
                <a:gd name="T84" fmla="*/ 496 w 769"/>
                <a:gd name="T85" fmla="*/ 49 h 110"/>
                <a:gd name="T86" fmla="*/ 594 w 769"/>
                <a:gd name="T87" fmla="*/ 30 h 110"/>
                <a:gd name="T88" fmla="*/ 562 w 769"/>
                <a:gd name="T89" fmla="*/ 87 h 110"/>
                <a:gd name="T90" fmla="*/ 543 w 769"/>
                <a:gd name="T91" fmla="*/ 27 h 110"/>
                <a:gd name="T92" fmla="*/ 583 w 769"/>
                <a:gd name="T93" fmla="*/ 29 h 110"/>
                <a:gd name="T94" fmla="*/ 660 w 769"/>
                <a:gd name="T95" fmla="*/ 55 h 110"/>
                <a:gd name="T96" fmla="*/ 649 w 769"/>
                <a:gd name="T97" fmla="*/ 78 h 110"/>
                <a:gd name="T98" fmla="*/ 657 w 769"/>
                <a:gd name="T99" fmla="*/ 83 h 110"/>
                <a:gd name="T100" fmla="*/ 608 w 769"/>
                <a:gd name="T101" fmla="*/ 57 h 110"/>
                <a:gd name="T102" fmla="*/ 660 w 769"/>
                <a:gd name="T103" fmla="*/ 55 h 110"/>
                <a:gd name="T104" fmla="*/ 724 w 769"/>
                <a:gd name="T105" fmla="*/ 85 h 110"/>
                <a:gd name="T106" fmla="*/ 714 w 769"/>
                <a:gd name="T107" fmla="*/ 52 h 110"/>
                <a:gd name="T108" fmla="*/ 685 w 769"/>
                <a:gd name="T109" fmla="*/ 87 h 110"/>
                <a:gd name="T110" fmla="*/ 677 w 769"/>
                <a:gd name="T111" fmla="*/ 28 h 110"/>
                <a:gd name="T112" fmla="*/ 704 w 769"/>
                <a:gd name="T113" fmla="*/ 26 h 110"/>
                <a:gd name="T114" fmla="*/ 766 w 769"/>
                <a:gd name="T115" fmla="*/ 87 h 110"/>
                <a:gd name="T116" fmla="*/ 734 w 769"/>
                <a:gd name="T117" fmla="*/ 36 h 110"/>
                <a:gd name="T118" fmla="*/ 742 w 769"/>
                <a:gd name="T119" fmla="*/ 13 h 110"/>
                <a:gd name="T120" fmla="*/ 767 w 769"/>
                <a:gd name="T121" fmla="*/ 27 h 110"/>
                <a:gd name="T122" fmla="*/ 754 w 769"/>
                <a:gd name="T123" fmla="*/ 76 h 110"/>
                <a:gd name="T124" fmla="*/ 769 w 769"/>
                <a:gd name="T125" fmla="*/ 8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9" h="110">
                  <a:moveTo>
                    <a:pt x="59" y="75"/>
                  </a:moveTo>
                  <a:cubicBezTo>
                    <a:pt x="59" y="76"/>
                    <a:pt x="59" y="77"/>
                    <a:pt x="59" y="77"/>
                  </a:cubicBezTo>
                  <a:cubicBezTo>
                    <a:pt x="59" y="78"/>
                    <a:pt x="59" y="78"/>
                    <a:pt x="58" y="79"/>
                  </a:cubicBezTo>
                  <a:cubicBezTo>
                    <a:pt x="58" y="79"/>
                    <a:pt x="58" y="79"/>
                    <a:pt x="58" y="80"/>
                  </a:cubicBezTo>
                  <a:cubicBezTo>
                    <a:pt x="58" y="80"/>
                    <a:pt x="58" y="80"/>
                    <a:pt x="57" y="81"/>
                  </a:cubicBezTo>
                  <a:cubicBezTo>
                    <a:pt x="57" y="81"/>
                    <a:pt x="56" y="82"/>
                    <a:pt x="55" y="83"/>
                  </a:cubicBezTo>
                  <a:cubicBezTo>
                    <a:pt x="53" y="83"/>
                    <a:pt x="52" y="84"/>
                    <a:pt x="50" y="85"/>
                  </a:cubicBezTo>
                  <a:cubicBezTo>
                    <a:pt x="48" y="86"/>
                    <a:pt x="45" y="87"/>
                    <a:pt x="43" y="87"/>
                  </a:cubicBezTo>
                  <a:cubicBezTo>
                    <a:pt x="40" y="88"/>
                    <a:pt x="37" y="88"/>
                    <a:pt x="34" y="88"/>
                  </a:cubicBezTo>
                  <a:cubicBezTo>
                    <a:pt x="29" y="88"/>
                    <a:pt x="24" y="87"/>
                    <a:pt x="20" y="85"/>
                  </a:cubicBezTo>
                  <a:cubicBezTo>
                    <a:pt x="16" y="84"/>
                    <a:pt x="12" y="81"/>
                    <a:pt x="9" y="78"/>
                  </a:cubicBezTo>
                  <a:cubicBezTo>
                    <a:pt x="6" y="74"/>
                    <a:pt x="4" y="70"/>
                    <a:pt x="2" y="65"/>
                  </a:cubicBezTo>
                  <a:cubicBezTo>
                    <a:pt x="1" y="60"/>
                    <a:pt x="0" y="54"/>
                    <a:pt x="0" y="48"/>
                  </a:cubicBezTo>
                  <a:cubicBezTo>
                    <a:pt x="0" y="41"/>
                    <a:pt x="1" y="35"/>
                    <a:pt x="3" y="30"/>
                  </a:cubicBezTo>
                  <a:cubicBezTo>
                    <a:pt x="4" y="24"/>
                    <a:pt x="7" y="20"/>
                    <a:pt x="10" y="16"/>
                  </a:cubicBezTo>
                  <a:cubicBezTo>
                    <a:pt x="13" y="13"/>
                    <a:pt x="17" y="10"/>
                    <a:pt x="21" y="8"/>
                  </a:cubicBezTo>
                  <a:cubicBezTo>
                    <a:pt x="26" y="6"/>
                    <a:pt x="30" y="5"/>
                    <a:pt x="36" y="5"/>
                  </a:cubicBezTo>
                  <a:cubicBezTo>
                    <a:pt x="38" y="5"/>
                    <a:pt x="40" y="5"/>
                    <a:pt x="42" y="6"/>
                  </a:cubicBezTo>
                  <a:cubicBezTo>
                    <a:pt x="45" y="6"/>
                    <a:pt x="47" y="7"/>
                    <a:pt x="49" y="7"/>
                  </a:cubicBezTo>
                  <a:cubicBezTo>
                    <a:pt x="50" y="8"/>
                    <a:pt x="52" y="9"/>
                    <a:pt x="54" y="10"/>
                  </a:cubicBezTo>
                  <a:cubicBezTo>
                    <a:pt x="55" y="11"/>
                    <a:pt x="56" y="11"/>
                    <a:pt x="57" y="12"/>
                  </a:cubicBezTo>
                  <a:cubicBezTo>
                    <a:pt x="57" y="12"/>
                    <a:pt x="58" y="13"/>
                    <a:pt x="58" y="13"/>
                  </a:cubicBezTo>
                  <a:cubicBezTo>
                    <a:pt x="58" y="13"/>
                    <a:pt x="58" y="14"/>
                    <a:pt x="58" y="14"/>
                  </a:cubicBezTo>
                  <a:cubicBezTo>
                    <a:pt x="58" y="15"/>
                    <a:pt x="58" y="15"/>
                    <a:pt x="58" y="16"/>
                  </a:cubicBezTo>
                  <a:cubicBezTo>
                    <a:pt x="58" y="16"/>
                    <a:pt x="58" y="17"/>
                    <a:pt x="58" y="18"/>
                  </a:cubicBezTo>
                  <a:cubicBezTo>
                    <a:pt x="58" y="18"/>
                    <a:pt x="58" y="19"/>
                    <a:pt x="58" y="20"/>
                  </a:cubicBezTo>
                  <a:cubicBezTo>
                    <a:pt x="58" y="20"/>
                    <a:pt x="58" y="21"/>
                    <a:pt x="58" y="21"/>
                  </a:cubicBezTo>
                  <a:cubicBezTo>
                    <a:pt x="58" y="21"/>
                    <a:pt x="58" y="22"/>
                    <a:pt x="57" y="22"/>
                  </a:cubicBezTo>
                  <a:cubicBezTo>
                    <a:pt x="57" y="22"/>
                    <a:pt x="57" y="22"/>
                    <a:pt x="56" y="22"/>
                  </a:cubicBezTo>
                  <a:cubicBezTo>
                    <a:pt x="56" y="22"/>
                    <a:pt x="55" y="22"/>
                    <a:pt x="54" y="21"/>
                  </a:cubicBezTo>
                  <a:cubicBezTo>
                    <a:pt x="53" y="20"/>
                    <a:pt x="52" y="19"/>
                    <a:pt x="50" y="18"/>
                  </a:cubicBezTo>
                  <a:cubicBezTo>
                    <a:pt x="48" y="17"/>
                    <a:pt x="46" y="16"/>
                    <a:pt x="44" y="16"/>
                  </a:cubicBezTo>
                  <a:cubicBezTo>
                    <a:pt x="42" y="15"/>
                    <a:pt x="39" y="14"/>
                    <a:pt x="35" y="14"/>
                  </a:cubicBezTo>
                  <a:cubicBezTo>
                    <a:pt x="32" y="14"/>
                    <a:pt x="29" y="15"/>
                    <a:pt x="26" y="17"/>
                  </a:cubicBezTo>
                  <a:cubicBezTo>
                    <a:pt x="23" y="18"/>
                    <a:pt x="20" y="20"/>
                    <a:pt x="18" y="23"/>
                  </a:cubicBezTo>
                  <a:cubicBezTo>
                    <a:pt x="16" y="26"/>
                    <a:pt x="14" y="29"/>
                    <a:pt x="13" y="33"/>
                  </a:cubicBezTo>
                  <a:cubicBezTo>
                    <a:pt x="12" y="37"/>
                    <a:pt x="11" y="42"/>
                    <a:pt x="11" y="47"/>
                  </a:cubicBezTo>
                  <a:cubicBezTo>
                    <a:pt x="11" y="52"/>
                    <a:pt x="12" y="57"/>
                    <a:pt x="13" y="61"/>
                  </a:cubicBezTo>
                  <a:cubicBezTo>
                    <a:pt x="14" y="64"/>
                    <a:pt x="16" y="68"/>
                    <a:pt x="18" y="70"/>
                  </a:cubicBezTo>
                  <a:cubicBezTo>
                    <a:pt x="20" y="73"/>
                    <a:pt x="23" y="75"/>
                    <a:pt x="26" y="76"/>
                  </a:cubicBezTo>
                  <a:cubicBezTo>
                    <a:pt x="29" y="78"/>
                    <a:pt x="32" y="78"/>
                    <a:pt x="36" y="78"/>
                  </a:cubicBezTo>
                  <a:cubicBezTo>
                    <a:pt x="39" y="78"/>
                    <a:pt x="42" y="78"/>
                    <a:pt x="44" y="77"/>
                  </a:cubicBezTo>
                  <a:cubicBezTo>
                    <a:pt x="47" y="76"/>
                    <a:pt x="49" y="76"/>
                    <a:pt x="50" y="75"/>
                  </a:cubicBezTo>
                  <a:cubicBezTo>
                    <a:pt x="52" y="74"/>
                    <a:pt x="53" y="73"/>
                    <a:pt x="55" y="72"/>
                  </a:cubicBezTo>
                  <a:cubicBezTo>
                    <a:pt x="56" y="71"/>
                    <a:pt x="56" y="71"/>
                    <a:pt x="57" y="71"/>
                  </a:cubicBezTo>
                  <a:cubicBezTo>
                    <a:pt x="57" y="71"/>
                    <a:pt x="58" y="71"/>
                    <a:pt x="58" y="71"/>
                  </a:cubicBezTo>
                  <a:cubicBezTo>
                    <a:pt x="58" y="71"/>
                    <a:pt x="58" y="71"/>
                    <a:pt x="58" y="72"/>
                  </a:cubicBezTo>
                  <a:cubicBezTo>
                    <a:pt x="59" y="72"/>
                    <a:pt x="59" y="72"/>
                    <a:pt x="59" y="73"/>
                  </a:cubicBezTo>
                  <a:cubicBezTo>
                    <a:pt x="59" y="74"/>
                    <a:pt x="59" y="75"/>
                    <a:pt x="59" y="75"/>
                  </a:cubicBezTo>
                  <a:close/>
                  <a:moveTo>
                    <a:pt x="116" y="85"/>
                  </a:moveTo>
                  <a:cubicBezTo>
                    <a:pt x="116" y="86"/>
                    <a:pt x="116" y="86"/>
                    <a:pt x="116" y="86"/>
                  </a:cubicBezTo>
                  <a:cubicBezTo>
                    <a:pt x="116" y="86"/>
                    <a:pt x="115" y="87"/>
                    <a:pt x="115" y="87"/>
                  </a:cubicBezTo>
                  <a:cubicBezTo>
                    <a:pt x="115" y="87"/>
                    <a:pt x="114" y="87"/>
                    <a:pt x="113" y="87"/>
                  </a:cubicBezTo>
                  <a:cubicBezTo>
                    <a:pt x="113" y="87"/>
                    <a:pt x="112" y="87"/>
                    <a:pt x="111" y="87"/>
                  </a:cubicBezTo>
                  <a:cubicBezTo>
                    <a:pt x="110" y="87"/>
                    <a:pt x="109" y="87"/>
                    <a:pt x="108" y="87"/>
                  </a:cubicBezTo>
                  <a:cubicBezTo>
                    <a:pt x="108" y="87"/>
                    <a:pt x="107" y="87"/>
                    <a:pt x="107" y="87"/>
                  </a:cubicBezTo>
                  <a:cubicBezTo>
                    <a:pt x="106" y="87"/>
                    <a:pt x="106" y="86"/>
                    <a:pt x="106" y="86"/>
                  </a:cubicBezTo>
                  <a:cubicBezTo>
                    <a:pt x="106" y="86"/>
                    <a:pt x="106" y="86"/>
                    <a:pt x="106" y="85"/>
                  </a:cubicBezTo>
                  <a:lnTo>
                    <a:pt x="106" y="52"/>
                  </a:lnTo>
                  <a:cubicBezTo>
                    <a:pt x="106" y="49"/>
                    <a:pt x="105" y="47"/>
                    <a:pt x="105" y="45"/>
                  </a:cubicBezTo>
                  <a:cubicBezTo>
                    <a:pt x="104" y="43"/>
                    <a:pt x="104" y="41"/>
                    <a:pt x="103" y="40"/>
                  </a:cubicBezTo>
                  <a:cubicBezTo>
                    <a:pt x="102" y="38"/>
                    <a:pt x="101" y="37"/>
                    <a:pt x="99" y="36"/>
                  </a:cubicBezTo>
                  <a:cubicBezTo>
                    <a:pt x="98" y="36"/>
                    <a:pt x="96" y="35"/>
                    <a:pt x="94" y="35"/>
                  </a:cubicBezTo>
                  <a:cubicBezTo>
                    <a:pt x="91" y="35"/>
                    <a:pt x="89" y="36"/>
                    <a:pt x="86" y="38"/>
                  </a:cubicBezTo>
                  <a:cubicBezTo>
                    <a:pt x="83" y="40"/>
                    <a:pt x="81" y="43"/>
                    <a:pt x="78" y="46"/>
                  </a:cubicBezTo>
                  <a:lnTo>
                    <a:pt x="78" y="85"/>
                  </a:lnTo>
                  <a:cubicBezTo>
                    <a:pt x="78" y="86"/>
                    <a:pt x="78" y="86"/>
                    <a:pt x="78" y="86"/>
                  </a:cubicBezTo>
                  <a:cubicBezTo>
                    <a:pt x="77" y="86"/>
                    <a:pt x="77" y="87"/>
                    <a:pt x="77" y="87"/>
                  </a:cubicBezTo>
                  <a:cubicBezTo>
                    <a:pt x="76" y="87"/>
                    <a:pt x="76" y="87"/>
                    <a:pt x="75" y="87"/>
                  </a:cubicBezTo>
                  <a:cubicBezTo>
                    <a:pt x="75" y="87"/>
                    <a:pt x="74" y="87"/>
                    <a:pt x="73" y="87"/>
                  </a:cubicBezTo>
                  <a:cubicBezTo>
                    <a:pt x="72" y="87"/>
                    <a:pt x="71" y="87"/>
                    <a:pt x="70" y="87"/>
                  </a:cubicBezTo>
                  <a:cubicBezTo>
                    <a:pt x="70" y="87"/>
                    <a:pt x="69" y="87"/>
                    <a:pt x="69" y="87"/>
                  </a:cubicBezTo>
                  <a:cubicBezTo>
                    <a:pt x="68" y="87"/>
                    <a:pt x="68" y="86"/>
                    <a:pt x="68" y="86"/>
                  </a:cubicBezTo>
                  <a:cubicBezTo>
                    <a:pt x="68" y="86"/>
                    <a:pt x="68" y="86"/>
                    <a:pt x="68" y="85"/>
                  </a:cubicBezTo>
                  <a:lnTo>
                    <a:pt x="68" y="2"/>
                  </a:lnTo>
                  <a:cubicBezTo>
                    <a:pt x="68" y="2"/>
                    <a:pt x="68" y="1"/>
                    <a:pt x="68" y="1"/>
                  </a:cubicBezTo>
                  <a:cubicBezTo>
                    <a:pt x="68" y="1"/>
                    <a:pt x="68" y="1"/>
                    <a:pt x="69" y="0"/>
                  </a:cubicBezTo>
                  <a:cubicBezTo>
                    <a:pt x="69" y="0"/>
                    <a:pt x="70" y="0"/>
                    <a:pt x="70" y="0"/>
                  </a:cubicBezTo>
                  <a:cubicBezTo>
                    <a:pt x="71" y="0"/>
                    <a:pt x="72" y="0"/>
                    <a:pt x="73" y="0"/>
                  </a:cubicBezTo>
                  <a:cubicBezTo>
                    <a:pt x="74" y="0"/>
                    <a:pt x="75" y="0"/>
                    <a:pt x="75" y="0"/>
                  </a:cubicBezTo>
                  <a:cubicBezTo>
                    <a:pt x="76" y="0"/>
                    <a:pt x="76" y="0"/>
                    <a:pt x="77" y="0"/>
                  </a:cubicBezTo>
                  <a:cubicBezTo>
                    <a:pt x="77" y="1"/>
                    <a:pt x="77" y="1"/>
                    <a:pt x="78" y="1"/>
                  </a:cubicBezTo>
                  <a:cubicBezTo>
                    <a:pt x="78" y="1"/>
                    <a:pt x="78" y="2"/>
                    <a:pt x="78" y="2"/>
                  </a:cubicBezTo>
                  <a:lnTo>
                    <a:pt x="78" y="36"/>
                  </a:lnTo>
                  <a:cubicBezTo>
                    <a:pt x="81" y="32"/>
                    <a:pt x="84" y="30"/>
                    <a:pt x="87" y="29"/>
                  </a:cubicBezTo>
                  <a:cubicBezTo>
                    <a:pt x="90" y="27"/>
                    <a:pt x="93" y="26"/>
                    <a:pt x="96" y="26"/>
                  </a:cubicBezTo>
                  <a:cubicBezTo>
                    <a:pt x="100" y="26"/>
                    <a:pt x="103" y="27"/>
                    <a:pt x="105" y="28"/>
                  </a:cubicBezTo>
                  <a:cubicBezTo>
                    <a:pt x="108" y="29"/>
                    <a:pt x="110" y="31"/>
                    <a:pt x="112" y="33"/>
                  </a:cubicBezTo>
                  <a:cubicBezTo>
                    <a:pt x="113" y="35"/>
                    <a:pt x="114" y="38"/>
                    <a:pt x="115" y="41"/>
                  </a:cubicBezTo>
                  <a:cubicBezTo>
                    <a:pt x="116" y="44"/>
                    <a:pt x="116" y="47"/>
                    <a:pt x="116" y="51"/>
                  </a:cubicBezTo>
                  <a:lnTo>
                    <a:pt x="116" y="85"/>
                  </a:lnTo>
                  <a:close/>
                  <a:moveTo>
                    <a:pt x="174" y="85"/>
                  </a:moveTo>
                  <a:cubicBezTo>
                    <a:pt x="174" y="86"/>
                    <a:pt x="174" y="86"/>
                    <a:pt x="173" y="87"/>
                  </a:cubicBezTo>
                  <a:cubicBezTo>
                    <a:pt x="173" y="87"/>
                    <a:pt x="173" y="87"/>
                    <a:pt x="172" y="87"/>
                  </a:cubicBezTo>
                  <a:cubicBezTo>
                    <a:pt x="171" y="87"/>
                    <a:pt x="171" y="87"/>
                    <a:pt x="170" y="87"/>
                  </a:cubicBezTo>
                  <a:cubicBezTo>
                    <a:pt x="168" y="87"/>
                    <a:pt x="168" y="87"/>
                    <a:pt x="167" y="87"/>
                  </a:cubicBezTo>
                  <a:cubicBezTo>
                    <a:pt x="166" y="87"/>
                    <a:pt x="166" y="87"/>
                    <a:pt x="166" y="87"/>
                  </a:cubicBezTo>
                  <a:cubicBezTo>
                    <a:pt x="165" y="86"/>
                    <a:pt x="165" y="86"/>
                    <a:pt x="165" y="85"/>
                  </a:cubicBezTo>
                  <a:lnTo>
                    <a:pt x="165" y="80"/>
                  </a:lnTo>
                  <a:cubicBezTo>
                    <a:pt x="163" y="82"/>
                    <a:pt x="160" y="84"/>
                    <a:pt x="157" y="86"/>
                  </a:cubicBezTo>
                  <a:cubicBezTo>
                    <a:pt x="154" y="87"/>
                    <a:pt x="151" y="88"/>
                    <a:pt x="147" y="88"/>
                  </a:cubicBezTo>
                  <a:cubicBezTo>
                    <a:pt x="144" y="88"/>
                    <a:pt x="142" y="88"/>
                    <a:pt x="139" y="87"/>
                  </a:cubicBezTo>
                  <a:cubicBezTo>
                    <a:pt x="137" y="86"/>
                    <a:pt x="135" y="85"/>
                    <a:pt x="133" y="84"/>
                  </a:cubicBezTo>
                  <a:cubicBezTo>
                    <a:pt x="131" y="82"/>
                    <a:pt x="130" y="80"/>
                    <a:pt x="129" y="78"/>
                  </a:cubicBezTo>
                  <a:cubicBezTo>
                    <a:pt x="128" y="76"/>
                    <a:pt x="128" y="74"/>
                    <a:pt x="128" y="71"/>
                  </a:cubicBezTo>
                  <a:cubicBezTo>
                    <a:pt x="128" y="68"/>
                    <a:pt x="128" y="65"/>
                    <a:pt x="130" y="63"/>
                  </a:cubicBezTo>
                  <a:cubicBezTo>
                    <a:pt x="131" y="60"/>
                    <a:pt x="133" y="58"/>
                    <a:pt x="135" y="57"/>
                  </a:cubicBezTo>
                  <a:cubicBezTo>
                    <a:pt x="138" y="55"/>
                    <a:pt x="141" y="54"/>
                    <a:pt x="144" y="53"/>
                  </a:cubicBezTo>
                  <a:cubicBezTo>
                    <a:pt x="148" y="53"/>
                    <a:pt x="152" y="52"/>
                    <a:pt x="156" y="52"/>
                  </a:cubicBezTo>
                  <a:lnTo>
                    <a:pt x="164" y="52"/>
                  </a:lnTo>
                  <a:lnTo>
                    <a:pt x="164" y="48"/>
                  </a:lnTo>
                  <a:cubicBezTo>
                    <a:pt x="164" y="46"/>
                    <a:pt x="163" y="44"/>
                    <a:pt x="163" y="42"/>
                  </a:cubicBezTo>
                  <a:cubicBezTo>
                    <a:pt x="163" y="41"/>
                    <a:pt x="162" y="39"/>
                    <a:pt x="161" y="38"/>
                  </a:cubicBezTo>
                  <a:cubicBezTo>
                    <a:pt x="160" y="37"/>
                    <a:pt x="158" y="36"/>
                    <a:pt x="157" y="36"/>
                  </a:cubicBezTo>
                  <a:cubicBezTo>
                    <a:pt x="155" y="35"/>
                    <a:pt x="153" y="35"/>
                    <a:pt x="151" y="35"/>
                  </a:cubicBezTo>
                  <a:cubicBezTo>
                    <a:pt x="148" y="35"/>
                    <a:pt x="146" y="35"/>
                    <a:pt x="144" y="36"/>
                  </a:cubicBezTo>
                  <a:cubicBezTo>
                    <a:pt x="142" y="36"/>
                    <a:pt x="140" y="37"/>
                    <a:pt x="139" y="38"/>
                  </a:cubicBezTo>
                  <a:cubicBezTo>
                    <a:pt x="137" y="38"/>
                    <a:pt x="136" y="39"/>
                    <a:pt x="135" y="40"/>
                  </a:cubicBezTo>
                  <a:cubicBezTo>
                    <a:pt x="134" y="40"/>
                    <a:pt x="133" y="40"/>
                    <a:pt x="133" y="40"/>
                  </a:cubicBezTo>
                  <a:cubicBezTo>
                    <a:pt x="132" y="40"/>
                    <a:pt x="132" y="40"/>
                    <a:pt x="132" y="40"/>
                  </a:cubicBezTo>
                  <a:cubicBezTo>
                    <a:pt x="131" y="40"/>
                    <a:pt x="131" y="40"/>
                    <a:pt x="131" y="39"/>
                  </a:cubicBezTo>
                  <a:cubicBezTo>
                    <a:pt x="131" y="39"/>
                    <a:pt x="131" y="39"/>
                    <a:pt x="131" y="38"/>
                  </a:cubicBezTo>
                  <a:cubicBezTo>
                    <a:pt x="131" y="38"/>
                    <a:pt x="131" y="37"/>
                    <a:pt x="131" y="36"/>
                  </a:cubicBezTo>
                  <a:cubicBezTo>
                    <a:pt x="131" y="35"/>
                    <a:pt x="131" y="35"/>
                    <a:pt x="131" y="34"/>
                  </a:cubicBezTo>
                  <a:cubicBezTo>
                    <a:pt x="131" y="33"/>
                    <a:pt x="131" y="33"/>
                    <a:pt x="132" y="32"/>
                  </a:cubicBezTo>
                  <a:cubicBezTo>
                    <a:pt x="132" y="32"/>
                    <a:pt x="133" y="31"/>
                    <a:pt x="135" y="30"/>
                  </a:cubicBezTo>
                  <a:cubicBezTo>
                    <a:pt x="136" y="30"/>
                    <a:pt x="138" y="29"/>
                    <a:pt x="139" y="28"/>
                  </a:cubicBezTo>
                  <a:cubicBezTo>
                    <a:pt x="141" y="28"/>
                    <a:pt x="143" y="27"/>
                    <a:pt x="145" y="27"/>
                  </a:cubicBezTo>
                  <a:cubicBezTo>
                    <a:pt x="147" y="27"/>
                    <a:pt x="150" y="26"/>
                    <a:pt x="152" y="26"/>
                  </a:cubicBezTo>
                  <a:cubicBezTo>
                    <a:pt x="156" y="26"/>
                    <a:pt x="159" y="27"/>
                    <a:pt x="162" y="28"/>
                  </a:cubicBezTo>
                  <a:cubicBezTo>
                    <a:pt x="165" y="29"/>
                    <a:pt x="167" y="30"/>
                    <a:pt x="169" y="32"/>
                  </a:cubicBezTo>
                  <a:cubicBezTo>
                    <a:pt x="171" y="33"/>
                    <a:pt x="172" y="36"/>
                    <a:pt x="173" y="38"/>
                  </a:cubicBezTo>
                  <a:cubicBezTo>
                    <a:pt x="174" y="41"/>
                    <a:pt x="174" y="44"/>
                    <a:pt x="174" y="47"/>
                  </a:cubicBezTo>
                  <a:lnTo>
                    <a:pt x="174" y="85"/>
                  </a:lnTo>
                  <a:close/>
                  <a:moveTo>
                    <a:pt x="164" y="60"/>
                  </a:moveTo>
                  <a:lnTo>
                    <a:pt x="155" y="60"/>
                  </a:lnTo>
                  <a:cubicBezTo>
                    <a:pt x="152" y="60"/>
                    <a:pt x="150" y="60"/>
                    <a:pt x="148" y="60"/>
                  </a:cubicBezTo>
                  <a:cubicBezTo>
                    <a:pt x="145" y="61"/>
                    <a:pt x="144" y="62"/>
                    <a:pt x="142" y="63"/>
                  </a:cubicBezTo>
                  <a:cubicBezTo>
                    <a:pt x="141" y="64"/>
                    <a:pt x="140" y="65"/>
                    <a:pt x="139" y="66"/>
                  </a:cubicBezTo>
                  <a:cubicBezTo>
                    <a:pt x="139" y="67"/>
                    <a:pt x="138" y="69"/>
                    <a:pt x="138" y="70"/>
                  </a:cubicBezTo>
                  <a:cubicBezTo>
                    <a:pt x="138" y="73"/>
                    <a:pt x="139" y="76"/>
                    <a:pt x="141" y="77"/>
                  </a:cubicBezTo>
                  <a:cubicBezTo>
                    <a:pt x="143" y="79"/>
                    <a:pt x="146" y="80"/>
                    <a:pt x="149" y="80"/>
                  </a:cubicBezTo>
                  <a:cubicBezTo>
                    <a:pt x="152" y="80"/>
                    <a:pt x="154" y="79"/>
                    <a:pt x="156" y="78"/>
                  </a:cubicBezTo>
                  <a:cubicBezTo>
                    <a:pt x="159" y="77"/>
                    <a:pt x="161" y="75"/>
                    <a:pt x="164" y="72"/>
                  </a:cubicBezTo>
                  <a:lnTo>
                    <a:pt x="164" y="60"/>
                  </a:lnTo>
                  <a:close/>
                  <a:moveTo>
                    <a:pt x="244" y="85"/>
                  </a:moveTo>
                  <a:cubicBezTo>
                    <a:pt x="244" y="86"/>
                    <a:pt x="244" y="86"/>
                    <a:pt x="244" y="86"/>
                  </a:cubicBezTo>
                  <a:cubicBezTo>
                    <a:pt x="244" y="86"/>
                    <a:pt x="243" y="87"/>
                    <a:pt x="243" y="87"/>
                  </a:cubicBezTo>
                  <a:cubicBezTo>
                    <a:pt x="243" y="87"/>
                    <a:pt x="242" y="87"/>
                    <a:pt x="241" y="87"/>
                  </a:cubicBezTo>
                  <a:cubicBezTo>
                    <a:pt x="241" y="87"/>
                    <a:pt x="240" y="87"/>
                    <a:pt x="239" y="87"/>
                  </a:cubicBezTo>
                  <a:cubicBezTo>
                    <a:pt x="238" y="87"/>
                    <a:pt x="237" y="87"/>
                    <a:pt x="236" y="87"/>
                  </a:cubicBezTo>
                  <a:cubicBezTo>
                    <a:pt x="236" y="87"/>
                    <a:pt x="235" y="87"/>
                    <a:pt x="235" y="87"/>
                  </a:cubicBezTo>
                  <a:cubicBezTo>
                    <a:pt x="234" y="87"/>
                    <a:pt x="234" y="86"/>
                    <a:pt x="234" y="86"/>
                  </a:cubicBezTo>
                  <a:cubicBezTo>
                    <a:pt x="234" y="86"/>
                    <a:pt x="234" y="86"/>
                    <a:pt x="234" y="85"/>
                  </a:cubicBezTo>
                  <a:lnTo>
                    <a:pt x="234" y="52"/>
                  </a:lnTo>
                  <a:cubicBezTo>
                    <a:pt x="234" y="49"/>
                    <a:pt x="233" y="47"/>
                    <a:pt x="233" y="45"/>
                  </a:cubicBezTo>
                  <a:cubicBezTo>
                    <a:pt x="232" y="43"/>
                    <a:pt x="232" y="41"/>
                    <a:pt x="231" y="40"/>
                  </a:cubicBezTo>
                  <a:cubicBezTo>
                    <a:pt x="230" y="38"/>
                    <a:pt x="229" y="37"/>
                    <a:pt x="227" y="36"/>
                  </a:cubicBezTo>
                  <a:cubicBezTo>
                    <a:pt x="226" y="36"/>
                    <a:pt x="224" y="35"/>
                    <a:pt x="222" y="35"/>
                  </a:cubicBezTo>
                  <a:cubicBezTo>
                    <a:pt x="219" y="35"/>
                    <a:pt x="217" y="36"/>
                    <a:pt x="214" y="38"/>
                  </a:cubicBezTo>
                  <a:cubicBezTo>
                    <a:pt x="211" y="40"/>
                    <a:pt x="209" y="43"/>
                    <a:pt x="206" y="46"/>
                  </a:cubicBezTo>
                  <a:lnTo>
                    <a:pt x="206" y="85"/>
                  </a:lnTo>
                  <a:cubicBezTo>
                    <a:pt x="206" y="86"/>
                    <a:pt x="206" y="86"/>
                    <a:pt x="206" y="86"/>
                  </a:cubicBezTo>
                  <a:cubicBezTo>
                    <a:pt x="205" y="86"/>
                    <a:pt x="205" y="87"/>
                    <a:pt x="205" y="87"/>
                  </a:cubicBezTo>
                  <a:cubicBezTo>
                    <a:pt x="204" y="87"/>
                    <a:pt x="204" y="87"/>
                    <a:pt x="203" y="87"/>
                  </a:cubicBezTo>
                  <a:cubicBezTo>
                    <a:pt x="203" y="87"/>
                    <a:pt x="202" y="87"/>
                    <a:pt x="201" y="87"/>
                  </a:cubicBezTo>
                  <a:cubicBezTo>
                    <a:pt x="200" y="87"/>
                    <a:pt x="199" y="87"/>
                    <a:pt x="198" y="87"/>
                  </a:cubicBezTo>
                  <a:cubicBezTo>
                    <a:pt x="198" y="87"/>
                    <a:pt x="197" y="87"/>
                    <a:pt x="197" y="87"/>
                  </a:cubicBezTo>
                  <a:cubicBezTo>
                    <a:pt x="196" y="87"/>
                    <a:pt x="196" y="86"/>
                    <a:pt x="196" y="86"/>
                  </a:cubicBezTo>
                  <a:cubicBezTo>
                    <a:pt x="196" y="86"/>
                    <a:pt x="196" y="86"/>
                    <a:pt x="196" y="85"/>
                  </a:cubicBezTo>
                  <a:lnTo>
                    <a:pt x="196" y="29"/>
                  </a:lnTo>
                  <a:cubicBezTo>
                    <a:pt x="196" y="29"/>
                    <a:pt x="196" y="29"/>
                    <a:pt x="196" y="28"/>
                  </a:cubicBezTo>
                  <a:cubicBezTo>
                    <a:pt x="196" y="28"/>
                    <a:pt x="196" y="28"/>
                    <a:pt x="197" y="28"/>
                  </a:cubicBezTo>
                  <a:cubicBezTo>
                    <a:pt x="197" y="27"/>
                    <a:pt x="197" y="27"/>
                    <a:pt x="198" y="27"/>
                  </a:cubicBezTo>
                  <a:cubicBezTo>
                    <a:pt x="199" y="27"/>
                    <a:pt x="199" y="27"/>
                    <a:pt x="200" y="27"/>
                  </a:cubicBezTo>
                  <a:cubicBezTo>
                    <a:pt x="201" y="27"/>
                    <a:pt x="202" y="27"/>
                    <a:pt x="203" y="27"/>
                  </a:cubicBezTo>
                  <a:cubicBezTo>
                    <a:pt x="203" y="27"/>
                    <a:pt x="204" y="27"/>
                    <a:pt x="204" y="28"/>
                  </a:cubicBezTo>
                  <a:cubicBezTo>
                    <a:pt x="204" y="28"/>
                    <a:pt x="205" y="28"/>
                    <a:pt x="205" y="28"/>
                  </a:cubicBezTo>
                  <a:cubicBezTo>
                    <a:pt x="205" y="29"/>
                    <a:pt x="205" y="29"/>
                    <a:pt x="205" y="29"/>
                  </a:cubicBezTo>
                  <a:lnTo>
                    <a:pt x="205" y="37"/>
                  </a:lnTo>
                  <a:cubicBezTo>
                    <a:pt x="208" y="33"/>
                    <a:pt x="211" y="30"/>
                    <a:pt x="214" y="29"/>
                  </a:cubicBezTo>
                  <a:cubicBezTo>
                    <a:pt x="217" y="27"/>
                    <a:pt x="221" y="26"/>
                    <a:pt x="224" y="26"/>
                  </a:cubicBezTo>
                  <a:cubicBezTo>
                    <a:pt x="228" y="26"/>
                    <a:pt x="231" y="27"/>
                    <a:pt x="233" y="28"/>
                  </a:cubicBezTo>
                  <a:cubicBezTo>
                    <a:pt x="236" y="29"/>
                    <a:pt x="238" y="31"/>
                    <a:pt x="240" y="33"/>
                  </a:cubicBezTo>
                  <a:cubicBezTo>
                    <a:pt x="241" y="35"/>
                    <a:pt x="242" y="38"/>
                    <a:pt x="243" y="41"/>
                  </a:cubicBezTo>
                  <a:cubicBezTo>
                    <a:pt x="244" y="44"/>
                    <a:pt x="244" y="47"/>
                    <a:pt x="244" y="51"/>
                  </a:cubicBezTo>
                  <a:lnTo>
                    <a:pt x="244" y="85"/>
                  </a:lnTo>
                  <a:close/>
                  <a:moveTo>
                    <a:pt x="323" y="32"/>
                  </a:moveTo>
                  <a:cubicBezTo>
                    <a:pt x="323" y="33"/>
                    <a:pt x="322" y="34"/>
                    <a:pt x="322" y="35"/>
                  </a:cubicBezTo>
                  <a:cubicBezTo>
                    <a:pt x="322" y="35"/>
                    <a:pt x="321" y="36"/>
                    <a:pt x="320" y="36"/>
                  </a:cubicBezTo>
                  <a:lnTo>
                    <a:pt x="312" y="36"/>
                  </a:lnTo>
                  <a:cubicBezTo>
                    <a:pt x="314" y="37"/>
                    <a:pt x="315" y="39"/>
                    <a:pt x="315" y="41"/>
                  </a:cubicBezTo>
                  <a:cubicBezTo>
                    <a:pt x="316" y="43"/>
                    <a:pt x="316" y="44"/>
                    <a:pt x="316" y="46"/>
                  </a:cubicBezTo>
                  <a:cubicBezTo>
                    <a:pt x="316" y="50"/>
                    <a:pt x="316" y="53"/>
                    <a:pt x="315" y="55"/>
                  </a:cubicBezTo>
                  <a:cubicBezTo>
                    <a:pt x="314" y="58"/>
                    <a:pt x="312" y="60"/>
                    <a:pt x="310" y="61"/>
                  </a:cubicBezTo>
                  <a:cubicBezTo>
                    <a:pt x="308" y="63"/>
                    <a:pt x="306" y="64"/>
                    <a:pt x="303" y="65"/>
                  </a:cubicBezTo>
                  <a:cubicBezTo>
                    <a:pt x="301" y="66"/>
                    <a:pt x="298" y="67"/>
                    <a:pt x="295" y="67"/>
                  </a:cubicBezTo>
                  <a:cubicBezTo>
                    <a:pt x="292" y="67"/>
                    <a:pt x="290" y="66"/>
                    <a:pt x="288" y="66"/>
                  </a:cubicBezTo>
                  <a:cubicBezTo>
                    <a:pt x="286" y="65"/>
                    <a:pt x="284" y="64"/>
                    <a:pt x="283" y="64"/>
                  </a:cubicBezTo>
                  <a:cubicBezTo>
                    <a:pt x="282" y="64"/>
                    <a:pt x="282" y="65"/>
                    <a:pt x="281" y="66"/>
                  </a:cubicBezTo>
                  <a:cubicBezTo>
                    <a:pt x="281" y="67"/>
                    <a:pt x="281" y="68"/>
                    <a:pt x="281" y="69"/>
                  </a:cubicBezTo>
                  <a:cubicBezTo>
                    <a:pt x="281" y="71"/>
                    <a:pt x="281" y="72"/>
                    <a:pt x="283" y="73"/>
                  </a:cubicBezTo>
                  <a:cubicBezTo>
                    <a:pt x="284" y="74"/>
                    <a:pt x="286" y="75"/>
                    <a:pt x="288" y="75"/>
                  </a:cubicBezTo>
                  <a:lnTo>
                    <a:pt x="303" y="75"/>
                  </a:lnTo>
                  <a:cubicBezTo>
                    <a:pt x="306" y="75"/>
                    <a:pt x="308" y="76"/>
                    <a:pt x="310" y="76"/>
                  </a:cubicBezTo>
                  <a:cubicBezTo>
                    <a:pt x="313" y="77"/>
                    <a:pt x="315" y="78"/>
                    <a:pt x="317" y="79"/>
                  </a:cubicBezTo>
                  <a:cubicBezTo>
                    <a:pt x="318" y="81"/>
                    <a:pt x="320" y="82"/>
                    <a:pt x="321" y="84"/>
                  </a:cubicBezTo>
                  <a:cubicBezTo>
                    <a:pt x="321" y="86"/>
                    <a:pt x="322" y="88"/>
                    <a:pt x="322" y="90"/>
                  </a:cubicBezTo>
                  <a:cubicBezTo>
                    <a:pt x="322" y="93"/>
                    <a:pt x="321" y="96"/>
                    <a:pt x="320" y="98"/>
                  </a:cubicBezTo>
                  <a:cubicBezTo>
                    <a:pt x="319" y="100"/>
                    <a:pt x="318" y="102"/>
                    <a:pt x="315" y="104"/>
                  </a:cubicBezTo>
                  <a:cubicBezTo>
                    <a:pt x="313" y="106"/>
                    <a:pt x="310" y="107"/>
                    <a:pt x="307" y="108"/>
                  </a:cubicBezTo>
                  <a:cubicBezTo>
                    <a:pt x="303" y="109"/>
                    <a:pt x="299" y="110"/>
                    <a:pt x="295" y="110"/>
                  </a:cubicBezTo>
                  <a:cubicBezTo>
                    <a:pt x="290" y="110"/>
                    <a:pt x="286" y="109"/>
                    <a:pt x="283" y="109"/>
                  </a:cubicBezTo>
                  <a:cubicBezTo>
                    <a:pt x="280" y="108"/>
                    <a:pt x="277" y="107"/>
                    <a:pt x="275" y="105"/>
                  </a:cubicBezTo>
                  <a:cubicBezTo>
                    <a:pt x="273" y="104"/>
                    <a:pt x="272" y="103"/>
                    <a:pt x="271" y="101"/>
                  </a:cubicBezTo>
                  <a:cubicBezTo>
                    <a:pt x="270" y="99"/>
                    <a:pt x="269" y="97"/>
                    <a:pt x="269" y="95"/>
                  </a:cubicBezTo>
                  <a:cubicBezTo>
                    <a:pt x="269" y="93"/>
                    <a:pt x="269" y="92"/>
                    <a:pt x="270" y="91"/>
                  </a:cubicBezTo>
                  <a:cubicBezTo>
                    <a:pt x="270" y="89"/>
                    <a:pt x="271" y="88"/>
                    <a:pt x="271" y="87"/>
                  </a:cubicBezTo>
                  <a:cubicBezTo>
                    <a:pt x="272" y="86"/>
                    <a:pt x="273" y="85"/>
                    <a:pt x="274" y="84"/>
                  </a:cubicBezTo>
                  <a:cubicBezTo>
                    <a:pt x="275" y="83"/>
                    <a:pt x="276" y="81"/>
                    <a:pt x="277" y="80"/>
                  </a:cubicBezTo>
                  <a:cubicBezTo>
                    <a:pt x="275" y="79"/>
                    <a:pt x="274" y="78"/>
                    <a:pt x="273" y="76"/>
                  </a:cubicBezTo>
                  <a:cubicBezTo>
                    <a:pt x="272" y="75"/>
                    <a:pt x="271" y="73"/>
                    <a:pt x="271" y="71"/>
                  </a:cubicBezTo>
                  <a:cubicBezTo>
                    <a:pt x="271" y="69"/>
                    <a:pt x="272" y="67"/>
                    <a:pt x="273" y="65"/>
                  </a:cubicBezTo>
                  <a:cubicBezTo>
                    <a:pt x="274" y="63"/>
                    <a:pt x="275" y="61"/>
                    <a:pt x="277" y="59"/>
                  </a:cubicBezTo>
                  <a:cubicBezTo>
                    <a:pt x="276" y="58"/>
                    <a:pt x="275" y="56"/>
                    <a:pt x="274" y="54"/>
                  </a:cubicBezTo>
                  <a:cubicBezTo>
                    <a:pt x="273" y="52"/>
                    <a:pt x="273" y="50"/>
                    <a:pt x="273" y="47"/>
                  </a:cubicBezTo>
                  <a:cubicBezTo>
                    <a:pt x="273" y="44"/>
                    <a:pt x="273" y="41"/>
                    <a:pt x="274" y="38"/>
                  </a:cubicBezTo>
                  <a:cubicBezTo>
                    <a:pt x="275" y="36"/>
                    <a:pt x="277" y="34"/>
                    <a:pt x="279" y="32"/>
                  </a:cubicBezTo>
                  <a:cubicBezTo>
                    <a:pt x="281" y="30"/>
                    <a:pt x="283" y="29"/>
                    <a:pt x="286" y="28"/>
                  </a:cubicBezTo>
                  <a:cubicBezTo>
                    <a:pt x="288" y="27"/>
                    <a:pt x="291" y="26"/>
                    <a:pt x="295" y="26"/>
                  </a:cubicBezTo>
                  <a:cubicBezTo>
                    <a:pt x="296" y="26"/>
                    <a:pt x="298" y="27"/>
                    <a:pt x="299" y="27"/>
                  </a:cubicBezTo>
                  <a:cubicBezTo>
                    <a:pt x="301" y="27"/>
                    <a:pt x="302" y="27"/>
                    <a:pt x="303" y="27"/>
                  </a:cubicBezTo>
                  <a:lnTo>
                    <a:pt x="320" y="27"/>
                  </a:lnTo>
                  <a:cubicBezTo>
                    <a:pt x="321" y="27"/>
                    <a:pt x="322" y="28"/>
                    <a:pt x="322" y="29"/>
                  </a:cubicBezTo>
                  <a:cubicBezTo>
                    <a:pt x="322" y="29"/>
                    <a:pt x="323" y="30"/>
                    <a:pt x="323" y="32"/>
                  </a:cubicBezTo>
                  <a:close/>
                  <a:moveTo>
                    <a:pt x="306" y="46"/>
                  </a:moveTo>
                  <a:cubicBezTo>
                    <a:pt x="306" y="43"/>
                    <a:pt x="305" y="40"/>
                    <a:pt x="303" y="38"/>
                  </a:cubicBezTo>
                  <a:cubicBezTo>
                    <a:pt x="301" y="35"/>
                    <a:pt x="298" y="34"/>
                    <a:pt x="294" y="34"/>
                  </a:cubicBezTo>
                  <a:cubicBezTo>
                    <a:pt x="292" y="34"/>
                    <a:pt x="291" y="35"/>
                    <a:pt x="289" y="35"/>
                  </a:cubicBezTo>
                  <a:cubicBezTo>
                    <a:pt x="288" y="36"/>
                    <a:pt x="286" y="37"/>
                    <a:pt x="285" y="38"/>
                  </a:cubicBezTo>
                  <a:cubicBezTo>
                    <a:pt x="284" y="39"/>
                    <a:pt x="284" y="41"/>
                    <a:pt x="283" y="42"/>
                  </a:cubicBezTo>
                  <a:cubicBezTo>
                    <a:pt x="283" y="44"/>
                    <a:pt x="283" y="45"/>
                    <a:pt x="283" y="47"/>
                  </a:cubicBezTo>
                  <a:cubicBezTo>
                    <a:pt x="283" y="51"/>
                    <a:pt x="284" y="53"/>
                    <a:pt x="286" y="56"/>
                  </a:cubicBezTo>
                  <a:cubicBezTo>
                    <a:pt x="288" y="58"/>
                    <a:pt x="291" y="59"/>
                    <a:pt x="295" y="59"/>
                  </a:cubicBezTo>
                  <a:cubicBezTo>
                    <a:pt x="297" y="59"/>
                    <a:pt x="298" y="58"/>
                    <a:pt x="300" y="58"/>
                  </a:cubicBezTo>
                  <a:cubicBezTo>
                    <a:pt x="301" y="57"/>
                    <a:pt x="303" y="56"/>
                    <a:pt x="304" y="55"/>
                  </a:cubicBezTo>
                  <a:cubicBezTo>
                    <a:pt x="305" y="54"/>
                    <a:pt x="305" y="53"/>
                    <a:pt x="306" y="51"/>
                  </a:cubicBezTo>
                  <a:cubicBezTo>
                    <a:pt x="306" y="50"/>
                    <a:pt x="306" y="48"/>
                    <a:pt x="306" y="46"/>
                  </a:cubicBezTo>
                  <a:close/>
                  <a:moveTo>
                    <a:pt x="312" y="91"/>
                  </a:moveTo>
                  <a:cubicBezTo>
                    <a:pt x="312" y="89"/>
                    <a:pt x="311" y="87"/>
                    <a:pt x="309" y="85"/>
                  </a:cubicBezTo>
                  <a:cubicBezTo>
                    <a:pt x="307" y="84"/>
                    <a:pt x="304" y="83"/>
                    <a:pt x="301" y="83"/>
                  </a:cubicBezTo>
                  <a:lnTo>
                    <a:pt x="286" y="83"/>
                  </a:lnTo>
                  <a:cubicBezTo>
                    <a:pt x="285" y="84"/>
                    <a:pt x="284" y="85"/>
                    <a:pt x="283" y="86"/>
                  </a:cubicBezTo>
                  <a:cubicBezTo>
                    <a:pt x="282" y="87"/>
                    <a:pt x="281" y="88"/>
                    <a:pt x="281" y="89"/>
                  </a:cubicBezTo>
                  <a:cubicBezTo>
                    <a:pt x="280" y="89"/>
                    <a:pt x="280" y="90"/>
                    <a:pt x="280" y="91"/>
                  </a:cubicBezTo>
                  <a:cubicBezTo>
                    <a:pt x="280" y="92"/>
                    <a:pt x="279" y="93"/>
                    <a:pt x="279" y="94"/>
                  </a:cubicBezTo>
                  <a:cubicBezTo>
                    <a:pt x="279" y="96"/>
                    <a:pt x="281" y="98"/>
                    <a:pt x="284" y="100"/>
                  </a:cubicBezTo>
                  <a:cubicBezTo>
                    <a:pt x="286" y="101"/>
                    <a:pt x="290" y="102"/>
                    <a:pt x="295" y="102"/>
                  </a:cubicBezTo>
                  <a:cubicBezTo>
                    <a:pt x="298" y="102"/>
                    <a:pt x="301" y="102"/>
                    <a:pt x="303" y="101"/>
                  </a:cubicBezTo>
                  <a:cubicBezTo>
                    <a:pt x="305" y="100"/>
                    <a:pt x="307" y="100"/>
                    <a:pt x="308" y="99"/>
                  </a:cubicBezTo>
                  <a:cubicBezTo>
                    <a:pt x="309" y="98"/>
                    <a:pt x="310" y="96"/>
                    <a:pt x="311" y="95"/>
                  </a:cubicBezTo>
                  <a:cubicBezTo>
                    <a:pt x="311" y="94"/>
                    <a:pt x="312" y="92"/>
                    <a:pt x="312" y="91"/>
                  </a:cubicBezTo>
                  <a:close/>
                  <a:moveTo>
                    <a:pt x="372" y="55"/>
                  </a:moveTo>
                  <a:cubicBezTo>
                    <a:pt x="372" y="56"/>
                    <a:pt x="371" y="58"/>
                    <a:pt x="370" y="58"/>
                  </a:cubicBezTo>
                  <a:cubicBezTo>
                    <a:pt x="370" y="59"/>
                    <a:pt x="369" y="59"/>
                    <a:pt x="368" y="59"/>
                  </a:cubicBezTo>
                  <a:lnTo>
                    <a:pt x="331" y="59"/>
                  </a:lnTo>
                  <a:cubicBezTo>
                    <a:pt x="331" y="62"/>
                    <a:pt x="331" y="65"/>
                    <a:pt x="331" y="68"/>
                  </a:cubicBezTo>
                  <a:cubicBezTo>
                    <a:pt x="332" y="70"/>
                    <a:pt x="333" y="72"/>
                    <a:pt x="335" y="74"/>
                  </a:cubicBezTo>
                  <a:cubicBezTo>
                    <a:pt x="336" y="76"/>
                    <a:pt x="338" y="77"/>
                    <a:pt x="340" y="78"/>
                  </a:cubicBezTo>
                  <a:cubicBezTo>
                    <a:pt x="343" y="79"/>
                    <a:pt x="346" y="80"/>
                    <a:pt x="349" y="80"/>
                  </a:cubicBezTo>
                  <a:cubicBezTo>
                    <a:pt x="352" y="80"/>
                    <a:pt x="354" y="80"/>
                    <a:pt x="356" y="79"/>
                  </a:cubicBezTo>
                  <a:cubicBezTo>
                    <a:pt x="358" y="79"/>
                    <a:pt x="360" y="78"/>
                    <a:pt x="361" y="78"/>
                  </a:cubicBezTo>
                  <a:cubicBezTo>
                    <a:pt x="363" y="77"/>
                    <a:pt x="364" y="77"/>
                    <a:pt x="365" y="76"/>
                  </a:cubicBezTo>
                  <a:cubicBezTo>
                    <a:pt x="366" y="76"/>
                    <a:pt x="367" y="75"/>
                    <a:pt x="367" y="75"/>
                  </a:cubicBezTo>
                  <a:cubicBezTo>
                    <a:pt x="368" y="75"/>
                    <a:pt x="368" y="76"/>
                    <a:pt x="368" y="76"/>
                  </a:cubicBezTo>
                  <a:cubicBezTo>
                    <a:pt x="369" y="76"/>
                    <a:pt x="369" y="76"/>
                    <a:pt x="369" y="76"/>
                  </a:cubicBezTo>
                  <a:cubicBezTo>
                    <a:pt x="369" y="77"/>
                    <a:pt x="369" y="77"/>
                    <a:pt x="369" y="78"/>
                  </a:cubicBezTo>
                  <a:cubicBezTo>
                    <a:pt x="369" y="78"/>
                    <a:pt x="369" y="79"/>
                    <a:pt x="369" y="79"/>
                  </a:cubicBezTo>
                  <a:cubicBezTo>
                    <a:pt x="369" y="80"/>
                    <a:pt x="369" y="81"/>
                    <a:pt x="369" y="81"/>
                  </a:cubicBezTo>
                  <a:cubicBezTo>
                    <a:pt x="369" y="81"/>
                    <a:pt x="369" y="82"/>
                    <a:pt x="369" y="82"/>
                  </a:cubicBezTo>
                  <a:cubicBezTo>
                    <a:pt x="369" y="82"/>
                    <a:pt x="369" y="83"/>
                    <a:pt x="369" y="83"/>
                  </a:cubicBezTo>
                  <a:cubicBezTo>
                    <a:pt x="369" y="83"/>
                    <a:pt x="368" y="83"/>
                    <a:pt x="368" y="84"/>
                  </a:cubicBezTo>
                  <a:cubicBezTo>
                    <a:pt x="368" y="84"/>
                    <a:pt x="367" y="84"/>
                    <a:pt x="366" y="85"/>
                  </a:cubicBezTo>
                  <a:cubicBezTo>
                    <a:pt x="365" y="85"/>
                    <a:pt x="363" y="86"/>
                    <a:pt x="362" y="86"/>
                  </a:cubicBezTo>
                  <a:cubicBezTo>
                    <a:pt x="360" y="87"/>
                    <a:pt x="358" y="87"/>
                    <a:pt x="355" y="88"/>
                  </a:cubicBezTo>
                  <a:cubicBezTo>
                    <a:pt x="353" y="88"/>
                    <a:pt x="351" y="88"/>
                    <a:pt x="348" y="88"/>
                  </a:cubicBezTo>
                  <a:cubicBezTo>
                    <a:pt x="343" y="88"/>
                    <a:pt x="339" y="87"/>
                    <a:pt x="336" y="86"/>
                  </a:cubicBezTo>
                  <a:cubicBezTo>
                    <a:pt x="332" y="85"/>
                    <a:pt x="329" y="83"/>
                    <a:pt x="327" y="80"/>
                  </a:cubicBezTo>
                  <a:cubicBezTo>
                    <a:pt x="325" y="78"/>
                    <a:pt x="323" y="75"/>
                    <a:pt x="322" y="71"/>
                  </a:cubicBezTo>
                  <a:cubicBezTo>
                    <a:pt x="320" y="67"/>
                    <a:pt x="320" y="63"/>
                    <a:pt x="320" y="57"/>
                  </a:cubicBezTo>
                  <a:cubicBezTo>
                    <a:pt x="320" y="53"/>
                    <a:pt x="320" y="48"/>
                    <a:pt x="322" y="44"/>
                  </a:cubicBezTo>
                  <a:cubicBezTo>
                    <a:pt x="323" y="41"/>
                    <a:pt x="325" y="37"/>
                    <a:pt x="327" y="35"/>
                  </a:cubicBezTo>
                  <a:cubicBezTo>
                    <a:pt x="329" y="32"/>
                    <a:pt x="332" y="30"/>
                    <a:pt x="336" y="28"/>
                  </a:cubicBezTo>
                  <a:cubicBezTo>
                    <a:pt x="339" y="27"/>
                    <a:pt x="343" y="26"/>
                    <a:pt x="347" y="26"/>
                  </a:cubicBezTo>
                  <a:cubicBezTo>
                    <a:pt x="351" y="26"/>
                    <a:pt x="355" y="27"/>
                    <a:pt x="358" y="28"/>
                  </a:cubicBezTo>
                  <a:cubicBezTo>
                    <a:pt x="361" y="30"/>
                    <a:pt x="364" y="32"/>
                    <a:pt x="366" y="34"/>
                  </a:cubicBezTo>
                  <a:cubicBezTo>
                    <a:pt x="368" y="37"/>
                    <a:pt x="369" y="39"/>
                    <a:pt x="370" y="43"/>
                  </a:cubicBezTo>
                  <a:cubicBezTo>
                    <a:pt x="371" y="46"/>
                    <a:pt x="372" y="49"/>
                    <a:pt x="372" y="53"/>
                  </a:cubicBezTo>
                  <a:lnTo>
                    <a:pt x="372" y="55"/>
                  </a:lnTo>
                  <a:close/>
                  <a:moveTo>
                    <a:pt x="361" y="52"/>
                  </a:moveTo>
                  <a:cubicBezTo>
                    <a:pt x="361" y="46"/>
                    <a:pt x="360" y="42"/>
                    <a:pt x="358" y="39"/>
                  </a:cubicBezTo>
                  <a:cubicBezTo>
                    <a:pt x="355" y="36"/>
                    <a:pt x="351" y="34"/>
                    <a:pt x="346" y="34"/>
                  </a:cubicBezTo>
                  <a:cubicBezTo>
                    <a:pt x="344" y="34"/>
                    <a:pt x="341" y="35"/>
                    <a:pt x="340" y="36"/>
                  </a:cubicBezTo>
                  <a:cubicBezTo>
                    <a:pt x="338" y="37"/>
                    <a:pt x="336" y="38"/>
                    <a:pt x="335" y="40"/>
                  </a:cubicBezTo>
                  <a:cubicBezTo>
                    <a:pt x="333" y="41"/>
                    <a:pt x="332" y="43"/>
                    <a:pt x="332" y="45"/>
                  </a:cubicBezTo>
                  <a:cubicBezTo>
                    <a:pt x="331" y="47"/>
                    <a:pt x="331" y="49"/>
                    <a:pt x="331" y="52"/>
                  </a:cubicBezTo>
                  <a:lnTo>
                    <a:pt x="361" y="52"/>
                  </a:lnTo>
                  <a:close/>
                  <a:moveTo>
                    <a:pt x="436" y="85"/>
                  </a:moveTo>
                  <a:cubicBezTo>
                    <a:pt x="436" y="86"/>
                    <a:pt x="436" y="86"/>
                    <a:pt x="436" y="86"/>
                  </a:cubicBezTo>
                  <a:cubicBezTo>
                    <a:pt x="435" y="86"/>
                    <a:pt x="435" y="87"/>
                    <a:pt x="435" y="87"/>
                  </a:cubicBezTo>
                  <a:cubicBezTo>
                    <a:pt x="434" y="87"/>
                    <a:pt x="434" y="87"/>
                    <a:pt x="433" y="87"/>
                  </a:cubicBezTo>
                  <a:cubicBezTo>
                    <a:pt x="433" y="87"/>
                    <a:pt x="432" y="87"/>
                    <a:pt x="431" y="87"/>
                  </a:cubicBezTo>
                  <a:cubicBezTo>
                    <a:pt x="430" y="87"/>
                    <a:pt x="430" y="87"/>
                    <a:pt x="429" y="87"/>
                  </a:cubicBezTo>
                  <a:cubicBezTo>
                    <a:pt x="428" y="87"/>
                    <a:pt x="428" y="87"/>
                    <a:pt x="428" y="87"/>
                  </a:cubicBezTo>
                  <a:cubicBezTo>
                    <a:pt x="427" y="87"/>
                    <a:pt x="427" y="86"/>
                    <a:pt x="427" y="86"/>
                  </a:cubicBezTo>
                  <a:cubicBezTo>
                    <a:pt x="427" y="86"/>
                    <a:pt x="427" y="86"/>
                    <a:pt x="427" y="85"/>
                  </a:cubicBezTo>
                  <a:lnTo>
                    <a:pt x="427" y="78"/>
                  </a:lnTo>
                  <a:cubicBezTo>
                    <a:pt x="424" y="81"/>
                    <a:pt x="421" y="84"/>
                    <a:pt x="417" y="85"/>
                  </a:cubicBezTo>
                  <a:cubicBezTo>
                    <a:pt x="414" y="87"/>
                    <a:pt x="411" y="88"/>
                    <a:pt x="407" y="88"/>
                  </a:cubicBezTo>
                  <a:cubicBezTo>
                    <a:pt x="403" y="88"/>
                    <a:pt x="399" y="87"/>
                    <a:pt x="396" y="86"/>
                  </a:cubicBezTo>
                  <a:cubicBezTo>
                    <a:pt x="393" y="84"/>
                    <a:pt x="391" y="82"/>
                    <a:pt x="389" y="79"/>
                  </a:cubicBezTo>
                  <a:cubicBezTo>
                    <a:pt x="387" y="76"/>
                    <a:pt x="386" y="73"/>
                    <a:pt x="385" y="70"/>
                  </a:cubicBezTo>
                  <a:cubicBezTo>
                    <a:pt x="384" y="66"/>
                    <a:pt x="384" y="62"/>
                    <a:pt x="384" y="58"/>
                  </a:cubicBezTo>
                  <a:cubicBezTo>
                    <a:pt x="384" y="53"/>
                    <a:pt x="385" y="49"/>
                    <a:pt x="386" y="45"/>
                  </a:cubicBezTo>
                  <a:cubicBezTo>
                    <a:pt x="387" y="41"/>
                    <a:pt x="388" y="38"/>
                    <a:pt x="390" y="35"/>
                  </a:cubicBezTo>
                  <a:cubicBezTo>
                    <a:pt x="392" y="32"/>
                    <a:pt x="395" y="30"/>
                    <a:pt x="398" y="29"/>
                  </a:cubicBezTo>
                  <a:cubicBezTo>
                    <a:pt x="401" y="27"/>
                    <a:pt x="404" y="26"/>
                    <a:pt x="408" y="26"/>
                  </a:cubicBezTo>
                  <a:cubicBezTo>
                    <a:pt x="412" y="26"/>
                    <a:pt x="415" y="27"/>
                    <a:pt x="417" y="28"/>
                  </a:cubicBezTo>
                  <a:cubicBezTo>
                    <a:pt x="420" y="30"/>
                    <a:pt x="423" y="32"/>
                    <a:pt x="425" y="35"/>
                  </a:cubicBezTo>
                  <a:lnTo>
                    <a:pt x="425" y="2"/>
                  </a:lnTo>
                  <a:cubicBezTo>
                    <a:pt x="425" y="2"/>
                    <a:pt x="425" y="2"/>
                    <a:pt x="426" y="1"/>
                  </a:cubicBezTo>
                  <a:cubicBezTo>
                    <a:pt x="426" y="1"/>
                    <a:pt x="426" y="1"/>
                    <a:pt x="426" y="1"/>
                  </a:cubicBezTo>
                  <a:cubicBezTo>
                    <a:pt x="427" y="1"/>
                    <a:pt x="427" y="0"/>
                    <a:pt x="428" y="0"/>
                  </a:cubicBezTo>
                  <a:cubicBezTo>
                    <a:pt x="429" y="0"/>
                    <a:pt x="430" y="0"/>
                    <a:pt x="431" y="0"/>
                  </a:cubicBezTo>
                  <a:cubicBezTo>
                    <a:pt x="432" y="0"/>
                    <a:pt x="432" y="0"/>
                    <a:pt x="433" y="0"/>
                  </a:cubicBezTo>
                  <a:cubicBezTo>
                    <a:pt x="434" y="0"/>
                    <a:pt x="434" y="1"/>
                    <a:pt x="435" y="1"/>
                  </a:cubicBezTo>
                  <a:cubicBezTo>
                    <a:pt x="435" y="1"/>
                    <a:pt x="435" y="1"/>
                    <a:pt x="435" y="1"/>
                  </a:cubicBezTo>
                  <a:cubicBezTo>
                    <a:pt x="436" y="2"/>
                    <a:pt x="436" y="2"/>
                    <a:pt x="436" y="2"/>
                  </a:cubicBezTo>
                  <a:lnTo>
                    <a:pt x="436" y="85"/>
                  </a:lnTo>
                  <a:close/>
                  <a:moveTo>
                    <a:pt x="425" y="46"/>
                  </a:moveTo>
                  <a:cubicBezTo>
                    <a:pt x="423" y="42"/>
                    <a:pt x="420" y="40"/>
                    <a:pt x="417" y="38"/>
                  </a:cubicBezTo>
                  <a:cubicBezTo>
                    <a:pt x="415" y="36"/>
                    <a:pt x="412" y="35"/>
                    <a:pt x="409" y="35"/>
                  </a:cubicBezTo>
                  <a:cubicBezTo>
                    <a:pt x="407" y="35"/>
                    <a:pt x="404" y="36"/>
                    <a:pt x="402" y="37"/>
                  </a:cubicBezTo>
                  <a:cubicBezTo>
                    <a:pt x="401" y="38"/>
                    <a:pt x="399" y="40"/>
                    <a:pt x="398" y="42"/>
                  </a:cubicBezTo>
                  <a:cubicBezTo>
                    <a:pt x="397" y="44"/>
                    <a:pt x="396" y="46"/>
                    <a:pt x="395" y="49"/>
                  </a:cubicBezTo>
                  <a:cubicBezTo>
                    <a:pt x="395" y="52"/>
                    <a:pt x="395" y="54"/>
                    <a:pt x="395" y="57"/>
                  </a:cubicBezTo>
                  <a:cubicBezTo>
                    <a:pt x="395" y="60"/>
                    <a:pt x="395" y="62"/>
                    <a:pt x="395" y="65"/>
                  </a:cubicBezTo>
                  <a:cubicBezTo>
                    <a:pt x="396" y="68"/>
                    <a:pt x="397" y="70"/>
                    <a:pt x="398" y="72"/>
                  </a:cubicBezTo>
                  <a:cubicBezTo>
                    <a:pt x="399" y="74"/>
                    <a:pt x="400" y="76"/>
                    <a:pt x="402" y="77"/>
                  </a:cubicBezTo>
                  <a:cubicBezTo>
                    <a:pt x="404" y="79"/>
                    <a:pt x="406" y="79"/>
                    <a:pt x="409" y="79"/>
                  </a:cubicBezTo>
                  <a:cubicBezTo>
                    <a:pt x="410" y="79"/>
                    <a:pt x="411" y="79"/>
                    <a:pt x="413" y="79"/>
                  </a:cubicBezTo>
                  <a:cubicBezTo>
                    <a:pt x="414" y="78"/>
                    <a:pt x="415" y="78"/>
                    <a:pt x="417" y="77"/>
                  </a:cubicBezTo>
                  <a:cubicBezTo>
                    <a:pt x="418" y="76"/>
                    <a:pt x="419" y="75"/>
                    <a:pt x="421" y="73"/>
                  </a:cubicBezTo>
                  <a:cubicBezTo>
                    <a:pt x="422" y="72"/>
                    <a:pt x="424" y="70"/>
                    <a:pt x="425" y="68"/>
                  </a:cubicBezTo>
                  <a:lnTo>
                    <a:pt x="425" y="46"/>
                  </a:lnTo>
                  <a:close/>
                  <a:moveTo>
                    <a:pt x="530" y="82"/>
                  </a:moveTo>
                  <a:cubicBezTo>
                    <a:pt x="530" y="83"/>
                    <a:pt x="530" y="84"/>
                    <a:pt x="530" y="84"/>
                  </a:cubicBezTo>
                  <a:cubicBezTo>
                    <a:pt x="530" y="85"/>
                    <a:pt x="529" y="85"/>
                    <a:pt x="529" y="86"/>
                  </a:cubicBezTo>
                  <a:cubicBezTo>
                    <a:pt x="529" y="86"/>
                    <a:pt x="529" y="87"/>
                    <a:pt x="528" y="87"/>
                  </a:cubicBezTo>
                  <a:cubicBezTo>
                    <a:pt x="528" y="87"/>
                    <a:pt x="528" y="87"/>
                    <a:pt x="528" y="87"/>
                  </a:cubicBezTo>
                  <a:lnTo>
                    <a:pt x="489" y="87"/>
                  </a:lnTo>
                  <a:cubicBezTo>
                    <a:pt x="488" y="87"/>
                    <a:pt x="487" y="87"/>
                    <a:pt x="486" y="86"/>
                  </a:cubicBezTo>
                  <a:cubicBezTo>
                    <a:pt x="485" y="85"/>
                    <a:pt x="485" y="84"/>
                    <a:pt x="485" y="83"/>
                  </a:cubicBezTo>
                  <a:lnTo>
                    <a:pt x="485" y="10"/>
                  </a:lnTo>
                  <a:cubicBezTo>
                    <a:pt x="485" y="9"/>
                    <a:pt x="485" y="8"/>
                    <a:pt x="486" y="7"/>
                  </a:cubicBezTo>
                  <a:cubicBezTo>
                    <a:pt x="487" y="6"/>
                    <a:pt x="488" y="6"/>
                    <a:pt x="489" y="6"/>
                  </a:cubicBezTo>
                  <a:lnTo>
                    <a:pt x="527" y="6"/>
                  </a:lnTo>
                  <a:cubicBezTo>
                    <a:pt x="527" y="6"/>
                    <a:pt x="528" y="6"/>
                    <a:pt x="528" y="6"/>
                  </a:cubicBezTo>
                  <a:cubicBezTo>
                    <a:pt x="528" y="6"/>
                    <a:pt x="529" y="7"/>
                    <a:pt x="529" y="7"/>
                  </a:cubicBezTo>
                  <a:cubicBezTo>
                    <a:pt x="529" y="8"/>
                    <a:pt x="529" y="8"/>
                    <a:pt x="529" y="9"/>
                  </a:cubicBezTo>
                  <a:cubicBezTo>
                    <a:pt x="529" y="9"/>
                    <a:pt x="529" y="10"/>
                    <a:pt x="529" y="11"/>
                  </a:cubicBezTo>
                  <a:cubicBezTo>
                    <a:pt x="529" y="11"/>
                    <a:pt x="529" y="12"/>
                    <a:pt x="529" y="13"/>
                  </a:cubicBezTo>
                  <a:cubicBezTo>
                    <a:pt x="529" y="13"/>
                    <a:pt x="529" y="14"/>
                    <a:pt x="529" y="14"/>
                  </a:cubicBezTo>
                  <a:cubicBezTo>
                    <a:pt x="529" y="14"/>
                    <a:pt x="528" y="15"/>
                    <a:pt x="528" y="15"/>
                  </a:cubicBezTo>
                  <a:cubicBezTo>
                    <a:pt x="528" y="15"/>
                    <a:pt x="527" y="15"/>
                    <a:pt x="527" y="15"/>
                  </a:cubicBezTo>
                  <a:lnTo>
                    <a:pt x="496" y="15"/>
                  </a:lnTo>
                  <a:lnTo>
                    <a:pt x="496" y="40"/>
                  </a:lnTo>
                  <a:lnTo>
                    <a:pt x="523" y="40"/>
                  </a:lnTo>
                  <a:cubicBezTo>
                    <a:pt x="523" y="40"/>
                    <a:pt x="523" y="40"/>
                    <a:pt x="524" y="41"/>
                  </a:cubicBezTo>
                  <a:cubicBezTo>
                    <a:pt x="524" y="41"/>
                    <a:pt x="524" y="41"/>
                    <a:pt x="524" y="41"/>
                  </a:cubicBezTo>
                  <a:cubicBezTo>
                    <a:pt x="524" y="42"/>
                    <a:pt x="525" y="42"/>
                    <a:pt x="525" y="43"/>
                  </a:cubicBezTo>
                  <a:cubicBezTo>
                    <a:pt x="525" y="43"/>
                    <a:pt x="525" y="44"/>
                    <a:pt x="525" y="45"/>
                  </a:cubicBezTo>
                  <a:cubicBezTo>
                    <a:pt x="525" y="46"/>
                    <a:pt x="525" y="46"/>
                    <a:pt x="525" y="47"/>
                  </a:cubicBezTo>
                  <a:cubicBezTo>
                    <a:pt x="525" y="47"/>
                    <a:pt x="524" y="48"/>
                    <a:pt x="524" y="48"/>
                  </a:cubicBezTo>
                  <a:cubicBezTo>
                    <a:pt x="524" y="48"/>
                    <a:pt x="524" y="49"/>
                    <a:pt x="524" y="49"/>
                  </a:cubicBezTo>
                  <a:cubicBezTo>
                    <a:pt x="523" y="49"/>
                    <a:pt x="523" y="49"/>
                    <a:pt x="523" y="49"/>
                  </a:cubicBezTo>
                  <a:lnTo>
                    <a:pt x="496" y="49"/>
                  </a:lnTo>
                  <a:lnTo>
                    <a:pt x="496" y="78"/>
                  </a:lnTo>
                  <a:lnTo>
                    <a:pt x="528" y="78"/>
                  </a:lnTo>
                  <a:cubicBezTo>
                    <a:pt x="528" y="78"/>
                    <a:pt x="528" y="78"/>
                    <a:pt x="528" y="78"/>
                  </a:cubicBezTo>
                  <a:cubicBezTo>
                    <a:pt x="529" y="78"/>
                    <a:pt x="529" y="79"/>
                    <a:pt x="529" y="79"/>
                  </a:cubicBezTo>
                  <a:cubicBezTo>
                    <a:pt x="529" y="79"/>
                    <a:pt x="530" y="80"/>
                    <a:pt x="530" y="80"/>
                  </a:cubicBezTo>
                  <a:cubicBezTo>
                    <a:pt x="530" y="81"/>
                    <a:pt x="530" y="82"/>
                    <a:pt x="530" y="82"/>
                  </a:cubicBezTo>
                  <a:close/>
                  <a:moveTo>
                    <a:pt x="594" y="29"/>
                  </a:moveTo>
                  <a:cubicBezTo>
                    <a:pt x="594" y="29"/>
                    <a:pt x="594" y="29"/>
                    <a:pt x="594" y="30"/>
                  </a:cubicBezTo>
                  <a:cubicBezTo>
                    <a:pt x="594" y="30"/>
                    <a:pt x="594" y="30"/>
                    <a:pt x="594" y="30"/>
                  </a:cubicBezTo>
                  <a:cubicBezTo>
                    <a:pt x="594" y="30"/>
                    <a:pt x="593" y="31"/>
                    <a:pt x="593" y="31"/>
                  </a:cubicBezTo>
                  <a:cubicBezTo>
                    <a:pt x="593" y="31"/>
                    <a:pt x="593" y="31"/>
                    <a:pt x="593" y="32"/>
                  </a:cubicBezTo>
                  <a:lnTo>
                    <a:pt x="574" y="85"/>
                  </a:lnTo>
                  <a:cubicBezTo>
                    <a:pt x="574" y="86"/>
                    <a:pt x="574" y="86"/>
                    <a:pt x="573" y="86"/>
                  </a:cubicBezTo>
                  <a:cubicBezTo>
                    <a:pt x="573" y="86"/>
                    <a:pt x="573" y="87"/>
                    <a:pt x="572" y="87"/>
                  </a:cubicBezTo>
                  <a:cubicBezTo>
                    <a:pt x="572" y="87"/>
                    <a:pt x="571" y="87"/>
                    <a:pt x="570" y="87"/>
                  </a:cubicBezTo>
                  <a:cubicBezTo>
                    <a:pt x="569" y="87"/>
                    <a:pt x="568" y="87"/>
                    <a:pt x="567" y="87"/>
                  </a:cubicBezTo>
                  <a:cubicBezTo>
                    <a:pt x="566" y="87"/>
                    <a:pt x="565" y="87"/>
                    <a:pt x="564" y="87"/>
                  </a:cubicBezTo>
                  <a:cubicBezTo>
                    <a:pt x="563" y="87"/>
                    <a:pt x="562" y="87"/>
                    <a:pt x="562" y="87"/>
                  </a:cubicBezTo>
                  <a:cubicBezTo>
                    <a:pt x="561" y="87"/>
                    <a:pt x="561" y="86"/>
                    <a:pt x="561" y="86"/>
                  </a:cubicBezTo>
                  <a:cubicBezTo>
                    <a:pt x="560" y="86"/>
                    <a:pt x="560" y="85"/>
                    <a:pt x="560" y="85"/>
                  </a:cubicBezTo>
                  <a:lnTo>
                    <a:pt x="541" y="32"/>
                  </a:lnTo>
                  <a:cubicBezTo>
                    <a:pt x="541" y="31"/>
                    <a:pt x="540" y="31"/>
                    <a:pt x="540" y="30"/>
                  </a:cubicBezTo>
                  <a:cubicBezTo>
                    <a:pt x="540" y="30"/>
                    <a:pt x="540" y="30"/>
                    <a:pt x="540" y="29"/>
                  </a:cubicBezTo>
                  <a:cubicBezTo>
                    <a:pt x="540" y="29"/>
                    <a:pt x="540" y="29"/>
                    <a:pt x="540" y="29"/>
                  </a:cubicBezTo>
                  <a:cubicBezTo>
                    <a:pt x="540" y="29"/>
                    <a:pt x="540" y="28"/>
                    <a:pt x="540" y="28"/>
                  </a:cubicBezTo>
                  <a:cubicBezTo>
                    <a:pt x="541" y="28"/>
                    <a:pt x="541" y="28"/>
                    <a:pt x="541" y="28"/>
                  </a:cubicBezTo>
                  <a:cubicBezTo>
                    <a:pt x="542" y="27"/>
                    <a:pt x="542" y="27"/>
                    <a:pt x="543" y="27"/>
                  </a:cubicBezTo>
                  <a:cubicBezTo>
                    <a:pt x="543" y="27"/>
                    <a:pt x="544" y="27"/>
                    <a:pt x="545" y="27"/>
                  </a:cubicBezTo>
                  <a:cubicBezTo>
                    <a:pt x="546" y="27"/>
                    <a:pt x="547" y="27"/>
                    <a:pt x="548" y="27"/>
                  </a:cubicBezTo>
                  <a:cubicBezTo>
                    <a:pt x="549" y="27"/>
                    <a:pt x="549" y="27"/>
                    <a:pt x="550" y="28"/>
                  </a:cubicBezTo>
                  <a:cubicBezTo>
                    <a:pt x="550" y="28"/>
                    <a:pt x="550" y="28"/>
                    <a:pt x="551" y="28"/>
                  </a:cubicBezTo>
                  <a:cubicBezTo>
                    <a:pt x="551" y="28"/>
                    <a:pt x="551" y="29"/>
                    <a:pt x="551" y="29"/>
                  </a:cubicBezTo>
                  <a:lnTo>
                    <a:pt x="567" y="76"/>
                  </a:lnTo>
                  <a:lnTo>
                    <a:pt x="567" y="76"/>
                  </a:lnTo>
                  <a:lnTo>
                    <a:pt x="568" y="76"/>
                  </a:lnTo>
                  <a:lnTo>
                    <a:pt x="583" y="29"/>
                  </a:lnTo>
                  <a:cubicBezTo>
                    <a:pt x="583" y="29"/>
                    <a:pt x="583" y="28"/>
                    <a:pt x="584" y="28"/>
                  </a:cubicBezTo>
                  <a:cubicBezTo>
                    <a:pt x="584" y="28"/>
                    <a:pt x="584" y="28"/>
                    <a:pt x="585" y="28"/>
                  </a:cubicBezTo>
                  <a:cubicBezTo>
                    <a:pt x="585" y="27"/>
                    <a:pt x="585" y="27"/>
                    <a:pt x="586" y="27"/>
                  </a:cubicBezTo>
                  <a:cubicBezTo>
                    <a:pt x="587" y="27"/>
                    <a:pt x="588" y="27"/>
                    <a:pt x="589" y="27"/>
                  </a:cubicBezTo>
                  <a:cubicBezTo>
                    <a:pt x="590" y="27"/>
                    <a:pt x="591" y="27"/>
                    <a:pt x="591" y="27"/>
                  </a:cubicBezTo>
                  <a:cubicBezTo>
                    <a:pt x="592" y="27"/>
                    <a:pt x="592" y="27"/>
                    <a:pt x="593" y="28"/>
                  </a:cubicBezTo>
                  <a:cubicBezTo>
                    <a:pt x="593" y="28"/>
                    <a:pt x="593" y="28"/>
                    <a:pt x="593" y="28"/>
                  </a:cubicBezTo>
                  <a:cubicBezTo>
                    <a:pt x="594" y="28"/>
                    <a:pt x="594" y="29"/>
                    <a:pt x="594" y="29"/>
                  </a:cubicBezTo>
                  <a:close/>
                  <a:moveTo>
                    <a:pt x="660" y="55"/>
                  </a:moveTo>
                  <a:cubicBezTo>
                    <a:pt x="660" y="56"/>
                    <a:pt x="659" y="58"/>
                    <a:pt x="658" y="58"/>
                  </a:cubicBezTo>
                  <a:cubicBezTo>
                    <a:pt x="658" y="59"/>
                    <a:pt x="657" y="59"/>
                    <a:pt x="656" y="59"/>
                  </a:cubicBezTo>
                  <a:lnTo>
                    <a:pt x="619" y="59"/>
                  </a:lnTo>
                  <a:cubicBezTo>
                    <a:pt x="619" y="62"/>
                    <a:pt x="619" y="65"/>
                    <a:pt x="619" y="68"/>
                  </a:cubicBezTo>
                  <a:cubicBezTo>
                    <a:pt x="620" y="70"/>
                    <a:pt x="621" y="72"/>
                    <a:pt x="623" y="74"/>
                  </a:cubicBezTo>
                  <a:cubicBezTo>
                    <a:pt x="624" y="76"/>
                    <a:pt x="626" y="77"/>
                    <a:pt x="628" y="78"/>
                  </a:cubicBezTo>
                  <a:cubicBezTo>
                    <a:pt x="631" y="79"/>
                    <a:pt x="634" y="80"/>
                    <a:pt x="637" y="80"/>
                  </a:cubicBezTo>
                  <a:cubicBezTo>
                    <a:pt x="640" y="80"/>
                    <a:pt x="642" y="80"/>
                    <a:pt x="644" y="79"/>
                  </a:cubicBezTo>
                  <a:cubicBezTo>
                    <a:pt x="646" y="79"/>
                    <a:pt x="648" y="78"/>
                    <a:pt x="649" y="78"/>
                  </a:cubicBezTo>
                  <a:cubicBezTo>
                    <a:pt x="651" y="77"/>
                    <a:pt x="652" y="77"/>
                    <a:pt x="653" y="76"/>
                  </a:cubicBezTo>
                  <a:cubicBezTo>
                    <a:pt x="654" y="76"/>
                    <a:pt x="655" y="75"/>
                    <a:pt x="655" y="75"/>
                  </a:cubicBezTo>
                  <a:cubicBezTo>
                    <a:pt x="656" y="75"/>
                    <a:pt x="656" y="76"/>
                    <a:pt x="656" y="76"/>
                  </a:cubicBezTo>
                  <a:cubicBezTo>
                    <a:pt x="657" y="76"/>
                    <a:pt x="657" y="76"/>
                    <a:pt x="657" y="76"/>
                  </a:cubicBezTo>
                  <a:cubicBezTo>
                    <a:pt x="657" y="77"/>
                    <a:pt x="657" y="77"/>
                    <a:pt x="657" y="78"/>
                  </a:cubicBezTo>
                  <a:cubicBezTo>
                    <a:pt x="657" y="78"/>
                    <a:pt x="657" y="79"/>
                    <a:pt x="657" y="79"/>
                  </a:cubicBezTo>
                  <a:cubicBezTo>
                    <a:pt x="657" y="80"/>
                    <a:pt x="657" y="81"/>
                    <a:pt x="657" y="81"/>
                  </a:cubicBezTo>
                  <a:cubicBezTo>
                    <a:pt x="657" y="81"/>
                    <a:pt x="657" y="82"/>
                    <a:pt x="657" y="82"/>
                  </a:cubicBezTo>
                  <a:cubicBezTo>
                    <a:pt x="657" y="82"/>
                    <a:pt x="657" y="83"/>
                    <a:pt x="657" y="83"/>
                  </a:cubicBezTo>
                  <a:cubicBezTo>
                    <a:pt x="657" y="83"/>
                    <a:pt x="656" y="83"/>
                    <a:pt x="656" y="84"/>
                  </a:cubicBezTo>
                  <a:cubicBezTo>
                    <a:pt x="656" y="84"/>
                    <a:pt x="655" y="84"/>
                    <a:pt x="654" y="85"/>
                  </a:cubicBezTo>
                  <a:cubicBezTo>
                    <a:pt x="653" y="85"/>
                    <a:pt x="651" y="86"/>
                    <a:pt x="650" y="86"/>
                  </a:cubicBezTo>
                  <a:cubicBezTo>
                    <a:pt x="648" y="87"/>
                    <a:pt x="646" y="87"/>
                    <a:pt x="643" y="88"/>
                  </a:cubicBezTo>
                  <a:cubicBezTo>
                    <a:pt x="641" y="88"/>
                    <a:pt x="639" y="88"/>
                    <a:pt x="636" y="88"/>
                  </a:cubicBezTo>
                  <a:cubicBezTo>
                    <a:pt x="631" y="88"/>
                    <a:pt x="627" y="87"/>
                    <a:pt x="624" y="86"/>
                  </a:cubicBezTo>
                  <a:cubicBezTo>
                    <a:pt x="620" y="85"/>
                    <a:pt x="617" y="83"/>
                    <a:pt x="615" y="80"/>
                  </a:cubicBezTo>
                  <a:cubicBezTo>
                    <a:pt x="613" y="78"/>
                    <a:pt x="611" y="75"/>
                    <a:pt x="610" y="71"/>
                  </a:cubicBezTo>
                  <a:cubicBezTo>
                    <a:pt x="608" y="67"/>
                    <a:pt x="608" y="63"/>
                    <a:pt x="608" y="57"/>
                  </a:cubicBezTo>
                  <a:cubicBezTo>
                    <a:pt x="608" y="53"/>
                    <a:pt x="608" y="48"/>
                    <a:pt x="610" y="44"/>
                  </a:cubicBezTo>
                  <a:cubicBezTo>
                    <a:pt x="611" y="41"/>
                    <a:pt x="613" y="37"/>
                    <a:pt x="615" y="35"/>
                  </a:cubicBezTo>
                  <a:cubicBezTo>
                    <a:pt x="617" y="32"/>
                    <a:pt x="620" y="30"/>
                    <a:pt x="624" y="28"/>
                  </a:cubicBezTo>
                  <a:cubicBezTo>
                    <a:pt x="627" y="27"/>
                    <a:pt x="631" y="26"/>
                    <a:pt x="635" y="26"/>
                  </a:cubicBezTo>
                  <a:cubicBezTo>
                    <a:pt x="639" y="26"/>
                    <a:pt x="643" y="27"/>
                    <a:pt x="646" y="28"/>
                  </a:cubicBezTo>
                  <a:cubicBezTo>
                    <a:pt x="649" y="30"/>
                    <a:pt x="652" y="32"/>
                    <a:pt x="654" y="34"/>
                  </a:cubicBezTo>
                  <a:cubicBezTo>
                    <a:pt x="656" y="37"/>
                    <a:pt x="657" y="39"/>
                    <a:pt x="658" y="43"/>
                  </a:cubicBezTo>
                  <a:cubicBezTo>
                    <a:pt x="659" y="46"/>
                    <a:pt x="660" y="49"/>
                    <a:pt x="660" y="53"/>
                  </a:cubicBezTo>
                  <a:lnTo>
                    <a:pt x="660" y="55"/>
                  </a:lnTo>
                  <a:close/>
                  <a:moveTo>
                    <a:pt x="649" y="52"/>
                  </a:moveTo>
                  <a:cubicBezTo>
                    <a:pt x="649" y="46"/>
                    <a:pt x="648" y="42"/>
                    <a:pt x="646" y="39"/>
                  </a:cubicBezTo>
                  <a:cubicBezTo>
                    <a:pt x="643" y="36"/>
                    <a:pt x="639" y="34"/>
                    <a:pt x="634" y="34"/>
                  </a:cubicBezTo>
                  <a:cubicBezTo>
                    <a:pt x="632" y="34"/>
                    <a:pt x="629" y="35"/>
                    <a:pt x="628" y="36"/>
                  </a:cubicBezTo>
                  <a:cubicBezTo>
                    <a:pt x="626" y="37"/>
                    <a:pt x="624" y="38"/>
                    <a:pt x="623" y="40"/>
                  </a:cubicBezTo>
                  <a:cubicBezTo>
                    <a:pt x="621" y="41"/>
                    <a:pt x="620" y="43"/>
                    <a:pt x="620" y="45"/>
                  </a:cubicBezTo>
                  <a:cubicBezTo>
                    <a:pt x="619" y="47"/>
                    <a:pt x="619" y="49"/>
                    <a:pt x="619" y="52"/>
                  </a:cubicBezTo>
                  <a:lnTo>
                    <a:pt x="649" y="52"/>
                  </a:lnTo>
                  <a:close/>
                  <a:moveTo>
                    <a:pt x="724" y="85"/>
                  </a:moveTo>
                  <a:cubicBezTo>
                    <a:pt x="724" y="86"/>
                    <a:pt x="724" y="86"/>
                    <a:pt x="724" y="86"/>
                  </a:cubicBezTo>
                  <a:cubicBezTo>
                    <a:pt x="724" y="86"/>
                    <a:pt x="723" y="87"/>
                    <a:pt x="723" y="87"/>
                  </a:cubicBezTo>
                  <a:cubicBezTo>
                    <a:pt x="723" y="87"/>
                    <a:pt x="722" y="87"/>
                    <a:pt x="721" y="87"/>
                  </a:cubicBezTo>
                  <a:cubicBezTo>
                    <a:pt x="721" y="87"/>
                    <a:pt x="720" y="87"/>
                    <a:pt x="719" y="87"/>
                  </a:cubicBezTo>
                  <a:cubicBezTo>
                    <a:pt x="718" y="87"/>
                    <a:pt x="717" y="87"/>
                    <a:pt x="716" y="87"/>
                  </a:cubicBezTo>
                  <a:cubicBezTo>
                    <a:pt x="716" y="87"/>
                    <a:pt x="715" y="87"/>
                    <a:pt x="715" y="87"/>
                  </a:cubicBezTo>
                  <a:cubicBezTo>
                    <a:pt x="714" y="87"/>
                    <a:pt x="714" y="86"/>
                    <a:pt x="714" y="86"/>
                  </a:cubicBezTo>
                  <a:cubicBezTo>
                    <a:pt x="714" y="86"/>
                    <a:pt x="714" y="86"/>
                    <a:pt x="714" y="85"/>
                  </a:cubicBezTo>
                  <a:lnTo>
                    <a:pt x="714" y="52"/>
                  </a:lnTo>
                  <a:cubicBezTo>
                    <a:pt x="714" y="49"/>
                    <a:pt x="713" y="47"/>
                    <a:pt x="713" y="45"/>
                  </a:cubicBezTo>
                  <a:cubicBezTo>
                    <a:pt x="712" y="43"/>
                    <a:pt x="712" y="41"/>
                    <a:pt x="711" y="40"/>
                  </a:cubicBezTo>
                  <a:cubicBezTo>
                    <a:pt x="710" y="38"/>
                    <a:pt x="709" y="37"/>
                    <a:pt x="707" y="36"/>
                  </a:cubicBezTo>
                  <a:cubicBezTo>
                    <a:pt x="706" y="36"/>
                    <a:pt x="704" y="35"/>
                    <a:pt x="702" y="35"/>
                  </a:cubicBezTo>
                  <a:cubicBezTo>
                    <a:pt x="699" y="35"/>
                    <a:pt x="697" y="36"/>
                    <a:pt x="694" y="38"/>
                  </a:cubicBezTo>
                  <a:cubicBezTo>
                    <a:pt x="691" y="40"/>
                    <a:pt x="689" y="43"/>
                    <a:pt x="686" y="46"/>
                  </a:cubicBezTo>
                  <a:lnTo>
                    <a:pt x="686" y="85"/>
                  </a:lnTo>
                  <a:cubicBezTo>
                    <a:pt x="686" y="86"/>
                    <a:pt x="686" y="86"/>
                    <a:pt x="686" y="86"/>
                  </a:cubicBezTo>
                  <a:cubicBezTo>
                    <a:pt x="685" y="86"/>
                    <a:pt x="685" y="87"/>
                    <a:pt x="685" y="87"/>
                  </a:cubicBezTo>
                  <a:cubicBezTo>
                    <a:pt x="684" y="87"/>
                    <a:pt x="684" y="87"/>
                    <a:pt x="683" y="87"/>
                  </a:cubicBezTo>
                  <a:cubicBezTo>
                    <a:pt x="683" y="87"/>
                    <a:pt x="682" y="87"/>
                    <a:pt x="681" y="87"/>
                  </a:cubicBezTo>
                  <a:cubicBezTo>
                    <a:pt x="680" y="87"/>
                    <a:pt x="679" y="87"/>
                    <a:pt x="678" y="87"/>
                  </a:cubicBezTo>
                  <a:cubicBezTo>
                    <a:pt x="678" y="87"/>
                    <a:pt x="677" y="87"/>
                    <a:pt x="677" y="87"/>
                  </a:cubicBezTo>
                  <a:cubicBezTo>
                    <a:pt x="676" y="87"/>
                    <a:pt x="676" y="86"/>
                    <a:pt x="676" y="86"/>
                  </a:cubicBezTo>
                  <a:cubicBezTo>
                    <a:pt x="676" y="86"/>
                    <a:pt x="676" y="86"/>
                    <a:pt x="676" y="85"/>
                  </a:cubicBezTo>
                  <a:lnTo>
                    <a:pt x="676" y="29"/>
                  </a:lnTo>
                  <a:cubicBezTo>
                    <a:pt x="676" y="29"/>
                    <a:pt x="676" y="29"/>
                    <a:pt x="676" y="28"/>
                  </a:cubicBezTo>
                  <a:cubicBezTo>
                    <a:pt x="676" y="28"/>
                    <a:pt x="676" y="28"/>
                    <a:pt x="677" y="28"/>
                  </a:cubicBezTo>
                  <a:cubicBezTo>
                    <a:pt x="677" y="27"/>
                    <a:pt x="677" y="27"/>
                    <a:pt x="678" y="27"/>
                  </a:cubicBezTo>
                  <a:cubicBezTo>
                    <a:pt x="679" y="27"/>
                    <a:pt x="679" y="27"/>
                    <a:pt x="680" y="27"/>
                  </a:cubicBezTo>
                  <a:cubicBezTo>
                    <a:pt x="681" y="27"/>
                    <a:pt x="682" y="27"/>
                    <a:pt x="683" y="27"/>
                  </a:cubicBezTo>
                  <a:cubicBezTo>
                    <a:pt x="683" y="27"/>
                    <a:pt x="684" y="27"/>
                    <a:pt x="684" y="28"/>
                  </a:cubicBezTo>
                  <a:cubicBezTo>
                    <a:pt x="684" y="28"/>
                    <a:pt x="685" y="28"/>
                    <a:pt x="685" y="28"/>
                  </a:cubicBezTo>
                  <a:cubicBezTo>
                    <a:pt x="685" y="29"/>
                    <a:pt x="685" y="29"/>
                    <a:pt x="685" y="29"/>
                  </a:cubicBezTo>
                  <a:lnTo>
                    <a:pt x="685" y="37"/>
                  </a:lnTo>
                  <a:cubicBezTo>
                    <a:pt x="688" y="33"/>
                    <a:pt x="691" y="30"/>
                    <a:pt x="694" y="29"/>
                  </a:cubicBezTo>
                  <a:cubicBezTo>
                    <a:pt x="697" y="27"/>
                    <a:pt x="701" y="26"/>
                    <a:pt x="704" y="26"/>
                  </a:cubicBezTo>
                  <a:cubicBezTo>
                    <a:pt x="708" y="26"/>
                    <a:pt x="711" y="27"/>
                    <a:pt x="713" y="28"/>
                  </a:cubicBezTo>
                  <a:cubicBezTo>
                    <a:pt x="716" y="29"/>
                    <a:pt x="718" y="31"/>
                    <a:pt x="720" y="33"/>
                  </a:cubicBezTo>
                  <a:cubicBezTo>
                    <a:pt x="721" y="35"/>
                    <a:pt x="722" y="38"/>
                    <a:pt x="723" y="41"/>
                  </a:cubicBezTo>
                  <a:cubicBezTo>
                    <a:pt x="724" y="44"/>
                    <a:pt x="724" y="47"/>
                    <a:pt x="724" y="51"/>
                  </a:cubicBezTo>
                  <a:lnTo>
                    <a:pt x="724" y="85"/>
                  </a:lnTo>
                  <a:close/>
                  <a:moveTo>
                    <a:pt x="769" y="81"/>
                  </a:moveTo>
                  <a:cubicBezTo>
                    <a:pt x="769" y="82"/>
                    <a:pt x="769" y="83"/>
                    <a:pt x="769" y="84"/>
                  </a:cubicBezTo>
                  <a:cubicBezTo>
                    <a:pt x="768" y="85"/>
                    <a:pt x="768" y="85"/>
                    <a:pt x="768" y="86"/>
                  </a:cubicBezTo>
                  <a:cubicBezTo>
                    <a:pt x="767" y="86"/>
                    <a:pt x="767" y="86"/>
                    <a:pt x="766" y="87"/>
                  </a:cubicBezTo>
                  <a:cubicBezTo>
                    <a:pt x="766" y="87"/>
                    <a:pt x="765" y="87"/>
                    <a:pt x="764" y="87"/>
                  </a:cubicBezTo>
                  <a:cubicBezTo>
                    <a:pt x="763" y="88"/>
                    <a:pt x="762" y="88"/>
                    <a:pt x="761" y="88"/>
                  </a:cubicBezTo>
                  <a:cubicBezTo>
                    <a:pt x="760" y="88"/>
                    <a:pt x="759" y="88"/>
                    <a:pt x="758" y="88"/>
                  </a:cubicBezTo>
                  <a:cubicBezTo>
                    <a:pt x="756" y="88"/>
                    <a:pt x="753" y="88"/>
                    <a:pt x="751" y="87"/>
                  </a:cubicBezTo>
                  <a:cubicBezTo>
                    <a:pt x="749" y="86"/>
                    <a:pt x="747" y="85"/>
                    <a:pt x="746" y="83"/>
                  </a:cubicBezTo>
                  <a:cubicBezTo>
                    <a:pt x="744" y="82"/>
                    <a:pt x="744" y="80"/>
                    <a:pt x="743" y="77"/>
                  </a:cubicBezTo>
                  <a:cubicBezTo>
                    <a:pt x="742" y="75"/>
                    <a:pt x="742" y="72"/>
                    <a:pt x="742" y="69"/>
                  </a:cubicBezTo>
                  <a:lnTo>
                    <a:pt x="742" y="36"/>
                  </a:lnTo>
                  <a:lnTo>
                    <a:pt x="734" y="36"/>
                  </a:lnTo>
                  <a:cubicBezTo>
                    <a:pt x="734" y="36"/>
                    <a:pt x="733" y="36"/>
                    <a:pt x="733" y="35"/>
                  </a:cubicBezTo>
                  <a:cubicBezTo>
                    <a:pt x="732" y="34"/>
                    <a:pt x="732" y="33"/>
                    <a:pt x="732" y="32"/>
                  </a:cubicBezTo>
                  <a:cubicBezTo>
                    <a:pt x="732" y="31"/>
                    <a:pt x="732" y="30"/>
                    <a:pt x="732" y="30"/>
                  </a:cubicBezTo>
                  <a:cubicBezTo>
                    <a:pt x="732" y="29"/>
                    <a:pt x="732" y="29"/>
                    <a:pt x="733" y="28"/>
                  </a:cubicBezTo>
                  <a:cubicBezTo>
                    <a:pt x="733" y="28"/>
                    <a:pt x="733" y="28"/>
                    <a:pt x="733" y="28"/>
                  </a:cubicBezTo>
                  <a:cubicBezTo>
                    <a:pt x="734" y="28"/>
                    <a:pt x="734" y="27"/>
                    <a:pt x="734" y="27"/>
                  </a:cubicBezTo>
                  <a:lnTo>
                    <a:pt x="742" y="27"/>
                  </a:lnTo>
                  <a:lnTo>
                    <a:pt x="742" y="14"/>
                  </a:lnTo>
                  <a:cubicBezTo>
                    <a:pt x="742" y="14"/>
                    <a:pt x="742" y="14"/>
                    <a:pt x="742" y="13"/>
                  </a:cubicBezTo>
                  <a:cubicBezTo>
                    <a:pt x="742" y="13"/>
                    <a:pt x="743" y="13"/>
                    <a:pt x="743" y="13"/>
                  </a:cubicBezTo>
                  <a:cubicBezTo>
                    <a:pt x="743" y="12"/>
                    <a:pt x="744" y="12"/>
                    <a:pt x="745" y="12"/>
                  </a:cubicBezTo>
                  <a:cubicBezTo>
                    <a:pt x="745" y="12"/>
                    <a:pt x="746" y="12"/>
                    <a:pt x="747" y="12"/>
                  </a:cubicBezTo>
                  <a:cubicBezTo>
                    <a:pt x="748" y="12"/>
                    <a:pt x="749" y="12"/>
                    <a:pt x="750" y="12"/>
                  </a:cubicBezTo>
                  <a:cubicBezTo>
                    <a:pt x="750" y="12"/>
                    <a:pt x="751" y="12"/>
                    <a:pt x="751" y="13"/>
                  </a:cubicBezTo>
                  <a:cubicBezTo>
                    <a:pt x="752" y="13"/>
                    <a:pt x="752" y="13"/>
                    <a:pt x="752" y="13"/>
                  </a:cubicBezTo>
                  <a:cubicBezTo>
                    <a:pt x="752" y="14"/>
                    <a:pt x="752" y="14"/>
                    <a:pt x="752" y="14"/>
                  </a:cubicBezTo>
                  <a:lnTo>
                    <a:pt x="752" y="27"/>
                  </a:lnTo>
                  <a:lnTo>
                    <a:pt x="767" y="27"/>
                  </a:lnTo>
                  <a:cubicBezTo>
                    <a:pt x="767" y="27"/>
                    <a:pt x="767" y="28"/>
                    <a:pt x="768" y="28"/>
                  </a:cubicBezTo>
                  <a:cubicBezTo>
                    <a:pt x="768" y="28"/>
                    <a:pt x="768" y="28"/>
                    <a:pt x="768" y="28"/>
                  </a:cubicBezTo>
                  <a:cubicBezTo>
                    <a:pt x="768" y="29"/>
                    <a:pt x="769" y="29"/>
                    <a:pt x="769" y="30"/>
                  </a:cubicBezTo>
                  <a:cubicBezTo>
                    <a:pt x="769" y="30"/>
                    <a:pt x="769" y="31"/>
                    <a:pt x="769" y="32"/>
                  </a:cubicBezTo>
                  <a:cubicBezTo>
                    <a:pt x="769" y="33"/>
                    <a:pt x="769" y="34"/>
                    <a:pt x="768" y="35"/>
                  </a:cubicBezTo>
                  <a:cubicBezTo>
                    <a:pt x="768" y="36"/>
                    <a:pt x="767" y="36"/>
                    <a:pt x="767" y="36"/>
                  </a:cubicBezTo>
                  <a:lnTo>
                    <a:pt x="752" y="36"/>
                  </a:lnTo>
                  <a:lnTo>
                    <a:pt x="752" y="67"/>
                  </a:lnTo>
                  <a:cubicBezTo>
                    <a:pt x="752" y="71"/>
                    <a:pt x="753" y="74"/>
                    <a:pt x="754" y="76"/>
                  </a:cubicBezTo>
                  <a:cubicBezTo>
                    <a:pt x="755" y="78"/>
                    <a:pt x="757" y="79"/>
                    <a:pt x="760" y="79"/>
                  </a:cubicBezTo>
                  <a:cubicBezTo>
                    <a:pt x="761" y="79"/>
                    <a:pt x="762" y="79"/>
                    <a:pt x="763" y="79"/>
                  </a:cubicBezTo>
                  <a:cubicBezTo>
                    <a:pt x="764" y="79"/>
                    <a:pt x="764" y="79"/>
                    <a:pt x="765" y="78"/>
                  </a:cubicBezTo>
                  <a:cubicBezTo>
                    <a:pt x="765" y="78"/>
                    <a:pt x="766" y="78"/>
                    <a:pt x="766" y="78"/>
                  </a:cubicBezTo>
                  <a:cubicBezTo>
                    <a:pt x="767" y="78"/>
                    <a:pt x="767" y="77"/>
                    <a:pt x="767" y="77"/>
                  </a:cubicBezTo>
                  <a:cubicBezTo>
                    <a:pt x="768" y="77"/>
                    <a:pt x="768" y="77"/>
                    <a:pt x="768" y="78"/>
                  </a:cubicBezTo>
                  <a:cubicBezTo>
                    <a:pt x="768" y="78"/>
                    <a:pt x="768" y="78"/>
                    <a:pt x="768" y="78"/>
                  </a:cubicBezTo>
                  <a:cubicBezTo>
                    <a:pt x="769" y="78"/>
                    <a:pt x="769" y="79"/>
                    <a:pt x="769" y="79"/>
                  </a:cubicBezTo>
                  <a:cubicBezTo>
                    <a:pt x="769" y="80"/>
                    <a:pt x="769" y="80"/>
                    <a:pt x="769" y="81"/>
                  </a:cubicBez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1">
              <a:extLst>
                <a:ext uri="{FF2B5EF4-FFF2-40B4-BE49-F238E27FC236}">
                  <a16:creationId xmlns:a16="http://schemas.microsoft.com/office/drawing/2014/main" id="{0A858F01-4DFF-4729-9636-2368314F840F}"/>
                </a:ext>
              </a:extLst>
            </p:cNvPr>
            <p:cNvSpPr>
              <a:spLocks noEditPoints="1"/>
            </p:cNvSpPr>
            <p:nvPr/>
          </p:nvSpPr>
          <p:spPr bwMode="auto">
            <a:xfrm>
              <a:off x="4994" y="2263"/>
              <a:ext cx="906" cy="59"/>
            </a:xfrm>
            <a:custGeom>
              <a:avLst/>
              <a:gdLst>
                <a:gd name="T0" fmla="*/ 37 w 2023"/>
                <a:gd name="T1" fmla="*/ 12 h 133"/>
                <a:gd name="T2" fmla="*/ 63 w 2023"/>
                <a:gd name="T3" fmla="*/ 11 h 133"/>
                <a:gd name="T4" fmla="*/ 62 w 2023"/>
                <a:gd name="T5" fmla="*/ 16 h 133"/>
                <a:gd name="T6" fmla="*/ 159 w 2023"/>
                <a:gd name="T7" fmla="*/ 29 h 133"/>
                <a:gd name="T8" fmla="*/ 121 w 2023"/>
                <a:gd name="T9" fmla="*/ 25 h 133"/>
                <a:gd name="T10" fmla="*/ 221 w 2023"/>
                <a:gd name="T11" fmla="*/ 44 h 133"/>
                <a:gd name="T12" fmla="*/ 184 w 2023"/>
                <a:gd name="T13" fmla="*/ 34 h 133"/>
                <a:gd name="T14" fmla="*/ 282 w 2023"/>
                <a:gd name="T15" fmla="*/ 54 h 133"/>
                <a:gd name="T16" fmla="*/ 241 w 2023"/>
                <a:gd name="T17" fmla="*/ 47 h 133"/>
                <a:gd name="T18" fmla="*/ 343 w 2023"/>
                <a:gd name="T19" fmla="*/ 63 h 133"/>
                <a:gd name="T20" fmla="*/ 305 w 2023"/>
                <a:gd name="T21" fmla="*/ 55 h 133"/>
                <a:gd name="T22" fmla="*/ 401 w 2023"/>
                <a:gd name="T23" fmla="*/ 74 h 133"/>
                <a:gd name="T24" fmla="*/ 427 w 2023"/>
                <a:gd name="T25" fmla="*/ 73 h 133"/>
                <a:gd name="T26" fmla="*/ 426 w 2023"/>
                <a:gd name="T27" fmla="*/ 78 h 133"/>
                <a:gd name="T28" fmla="*/ 504 w 2023"/>
                <a:gd name="T29" fmla="*/ 84 h 133"/>
                <a:gd name="T30" fmla="*/ 503 w 2023"/>
                <a:gd name="T31" fmla="*/ 89 h 133"/>
                <a:gd name="T32" fmla="*/ 548 w 2023"/>
                <a:gd name="T33" fmla="*/ 88 h 133"/>
                <a:gd name="T34" fmla="*/ 548 w 2023"/>
                <a:gd name="T35" fmla="*/ 93 h 133"/>
                <a:gd name="T36" fmla="*/ 645 w 2023"/>
                <a:gd name="T37" fmla="*/ 98 h 133"/>
                <a:gd name="T38" fmla="*/ 607 w 2023"/>
                <a:gd name="T39" fmla="*/ 97 h 133"/>
                <a:gd name="T40" fmla="*/ 709 w 2023"/>
                <a:gd name="T41" fmla="*/ 107 h 133"/>
                <a:gd name="T42" fmla="*/ 671 w 2023"/>
                <a:gd name="T43" fmla="*/ 100 h 133"/>
                <a:gd name="T44" fmla="*/ 770 w 2023"/>
                <a:gd name="T45" fmla="*/ 112 h 133"/>
                <a:gd name="T46" fmla="*/ 729 w 2023"/>
                <a:gd name="T47" fmla="*/ 109 h 133"/>
                <a:gd name="T48" fmla="*/ 831 w 2023"/>
                <a:gd name="T49" fmla="*/ 116 h 133"/>
                <a:gd name="T50" fmla="*/ 793 w 2023"/>
                <a:gd name="T51" fmla="*/ 111 h 133"/>
                <a:gd name="T52" fmla="*/ 890 w 2023"/>
                <a:gd name="T53" fmla="*/ 122 h 133"/>
                <a:gd name="T54" fmla="*/ 916 w 2023"/>
                <a:gd name="T55" fmla="*/ 118 h 133"/>
                <a:gd name="T56" fmla="*/ 915 w 2023"/>
                <a:gd name="T57" fmla="*/ 124 h 133"/>
                <a:gd name="T58" fmla="*/ 1009 w 2023"/>
                <a:gd name="T59" fmla="*/ 124 h 133"/>
                <a:gd name="T60" fmla="*/ 1008 w 2023"/>
                <a:gd name="T61" fmla="*/ 129 h 133"/>
                <a:gd name="T62" fmla="*/ 1038 w 2023"/>
                <a:gd name="T63" fmla="*/ 124 h 133"/>
                <a:gd name="T64" fmla="*/ 1038 w 2023"/>
                <a:gd name="T65" fmla="*/ 129 h 133"/>
                <a:gd name="T66" fmla="*/ 1135 w 2023"/>
                <a:gd name="T67" fmla="*/ 126 h 133"/>
                <a:gd name="T68" fmla="*/ 1097 w 2023"/>
                <a:gd name="T69" fmla="*/ 128 h 133"/>
                <a:gd name="T70" fmla="*/ 1199 w 2023"/>
                <a:gd name="T71" fmla="*/ 129 h 133"/>
                <a:gd name="T72" fmla="*/ 1161 w 2023"/>
                <a:gd name="T73" fmla="*/ 126 h 133"/>
                <a:gd name="T74" fmla="*/ 1258 w 2023"/>
                <a:gd name="T75" fmla="*/ 133 h 133"/>
                <a:gd name="T76" fmla="*/ 1284 w 2023"/>
                <a:gd name="T77" fmla="*/ 127 h 133"/>
                <a:gd name="T78" fmla="*/ 1284 w 2023"/>
                <a:gd name="T79" fmla="*/ 133 h 133"/>
                <a:gd name="T80" fmla="*/ 1381 w 2023"/>
                <a:gd name="T81" fmla="*/ 125 h 133"/>
                <a:gd name="T82" fmla="*/ 1343 w 2023"/>
                <a:gd name="T83" fmla="*/ 129 h 133"/>
                <a:gd name="T84" fmla="*/ 1445 w 2023"/>
                <a:gd name="T85" fmla="*/ 126 h 133"/>
                <a:gd name="T86" fmla="*/ 1407 w 2023"/>
                <a:gd name="T87" fmla="*/ 124 h 133"/>
                <a:gd name="T88" fmla="*/ 1504 w 2023"/>
                <a:gd name="T89" fmla="*/ 127 h 133"/>
                <a:gd name="T90" fmla="*/ 1529 w 2023"/>
                <a:gd name="T91" fmla="*/ 121 h 133"/>
                <a:gd name="T92" fmla="*/ 1530 w 2023"/>
                <a:gd name="T93" fmla="*/ 126 h 133"/>
                <a:gd name="T94" fmla="*/ 1626 w 2023"/>
                <a:gd name="T95" fmla="*/ 114 h 133"/>
                <a:gd name="T96" fmla="*/ 1588 w 2023"/>
                <a:gd name="T97" fmla="*/ 119 h 133"/>
                <a:gd name="T98" fmla="*/ 1690 w 2023"/>
                <a:gd name="T99" fmla="*/ 112 h 133"/>
                <a:gd name="T100" fmla="*/ 1652 w 2023"/>
                <a:gd name="T101" fmla="*/ 112 h 133"/>
                <a:gd name="T102" fmla="*/ 1749 w 2023"/>
                <a:gd name="T103" fmla="*/ 110 h 133"/>
                <a:gd name="T104" fmla="*/ 1774 w 2023"/>
                <a:gd name="T105" fmla="*/ 103 h 133"/>
                <a:gd name="T106" fmla="*/ 1775 w 2023"/>
                <a:gd name="T107" fmla="*/ 108 h 133"/>
                <a:gd name="T108" fmla="*/ 1871 w 2023"/>
                <a:gd name="T109" fmla="*/ 93 h 133"/>
                <a:gd name="T110" fmla="*/ 1833 w 2023"/>
                <a:gd name="T111" fmla="*/ 99 h 133"/>
                <a:gd name="T112" fmla="*/ 1935 w 2023"/>
                <a:gd name="T113" fmla="*/ 88 h 133"/>
                <a:gd name="T114" fmla="*/ 1896 w 2023"/>
                <a:gd name="T115" fmla="*/ 90 h 133"/>
                <a:gd name="T116" fmla="*/ 1994 w 2023"/>
                <a:gd name="T117" fmla="*/ 84 h 133"/>
                <a:gd name="T118" fmla="*/ 2018 w 2023"/>
                <a:gd name="T119" fmla="*/ 76 h 133"/>
                <a:gd name="T120" fmla="*/ 2019 w 2023"/>
                <a:gd name="T121" fmla="*/ 8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3" h="133">
                  <a:moveTo>
                    <a:pt x="3" y="0"/>
                  </a:moveTo>
                  <a:lnTo>
                    <a:pt x="38" y="7"/>
                  </a:lnTo>
                  <a:cubicBezTo>
                    <a:pt x="40" y="7"/>
                    <a:pt x="40" y="8"/>
                    <a:pt x="40" y="10"/>
                  </a:cubicBezTo>
                  <a:cubicBezTo>
                    <a:pt x="40" y="11"/>
                    <a:pt x="39" y="12"/>
                    <a:pt x="37" y="12"/>
                  </a:cubicBezTo>
                  <a:lnTo>
                    <a:pt x="2" y="5"/>
                  </a:lnTo>
                  <a:cubicBezTo>
                    <a:pt x="1" y="5"/>
                    <a:pt x="0" y="3"/>
                    <a:pt x="0" y="2"/>
                  </a:cubicBezTo>
                  <a:cubicBezTo>
                    <a:pt x="0" y="1"/>
                    <a:pt x="2" y="0"/>
                    <a:pt x="3" y="0"/>
                  </a:cubicBezTo>
                  <a:close/>
                  <a:moveTo>
                    <a:pt x="63" y="11"/>
                  </a:moveTo>
                  <a:lnTo>
                    <a:pt x="99" y="18"/>
                  </a:lnTo>
                  <a:cubicBezTo>
                    <a:pt x="100" y="18"/>
                    <a:pt x="101" y="20"/>
                    <a:pt x="101" y="21"/>
                  </a:cubicBezTo>
                  <a:cubicBezTo>
                    <a:pt x="100" y="22"/>
                    <a:pt x="99" y="23"/>
                    <a:pt x="98" y="23"/>
                  </a:cubicBezTo>
                  <a:lnTo>
                    <a:pt x="62" y="16"/>
                  </a:lnTo>
                  <a:cubicBezTo>
                    <a:pt x="61" y="16"/>
                    <a:pt x="60" y="15"/>
                    <a:pt x="60" y="13"/>
                  </a:cubicBezTo>
                  <a:cubicBezTo>
                    <a:pt x="61" y="12"/>
                    <a:pt x="62" y="11"/>
                    <a:pt x="63" y="11"/>
                  </a:cubicBezTo>
                  <a:close/>
                  <a:moveTo>
                    <a:pt x="124" y="23"/>
                  </a:moveTo>
                  <a:lnTo>
                    <a:pt x="159" y="29"/>
                  </a:lnTo>
                  <a:cubicBezTo>
                    <a:pt x="160" y="30"/>
                    <a:pt x="161" y="31"/>
                    <a:pt x="161" y="32"/>
                  </a:cubicBezTo>
                  <a:cubicBezTo>
                    <a:pt x="161" y="34"/>
                    <a:pt x="159" y="35"/>
                    <a:pt x="158" y="34"/>
                  </a:cubicBezTo>
                  <a:lnTo>
                    <a:pt x="123" y="28"/>
                  </a:lnTo>
                  <a:cubicBezTo>
                    <a:pt x="121" y="27"/>
                    <a:pt x="120" y="26"/>
                    <a:pt x="121" y="25"/>
                  </a:cubicBezTo>
                  <a:cubicBezTo>
                    <a:pt x="121" y="23"/>
                    <a:pt x="122" y="22"/>
                    <a:pt x="124" y="23"/>
                  </a:cubicBezTo>
                  <a:close/>
                  <a:moveTo>
                    <a:pt x="184" y="34"/>
                  </a:moveTo>
                  <a:lnTo>
                    <a:pt x="219" y="41"/>
                  </a:lnTo>
                  <a:cubicBezTo>
                    <a:pt x="221" y="41"/>
                    <a:pt x="222" y="42"/>
                    <a:pt x="221" y="44"/>
                  </a:cubicBezTo>
                  <a:cubicBezTo>
                    <a:pt x="221" y="45"/>
                    <a:pt x="220" y="46"/>
                    <a:pt x="218" y="46"/>
                  </a:cubicBezTo>
                  <a:lnTo>
                    <a:pt x="183" y="39"/>
                  </a:lnTo>
                  <a:cubicBezTo>
                    <a:pt x="182" y="39"/>
                    <a:pt x="181" y="37"/>
                    <a:pt x="181" y="36"/>
                  </a:cubicBezTo>
                  <a:cubicBezTo>
                    <a:pt x="181" y="35"/>
                    <a:pt x="183" y="34"/>
                    <a:pt x="184" y="34"/>
                  </a:cubicBezTo>
                  <a:close/>
                  <a:moveTo>
                    <a:pt x="244" y="45"/>
                  </a:moveTo>
                  <a:lnTo>
                    <a:pt x="253" y="47"/>
                  </a:lnTo>
                  <a:lnTo>
                    <a:pt x="280" y="51"/>
                  </a:lnTo>
                  <a:cubicBezTo>
                    <a:pt x="281" y="51"/>
                    <a:pt x="282" y="52"/>
                    <a:pt x="282" y="54"/>
                  </a:cubicBezTo>
                  <a:cubicBezTo>
                    <a:pt x="282" y="55"/>
                    <a:pt x="280" y="56"/>
                    <a:pt x="279" y="56"/>
                  </a:cubicBezTo>
                  <a:lnTo>
                    <a:pt x="252" y="52"/>
                  </a:lnTo>
                  <a:lnTo>
                    <a:pt x="244" y="50"/>
                  </a:lnTo>
                  <a:cubicBezTo>
                    <a:pt x="242" y="50"/>
                    <a:pt x="241" y="49"/>
                    <a:pt x="241" y="47"/>
                  </a:cubicBezTo>
                  <a:cubicBezTo>
                    <a:pt x="242" y="46"/>
                    <a:pt x="243" y="45"/>
                    <a:pt x="244" y="45"/>
                  </a:cubicBezTo>
                  <a:close/>
                  <a:moveTo>
                    <a:pt x="305" y="55"/>
                  </a:moveTo>
                  <a:lnTo>
                    <a:pt x="341" y="60"/>
                  </a:lnTo>
                  <a:cubicBezTo>
                    <a:pt x="342" y="60"/>
                    <a:pt x="343" y="61"/>
                    <a:pt x="343" y="63"/>
                  </a:cubicBezTo>
                  <a:cubicBezTo>
                    <a:pt x="342" y="64"/>
                    <a:pt x="341" y="65"/>
                    <a:pt x="340" y="65"/>
                  </a:cubicBezTo>
                  <a:lnTo>
                    <a:pt x="304" y="60"/>
                  </a:lnTo>
                  <a:cubicBezTo>
                    <a:pt x="303" y="59"/>
                    <a:pt x="302" y="58"/>
                    <a:pt x="302" y="57"/>
                  </a:cubicBezTo>
                  <a:cubicBezTo>
                    <a:pt x="302" y="55"/>
                    <a:pt x="304" y="54"/>
                    <a:pt x="305" y="55"/>
                  </a:cubicBezTo>
                  <a:close/>
                  <a:moveTo>
                    <a:pt x="366" y="64"/>
                  </a:moveTo>
                  <a:lnTo>
                    <a:pt x="401" y="69"/>
                  </a:lnTo>
                  <a:cubicBezTo>
                    <a:pt x="403" y="69"/>
                    <a:pt x="404" y="70"/>
                    <a:pt x="403" y="72"/>
                  </a:cubicBezTo>
                  <a:cubicBezTo>
                    <a:pt x="403" y="73"/>
                    <a:pt x="402" y="74"/>
                    <a:pt x="401" y="74"/>
                  </a:cubicBezTo>
                  <a:lnTo>
                    <a:pt x="365" y="69"/>
                  </a:lnTo>
                  <a:cubicBezTo>
                    <a:pt x="364" y="68"/>
                    <a:pt x="363" y="67"/>
                    <a:pt x="363" y="66"/>
                  </a:cubicBezTo>
                  <a:cubicBezTo>
                    <a:pt x="363" y="64"/>
                    <a:pt x="364" y="63"/>
                    <a:pt x="366" y="64"/>
                  </a:cubicBezTo>
                  <a:close/>
                  <a:moveTo>
                    <a:pt x="427" y="73"/>
                  </a:moveTo>
                  <a:lnTo>
                    <a:pt x="462" y="78"/>
                  </a:lnTo>
                  <a:cubicBezTo>
                    <a:pt x="463" y="78"/>
                    <a:pt x="464" y="79"/>
                    <a:pt x="464" y="81"/>
                  </a:cubicBezTo>
                  <a:cubicBezTo>
                    <a:pt x="464" y="82"/>
                    <a:pt x="463" y="83"/>
                    <a:pt x="461" y="83"/>
                  </a:cubicBezTo>
                  <a:lnTo>
                    <a:pt x="426" y="78"/>
                  </a:lnTo>
                  <a:cubicBezTo>
                    <a:pt x="424" y="77"/>
                    <a:pt x="424" y="76"/>
                    <a:pt x="424" y="75"/>
                  </a:cubicBezTo>
                  <a:cubicBezTo>
                    <a:pt x="424" y="73"/>
                    <a:pt x="425" y="72"/>
                    <a:pt x="427" y="73"/>
                  </a:cubicBezTo>
                  <a:close/>
                  <a:moveTo>
                    <a:pt x="487" y="82"/>
                  </a:moveTo>
                  <a:lnTo>
                    <a:pt x="504" y="84"/>
                  </a:lnTo>
                  <a:lnTo>
                    <a:pt x="523" y="86"/>
                  </a:lnTo>
                  <a:cubicBezTo>
                    <a:pt x="524" y="86"/>
                    <a:pt x="525" y="87"/>
                    <a:pt x="525" y="89"/>
                  </a:cubicBezTo>
                  <a:cubicBezTo>
                    <a:pt x="525" y="90"/>
                    <a:pt x="524" y="91"/>
                    <a:pt x="522" y="91"/>
                  </a:cubicBezTo>
                  <a:lnTo>
                    <a:pt x="503" y="89"/>
                  </a:lnTo>
                  <a:lnTo>
                    <a:pt x="487" y="87"/>
                  </a:lnTo>
                  <a:cubicBezTo>
                    <a:pt x="485" y="86"/>
                    <a:pt x="484" y="85"/>
                    <a:pt x="484" y="84"/>
                  </a:cubicBezTo>
                  <a:cubicBezTo>
                    <a:pt x="485" y="82"/>
                    <a:pt x="486" y="81"/>
                    <a:pt x="487" y="82"/>
                  </a:cubicBezTo>
                  <a:close/>
                  <a:moveTo>
                    <a:pt x="548" y="88"/>
                  </a:moveTo>
                  <a:lnTo>
                    <a:pt x="584" y="92"/>
                  </a:lnTo>
                  <a:cubicBezTo>
                    <a:pt x="585" y="92"/>
                    <a:pt x="586" y="93"/>
                    <a:pt x="586" y="95"/>
                  </a:cubicBezTo>
                  <a:cubicBezTo>
                    <a:pt x="586" y="96"/>
                    <a:pt x="585" y="97"/>
                    <a:pt x="583" y="97"/>
                  </a:cubicBezTo>
                  <a:lnTo>
                    <a:pt x="548" y="93"/>
                  </a:lnTo>
                  <a:cubicBezTo>
                    <a:pt x="546" y="93"/>
                    <a:pt x="545" y="92"/>
                    <a:pt x="546" y="91"/>
                  </a:cubicBezTo>
                  <a:cubicBezTo>
                    <a:pt x="546" y="89"/>
                    <a:pt x="547" y="88"/>
                    <a:pt x="548" y="88"/>
                  </a:cubicBezTo>
                  <a:close/>
                  <a:moveTo>
                    <a:pt x="609" y="94"/>
                  </a:moveTo>
                  <a:lnTo>
                    <a:pt x="645" y="98"/>
                  </a:lnTo>
                  <a:cubicBezTo>
                    <a:pt x="647" y="98"/>
                    <a:pt x="648" y="99"/>
                    <a:pt x="647" y="101"/>
                  </a:cubicBezTo>
                  <a:cubicBezTo>
                    <a:pt x="647" y="102"/>
                    <a:pt x="646" y="103"/>
                    <a:pt x="645" y="103"/>
                  </a:cubicBezTo>
                  <a:lnTo>
                    <a:pt x="609" y="100"/>
                  </a:lnTo>
                  <a:cubicBezTo>
                    <a:pt x="608" y="99"/>
                    <a:pt x="607" y="98"/>
                    <a:pt x="607" y="97"/>
                  </a:cubicBezTo>
                  <a:cubicBezTo>
                    <a:pt x="607" y="95"/>
                    <a:pt x="608" y="94"/>
                    <a:pt x="609" y="94"/>
                  </a:cubicBezTo>
                  <a:close/>
                  <a:moveTo>
                    <a:pt x="671" y="100"/>
                  </a:moveTo>
                  <a:lnTo>
                    <a:pt x="706" y="104"/>
                  </a:lnTo>
                  <a:cubicBezTo>
                    <a:pt x="708" y="104"/>
                    <a:pt x="709" y="105"/>
                    <a:pt x="709" y="107"/>
                  </a:cubicBezTo>
                  <a:cubicBezTo>
                    <a:pt x="708" y="108"/>
                    <a:pt x="707" y="109"/>
                    <a:pt x="706" y="109"/>
                  </a:cubicBezTo>
                  <a:lnTo>
                    <a:pt x="670" y="106"/>
                  </a:lnTo>
                  <a:cubicBezTo>
                    <a:pt x="669" y="105"/>
                    <a:pt x="668" y="104"/>
                    <a:pt x="668" y="103"/>
                  </a:cubicBezTo>
                  <a:cubicBezTo>
                    <a:pt x="668" y="101"/>
                    <a:pt x="669" y="100"/>
                    <a:pt x="671" y="100"/>
                  </a:cubicBezTo>
                  <a:close/>
                  <a:moveTo>
                    <a:pt x="732" y="107"/>
                  </a:moveTo>
                  <a:lnTo>
                    <a:pt x="756" y="109"/>
                  </a:lnTo>
                  <a:lnTo>
                    <a:pt x="767" y="110"/>
                  </a:lnTo>
                  <a:cubicBezTo>
                    <a:pt x="769" y="110"/>
                    <a:pt x="770" y="111"/>
                    <a:pt x="770" y="112"/>
                  </a:cubicBezTo>
                  <a:cubicBezTo>
                    <a:pt x="770" y="114"/>
                    <a:pt x="768" y="115"/>
                    <a:pt x="767" y="115"/>
                  </a:cubicBezTo>
                  <a:lnTo>
                    <a:pt x="755" y="114"/>
                  </a:lnTo>
                  <a:lnTo>
                    <a:pt x="731" y="112"/>
                  </a:lnTo>
                  <a:cubicBezTo>
                    <a:pt x="730" y="111"/>
                    <a:pt x="729" y="110"/>
                    <a:pt x="729" y="109"/>
                  </a:cubicBezTo>
                  <a:cubicBezTo>
                    <a:pt x="729" y="107"/>
                    <a:pt x="730" y="106"/>
                    <a:pt x="732" y="107"/>
                  </a:cubicBezTo>
                  <a:close/>
                  <a:moveTo>
                    <a:pt x="793" y="111"/>
                  </a:moveTo>
                  <a:lnTo>
                    <a:pt x="829" y="113"/>
                  </a:lnTo>
                  <a:cubicBezTo>
                    <a:pt x="830" y="113"/>
                    <a:pt x="831" y="115"/>
                    <a:pt x="831" y="116"/>
                  </a:cubicBezTo>
                  <a:cubicBezTo>
                    <a:pt x="831" y="117"/>
                    <a:pt x="830" y="118"/>
                    <a:pt x="828" y="118"/>
                  </a:cubicBezTo>
                  <a:lnTo>
                    <a:pt x="793" y="116"/>
                  </a:lnTo>
                  <a:cubicBezTo>
                    <a:pt x="791" y="116"/>
                    <a:pt x="790" y="115"/>
                    <a:pt x="790" y="114"/>
                  </a:cubicBezTo>
                  <a:cubicBezTo>
                    <a:pt x="790" y="112"/>
                    <a:pt x="791" y="111"/>
                    <a:pt x="793" y="111"/>
                  </a:cubicBezTo>
                  <a:close/>
                  <a:moveTo>
                    <a:pt x="854" y="115"/>
                  </a:moveTo>
                  <a:lnTo>
                    <a:pt x="890" y="117"/>
                  </a:lnTo>
                  <a:cubicBezTo>
                    <a:pt x="891" y="117"/>
                    <a:pt x="892" y="118"/>
                    <a:pt x="892" y="120"/>
                  </a:cubicBezTo>
                  <a:cubicBezTo>
                    <a:pt x="892" y="121"/>
                    <a:pt x="891" y="122"/>
                    <a:pt x="890" y="122"/>
                  </a:cubicBezTo>
                  <a:lnTo>
                    <a:pt x="854" y="120"/>
                  </a:lnTo>
                  <a:cubicBezTo>
                    <a:pt x="852" y="120"/>
                    <a:pt x="851" y="119"/>
                    <a:pt x="851" y="117"/>
                  </a:cubicBezTo>
                  <a:cubicBezTo>
                    <a:pt x="852" y="116"/>
                    <a:pt x="853" y="115"/>
                    <a:pt x="854" y="115"/>
                  </a:cubicBezTo>
                  <a:close/>
                  <a:moveTo>
                    <a:pt x="916" y="118"/>
                  </a:moveTo>
                  <a:lnTo>
                    <a:pt x="951" y="121"/>
                  </a:lnTo>
                  <a:cubicBezTo>
                    <a:pt x="953" y="121"/>
                    <a:pt x="954" y="122"/>
                    <a:pt x="954" y="123"/>
                  </a:cubicBezTo>
                  <a:cubicBezTo>
                    <a:pt x="954" y="125"/>
                    <a:pt x="952" y="126"/>
                    <a:pt x="951" y="126"/>
                  </a:cubicBezTo>
                  <a:lnTo>
                    <a:pt x="915" y="124"/>
                  </a:lnTo>
                  <a:cubicBezTo>
                    <a:pt x="914" y="123"/>
                    <a:pt x="913" y="122"/>
                    <a:pt x="913" y="121"/>
                  </a:cubicBezTo>
                  <a:cubicBezTo>
                    <a:pt x="913" y="119"/>
                    <a:pt x="914" y="118"/>
                    <a:pt x="916" y="118"/>
                  </a:cubicBezTo>
                  <a:close/>
                  <a:moveTo>
                    <a:pt x="977" y="122"/>
                  </a:moveTo>
                  <a:lnTo>
                    <a:pt x="1009" y="124"/>
                  </a:lnTo>
                  <a:lnTo>
                    <a:pt x="1013" y="124"/>
                  </a:lnTo>
                  <a:cubicBezTo>
                    <a:pt x="1014" y="124"/>
                    <a:pt x="1015" y="125"/>
                    <a:pt x="1015" y="127"/>
                  </a:cubicBezTo>
                  <a:cubicBezTo>
                    <a:pt x="1015" y="128"/>
                    <a:pt x="1014" y="129"/>
                    <a:pt x="1012" y="129"/>
                  </a:cubicBezTo>
                  <a:lnTo>
                    <a:pt x="1008" y="129"/>
                  </a:lnTo>
                  <a:lnTo>
                    <a:pt x="977" y="127"/>
                  </a:lnTo>
                  <a:cubicBezTo>
                    <a:pt x="975" y="127"/>
                    <a:pt x="974" y="126"/>
                    <a:pt x="974" y="124"/>
                  </a:cubicBezTo>
                  <a:cubicBezTo>
                    <a:pt x="974" y="123"/>
                    <a:pt x="975" y="122"/>
                    <a:pt x="977" y="122"/>
                  </a:cubicBezTo>
                  <a:close/>
                  <a:moveTo>
                    <a:pt x="1038" y="124"/>
                  </a:moveTo>
                  <a:lnTo>
                    <a:pt x="1074" y="125"/>
                  </a:lnTo>
                  <a:cubicBezTo>
                    <a:pt x="1075" y="125"/>
                    <a:pt x="1076" y="126"/>
                    <a:pt x="1076" y="128"/>
                  </a:cubicBezTo>
                  <a:cubicBezTo>
                    <a:pt x="1076" y="129"/>
                    <a:pt x="1075" y="130"/>
                    <a:pt x="1074" y="130"/>
                  </a:cubicBezTo>
                  <a:lnTo>
                    <a:pt x="1038" y="129"/>
                  </a:lnTo>
                  <a:cubicBezTo>
                    <a:pt x="1037" y="129"/>
                    <a:pt x="1035" y="128"/>
                    <a:pt x="1036" y="127"/>
                  </a:cubicBezTo>
                  <a:cubicBezTo>
                    <a:pt x="1036" y="125"/>
                    <a:pt x="1037" y="124"/>
                    <a:pt x="1038" y="124"/>
                  </a:cubicBezTo>
                  <a:close/>
                  <a:moveTo>
                    <a:pt x="1100" y="125"/>
                  </a:moveTo>
                  <a:lnTo>
                    <a:pt x="1135" y="126"/>
                  </a:lnTo>
                  <a:cubicBezTo>
                    <a:pt x="1137" y="126"/>
                    <a:pt x="1138" y="127"/>
                    <a:pt x="1138" y="129"/>
                  </a:cubicBezTo>
                  <a:cubicBezTo>
                    <a:pt x="1138" y="130"/>
                    <a:pt x="1137" y="131"/>
                    <a:pt x="1135" y="131"/>
                  </a:cubicBezTo>
                  <a:lnTo>
                    <a:pt x="1099" y="130"/>
                  </a:lnTo>
                  <a:cubicBezTo>
                    <a:pt x="1098" y="130"/>
                    <a:pt x="1097" y="129"/>
                    <a:pt x="1097" y="128"/>
                  </a:cubicBezTo>
                  <a:cubicBezTo>
                    <a:pt x="1097" y="126"/>
                    <a:pt x="1098" y="125"/>
                    <a:pt x="1100" y="125"/>
                  </a:cubicBezTo>
                  <a:close/>
                  <a:moveTo>
                    <a:pt x="1161" y="126"/>
                  </a:moveTo>
                  <a:lnTo>
                    <a:pt x="1197" y="127"/>
                  </a:lnTo>
                  <a:cubicBezTo>
                    <a:pt x="1198" y="127"/>
                    <a:pt x="1199" y="128"/>
                    <a:pt x="1199" y="129"/>
                  </a:cubicBezTo>
                  <a:cubicBezTo>
                    <a:pt x="1199" y="131"/>
                    <a:pt x="1198" y="132"/>
                    <a:pt x="1197" y="132"/>
                  </a:cubicBezTo>
                  <a:lnTo>
                    <a:pt x="1161" y="131"/>
                  </a:lnTo>
                  <a:cubicBezTo>
                    <a:pt x="1159" y="131"/>
                    <a:pt x="1158" y="130"/>
                    <a:pt x="1158" y="129"/>
                  </a:cubicBezTo>
                  <a:cubicBezTo>
                    <a:pt x="1158" y="127"/>
                    <a:pt x="1160" y="126"/>
                    <a:pt x="1161" y="126"/>
                  </a:cubicBezTo>
                  <a:close/>
                  <a:moveTo>
                    <a:pt x="1222" y="127"/>
                  </a:moveTo>
                  <a:lnTo>
                    <a:pt x="1258" y="128"/>
                  </a:lnTo>
                  <a:cubicBezTo>
                    <a:pt x="1260" y="128"/>
                    <a:pt x="1261" y="129"/>
                    <a:pt x="1261" y="130"/>
                  </a:cubicBezTo>
                  <a:cubicBezTo>
                    <a:pt x="1261" y="132"/>
                    <a:pt x="1260" y="133"/>
                    <a:pt x="1258" y="133"/>
                  </a:cubicBezTo>
                  <a:lnTo>
                    <a:pt x="1222" y="132"/>
                  </a:lnTo>
                  <a:cubicBezTo>
                    <a:pt x="1221" y="132"/>
                    <a:pt x="1220" y="131"/>
                    <a:pt x="1220" y="130"/>
                  </a:cubicBezTo>
                  <a:cubicBezTo>
                    <a:pt x="1220" y="128"/>
                    <a:pt x="1221" y="127"/>
                    <a:pt x="1222" y="127"/>
                  </a:cubicBezTo>
                  <a:close/>
                  <a:moveTo>
                    <a:pt x="1284" y="127"/>
                  </a:moveTo>
                  <a:lnTo>
                    <a:pt x="1320" y="127"/>
                  </a:lnTo>
                  <a:cubicBezTo>
                    <a:pt x="1321" y="127"/>
                    <a:pt x="1322" y="128"/>
                    <a:pt x="1322" y="129"/>
                  </a:cubicBezTo>
                  <a:cubicBezTo>
                    <a:pt x="1322" y="130"/>
                    <a:pt x="1321" y="132"/>
                    <a:pt x="1320" y="132"/>
                  </a:cubicBezTo>
                  <a:lnTo>
                    <a:pt x="1284" y="133"/>
                  </a:lnTo>
                  <a:cubicBezTo>
                    <a:pt x="1282" y="133"/>
                    <a:pt x="1281" y="131"/>
                    <a:pt x="1281" y="130"/>
                  </a:cubicBezTo>
                  <a:cubicBezTo>
                    <a:pt x="1281" y="129"/>
                    <a:pt x="1282" y="127"/>
                    <a:pt x="1284" y="127"/>
                  </a:cubicBezTo>
                  <a:close/>
                  <a:moveTo>
                    <a:pt x="1345" y="126"/>
                  </a:moveTo>
                  <a:lnTo>
                    <a:pt x="1381" y="125"/>
                  </a:lnTo>
                  <a:cubicBezTo>
                    <a:pt x="1382" y="125"/>
                    <a:pt x="1384" y="126"/>
                    <a:pt x="1384" y="128"/>
                  </a:cubicBezTo>
                  <a:cubicBezTo>
                    <a:pt x="1384" y="129"/>
                    <a:pt x="1382" y="130"/>
                    <a:pt x="1381" y="130"/>
                  </a:cubicBezTo>
                  <a:lnTo>
                    <a:pt x="1345" y="131"/>
                  </a:lnTo>
                  <a:cubicBezTo>
                    <a:pt x="1344" y="131"/>
                    <a:pt x="1343" y="130"/>
                    <a:pt x="1343" y="129"/>
                  </a:cubicBezTo>
                  <a:cubicBezTo>
                    <a:pt x="1343" y="127"/>
                    <a:pt x="1344" y="126"/>
                    <a:pt x="1345" y="126"/>
                  </a:cubicBezTo>
                  <a:close/>
                  <a:moveTo>
                    <a:pt x="1407" y="124"/>
                  </a:moveTo>
                  <a:lnTo>
                    <a:pt x="1442" y="124"/>
                  </a:lnTo>
                  <a:cubicBezTo>
                    <a:pt x="1444" y="124"/>
                    <a:pt x="1445" y="125"/>
                    <a:pt x="1445" y="126"/>
                  </a:cubicBezTo>
                  <a:cubicBezTo>
                    <a:pt x="1445" y="128"/>
                    <a:pt x="1444" y="129"/>
                    <a:pt x="1442" y="129"/>
                  </a:cubicBezTo>
                  <a:lnTo>
                    <a:pt x="1407" y="130"/>
                  </a:lnTo>
                  <a:cubicBezTo>
                    <a:pt x="1405" y="130"/>
                    <a:pt x="1404" y="129"/>
                    <a:pt x="1404" y="127"/>
                  </a:cubicBezTo>
                  <a:cubicBezTo>
                    <a:pt x="1404" y="126"/>
                    <a:pt x="1405" y="125"/>
                    <a:pt x="1407" y="124"/>
                  </a:cubicBezTo>
                  <a:close/>
                  <a:moveTo>
                    <a:pt x="1468" y="123"/>
                  </a:moveTo>
                  <a:lnTo>
                    <a:pt x="1504" y="122"/>
                  </a:lnTo>
                  <a:cubicBezTo>
                    <a:pt x="1505" y="122"/>
                    <a:pt x="1506" y="123"/>
                    <a:pt x="1506" y="125"/>
                  </a:cubicBezTo>
                  <a:cubicBezTo>
                    <a:pt x="1506" y="126"/>
                    <a:pt x="1505" y="127"/>
                    <a:pt x="1504" y="127"/>
                  </a:cubicBezTo>
                  <a:lnTo>
                    <a:pt x="1468" y="128"/>
                  </a:lnTo>
                  <a:cubicBezTo>
                    <a:pt x="1467" y="128"/>
                    <a:pt x="1465" y="127"/>
                    <a:pt x="1465" y="126"/>
                  </a:cubicBezTo>
                  <a:cubicBezTo>
                    <a:pt x="1465" y="124"/>
                    <a:pt x="1467" y="123"/>
                    <a:pt x="1468" y="123"/>
                  </a:cubicBezTo>
                  <a:close/>
                  <a:moveTo>
                    <a:pt x="1529" y="121"/>
                  </a:moveTo>
                  <a:lnTo>
                    <a:pt x="1565" y="118"/>
                  </a:lnTo>
                  <a:cubicBezTo>
                    <a:pt x="1566" y="118"/>
                    <a:pt x="1568" y="119"/>
                    <a:pt x="1568" y="121"/>
                  </a:cubicBezTo>
                  <a:cubicBezTo>
                    <a:pt x="1568" y="122"/>
                    <a:pt x="1567" y="123"/>
                    <a:pt x="1565" y="123"/>
                  </a:cubicBezTo>
                  <a:lnTo>
                    <a:pt x="1530" y="126"/>
                  </a:lnTo>
                  <a:cubicBezTo>
                    <a:pt x="1528" y="126"/>
                    <a:pt x="1527" y="125"/>
                    <a:pt x="1527" y="124"/>
                  </a:cubicBezTo>
                  <a:cubicBezTo>
                    <a:pt x="1527" y="122"/>
                    <a:pt x="1528" y="121"/>
                    <a:pt x="1529" y="121"/>
                  </a:cubicBezTo>
                  <a:close/>
                  <a:moveTo>
                    <a:pt x="1591" y="117"/>
                  </a:moveTo>
                  <a:lnTo>
                    <a:pt x="1626" y="114"/>
                  </a:lnTo>
                  <a:cubicBezTo>
                    <a:pt x="1628" y="114"/>
                    <a:pt x="1629" y="115"/>
                    <a:pt x="1629" y="116"/>
                  </a:cubicBezTo>
                  <a:cubicBezTo>
                    <a:pt x="1629" y="118"/>
                    <a:pt x="1628" y="119"/>
                    <a:pt x="1627" y="119"/>
                  </a:cubicBezTo>
                  <a:lnTo>
                    <a:pt x="1591" y="122"/>
                  </a:lnTo>
                  <a:cubicBezTo>
                    <a:pt x="1589" y="122"/>
                    <a:pt x="1588" y="121"/>
                    <a:pt x="1588" y="119"/>
                  </a:cubicBezTo>
                  <a:cubicBezTo>
                    <a:pt x="1588" y="118"/>
                    <a:pt x="1589" y="117"/>
                    <a:pt x="1591" y="117"/>
                  </a:cubicBezTo>
                  <a:close/>
                  <a:moveTo>
                    <a:pt x="1652" y="112"/>
                  </a:moveTo>
                  <a:lnTo>
                    <a:pt x="1688" y="110"/>
                  </a:lnTo>
                  <a:cubicBezTo>
                    <a:pt x="1689" y="110"/>
                    <a:pt x="1690" y="111"/>
                    <a:pt x="1690" y="112"/>
                  </a:cubicBezTo>
                  <a:cubicBezTo>
                    <a:pt x="1690" y="113"/>
                    <a:pt x="1689" y="115"/>
                    <a:pt x="1688" y="115"/>
                  </a:cubicBezTo>
                  <a:lnTo>
                    <a:pt x="1652" y="117"/>
                  </a:lnTo>
                  <a:cubicBezTo>
                    <a:pt x="1651" y="117"/>
                    <a:pt x="1650" y="116"/>
                    <a:pt x="1649" y="115"/>
                  </a:cubicBezTo>
                  <a:cubicBezTo>
                    <a:pt x="1649" y="114"/>
                    <a:pt x="1650" y="112"/>
                    <a:pt x="1652" y="112"/>
                  </a:cubicBezTo>
                  <a:close/>
                  <a:moveTo>
                    <a:pt x="1713" y="108"/>
                  </a:moveTo>
                  <a:lnTo>
                    <a:pt x="1749" y="105"/>
                  </a:lnTo>
                  <a:cubicBezTo>
                    <a:pt x="1750" y="105"/>
                    <a:pt x="1751" y="106"/>
                    <a:pt x="1752" y="108"/>
                  </a:cubicBezTo>
                  <a:cubicBezTo>
                    <a:pt x="1752" y="109"/>
                    <a:pt x="1751" y="110"/>
                    <a:pt x="1749" y="110"/>
                  </a:cubicBezTo>
                  <a:lnTo>
                    <a:pt x="1713" y="113"/>
                  </a:lnTo>
                  <a:cubicBezTo>
                    <a:pt x="1712" y="113"/>
                    <a:pt x="1711" y="112"/>
                    <a:pt x="1711" y="111"/>
                  </a:cubicBezTo>
                  <a:cubicBezTo>
                    <a:pt x="1711" y="109"/>
                    <a:pt x="1712" y="108"/>
                    <a:pt x="1713" y="108"/>
                  </a:cubicBezTo>
                  <a:close/>
                  <a:moveTo>
                    <a:pt x="1774" y="103"/>
                  </a:moveTo>
                  <a:lnTo>
                    <a:pt x="1810" y="99"/>
                  </a:lnTo>
                  <a:cubicBezTo>
                    <a:pt x="1811" y="99"/>
                    <a:pt x="1813" y="100"/>
                    <a:pt x="1813" y="102"/>
                  </a:cubicBezTo>
                  <a:cubicBezTo>
                    <a:pt x="1813" y="103"/>
                    <a:pt x="1812" y="104"/>
                    <a:pt x="1810" y="104"/>
                  </a:cubicBezTo>
                  <a:lnTo>
                    <a:pt x="1775" y="108"/>
                  </a:lnTo>
                  <a:cubicBezTo>
                    <a:pt x="1773" y="108"/>
                    <a:pt x="1772" y="107"/>
                    <a:pt x="1772" y="106"/>
                  </a:cubicBezTo>
                  <a:cubicBezTo>
                    <a:pt x="1772" y="105"/>
                    <a:pt x="1773" y="103"/>
                    <a:pt x="1774" y="103"/>
                  </a:cubicBezTo>
                  <a:close/>
                  <a:moveTo>
                    <a:pt x="1835" y="96"/>
                  </a:moveTo>
                  <a:lnTo>
                    <a:pt x="1871" y="93"/>
                  </a:lnTo>
                  <a:cubicBezTo>
                    <a:pt x="1872" y="92"/>
                    <a:pt x="1874" y="93"/>
                    <a:pt x="1874" y="95"/>
                  </a:cubicBezTo>
                  <a:cubicBezTo>
                    <a:pt x="1874" y="96"/>
                    <a:pt x="1873" y="97"/>
                    <a:pt x="1871" y="98"/>
                  </a:cubicBezTo>
                  <a:lnTo>
                    <a:pt x="1836" y="102"/>
                  </a:lnTo>
                  <a:cubicBezTo>
                    <a:pt x="1834" y="102"/>
                    <a:pt x="1833" y="101"/>
                    <a:pt x="1833" y="99"/>
                  </a:cubicBezTo>
                  <a:cubicBezTo>
                    <a:pt x="1833" y="98"/>
                    <a:pt x="1834" y="97"/>
                    <a:pt x="1835" y="96"/>
                  </a:cubicBezTo>
                  <a:close/>
                  <a:moveTo>
                    <a:pt x="1896" y="90"/>
                  </a:moveTo>
                  <a:lnTo>
                    <a:pt x="1932" y="86"/>
                  </a:lnTo>
                  <a:cubicBezTo>
                    <a:pt x="1933" y="86"/>
                    <a:pt x="1935" y="87"/>
                    <a:pt x="1935" y="88"/>
                  </a:cubicBezTo>
                  <a:cubicBezTo>
                    <a:pt x="1935" y="89"/>
                    <a:pt x="1934" y="91"/>
                    <a:pt x="1933" y="91"/>
                  </a:cubicBezTo>
                  <a:lnTo>
                    <a:pt x="1897" y="95"/>
                  </a:lnTo>
                  <a:cubicBezTo>
                    <a:pt x="1895" y="95"/>
                    <a:pt x="1894" y="94"/>
                    <a:pt x="1894" y="93"/>
                  </a:cubicBezTo>
                  <a:cubicBezTo>
                    <a:pt x="1894" y="91"/>
                    <a:pt x="1895" y="90"/>
                    <a:pt x="1896" y="90"/>
                  </a:cubicBezTo>
                  <a:close/>
                  <a:moveTo>
                    <a:pt x="1957" y="83"/>
                  </a:moveTo>
                  <a:lnTo>
                    <a:pt x="1993" y="79"/>
                  </a:lnTo>
                  <a:cubicBezTo>
                    <a:pt x="1994" y="79"/>
                    <a:pt x="1996" y="80"/>
                    <a:pt x="1996" y="81"/>
                  </a:cubicBezTo>
                  <a:cubicBezTo>
                    <a:pt x="1996" y="83"/>
                    <a:pt x="1995" y="84"/>
                    <a:pt x="1994" y="84"/>
                  </a:cubicBezTo>
                  <a:lnTo>
                    <a:pt x="1958" y="88"/>
                  </a:lnTo>
                  <a:cubicBezTo>
                    <a:pt x="1957" y="88"/>
                    <a:pt x="1955" y="87"/>
                    <a:pt x="1955" y="86"/>
                  </a:cubicBezTo>
                  <a:cubicBezTo>
                    <a:pt x="1955" y="84"/>
                    <a:pt x="1956" y="83"/>
                    <a:pt x="1957" y="83"/>
                  </a:cubicBezTo>
                  <a:close/>
                  <a:moveTo>
                    <a:pt x="2018" y="76"/>
                  </a:moveTo>
                  <a:lnTo>
                    <a:pt x="2020" y="76"/>
                  </a:lnTo>
                  <a:cubicBezTo>
                    <a:pt x="2022" y="76"/>
                    <a:pt x="2023" y="77"/>
                    <a:pt x="2023" y="78"/>
                  </a:cubicBezTo>
                  <a:cubicBezTo>
                    <a:pt x="2023" y="80"/>
                    <a:pt x="2022" y="81"/>
                    <a:pt x="2021" y="81"/>
                  </a:cubicBezTo>
                  <a:lnTo>
                    <a:pt x="2019" y="81"/>
                  </a:lnTo>
                  <a:cubicBezTo>
                    <a:pt x="2018" y="81"/>
                    <a:pt x="2016" y="80"/>
                    <a:pt x="2016" y="79"/>
                  </a:cubicBezTo>
                  <a:cubicBezTo>
                    <a:pt x="2016" y="78"/>
                    <a:pt x="2017" y="76"/>
                    <a:pt x="2018" y="76"/>
                  </a:cubicBezTo>
                  <a:close/>
                </a:path>
              </a:pathLst>
            </a:custGeom>
            <a:solidFill>
              <a:srgbClr val="0C0C0C"/>
            </a:solidFill>
            <a:ln w="0" cap="flat">
              <a:solidFill>
                <a:srgbClr val="0C0C0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2">
              <a:extLst>
                <a:ext uri="{FF2B5EF4-FFF2-40B4-BE49-F238E27FC236}">
                  <a16:creationId xmlns:a16="http://schemas.microsoft.com/office/drawing/2014/main" id="{7C116D91-993A-4C85-AB68-8513A2888917}"/>
                </a:ext>
              </a:extLst>
            </p:cNvPr>
            <p:cNvSpPr>
              <a:spLocks/>
            </p:cNvSpPr>
            <p:nvPr/>
          </p:nvSpPr>
          <p:spPr bwMode="auto">
            <a:xfrm>
              <a:off x="5888" y="2273"/>
              <a:ext cx="56" cy="51"/>
            </a:xfrm>
            <a:custGeom>
              <a:avLst/>
              <a:gdLst>
                <a:gd name="T0" fmla="*/ 0 w 56"/>
                <a:gd name="T1" fmla="*/ 0 h 51"/>
                <a:gd name="T2" fmla="*/ 56 w 56"/>
                <a:gd name="T3" fmla="*/ 18 h 51"/>
                <a:gd name="T4" fmla="*/ 8 w 56"/>
                <a:gd name="T5" fmla="*/ 51 h 51"/>
                <a:gd name="T6" fmla="*/ 0 w 56"/>
                <a:gd name="T7" fmla="*/ 0 h 51"/>
              </a:gdLst>
              <a:ahLst/>
              <a:cxnLst>
                <a:cxn ang="0">
                  <a:pos x="T0" y="T1"/>
                </a:cxn>
                <a:cxn ang="0">
                  <a:pos x="T2" y="T3"/>
                </a:cxn>
                <a:cxn ang="0">
                  <a:pos x="T4" y="T5"/>
                </a:cxn>
                <a:cxn ang="0">
                  <a:pos x="T6" y="T7"/>
                </a:cxn>
              </a:cxnLst>
              <a:rect l="0" t="0" r="r" b="b"/>
              <a:pathLst>
                <a:path w="56" h="51">
                  <a:moveTo>
                    <a:pt x="0" y="0"/>
                  </a:moveTo>
                  <a:lnTo>
                    <a:pt x="56" y="18"/>
                  </a:lnTo>
                  <a:lnTo>
                    <a:pt x="8" y="51"/>
                  </a:lnTo>
                  <a:lnTo>
                    <a:pt x="0" y="0"/>
                  </a:lnTo>
                  <a:close/>
                </a:path>
              </a:pathLst>
            </a:custGeom>
            <a:solidFill>
              <a:srgbClr val="0C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63">
              <a:extLst>
                <a:ext uri="{FF2B5EF4-FFF2-40B4-BE49-F238E27FC236}">
                  <a16:creationId xmlns:a16="http://schemas.microsoft.com/office/drawing/2014/main" id="{B1F7E6E7-B055-457D-9459-B30B59017431}"/>
                </a:ext>
              </a:extLst>
            </p:cNvPr>
            <p:cNvSpPr>
              <a:spLocks noChangeArrowheads="1"/>
            </p:cNvSpPr>
            <p:nvPr/>
          </p:nvSpPr>
          <p:spPr bwMode="auto">
            <a:xfrm>
              <a:off x="5266" y="2217"/>
              <a:ext cx="405" cy="2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4">
              <a:extLst>
                <a:ext uri="{FF2B5EF4-FFF2-40B4-BE49-F238E27FC236}">
                  <a16:creationId xmlns:a16="http://schemas.microsoft.com/office/drawing/2014/main" id="{74DBADAF-A9F0-4118-9364-AB35D0D7113F}"/>
                </a:ext>
              </a:extLst>
            </p:cNvPr>
            <p:cNvSpPr>
              <a:spLocks noEditPoints="1"/>
            </p:cNvSpPr>
            <p:nvPr/>
          </p:nvSpPr>
          <p:spPr bwMode="auto">
            <a:xfrm>
              <a:off x="5293" y="2231"/>
              <a:ext cx="357" cy="47"/>
            </a:xfrm>
            <a:custGeom>
              <a:avLst/>
              <a:gdLst>
                <a:gd name="T0" fmla="*/ 35 w 797"/>
                <a:gd name="T1" fmla="*/ 61 h 105"/>
                <a:gd name="T2" fmla="*/ 5 w 797"/>
                <a:gd name="T3" fmla="*/ 83 h 105"/>
                <a:gd name="T4" fmla="*/ 30 w 797"/>
                <a:gd name="T5" fmla="*/ 2 h 105"/>
                <a:gd name="T6" fmla="*/ 40 w 797"/>
                <a:gd name="T7" fmla="*/ 49 h 105"/>
                <a:gd name="T8" fmla="*/ 20 w 797"/>
                <a:gd name="T9" fmla="*/ 11 h 105"/>
                <a:gd name="T10" fmla="*/ 103 w 797"/>
                <a:gd name="T11" fmla="*/ 83 h 105"/>
                <a:gd name="T12" fmla="*/ 60 w 797"/>
                <a:gd name="T13" fmla="*/ 74 h 105"/>
                <a:gd name="T14" fmla="*/ 88 w 797"/>
                <a:gd name="T15" fmla="*/ 31 h 105"/>
                <a:gd name="T16" fmla="*/ 62 w 797"/>
                <a:gd name="T17" fmla="*/ 30 h 105"/>
                <a:gd name="T18" fmla="*/ 105 w 797"/>
                <a:gd name="T19" fmla="*/ 81 h 105"/>
                <a:gd name="T20" fmla="*/ 95 w 797"/>
                <a:gd name="T21" fmla="*/ 67 h 105"/>
                <a:gd name="T22" fmla="*/ 127 w 797"/>
                <a:gd name="T23" fmla="*/ 81 h 105"/>
                <a:gd name="T24" fmla="*/ 137 w 797"/>
                <a:gd name="T25" fmla="*/ 81 h 105"/>
                <a:gd name="T26" fmla="*/ 194 w 797"/>
                <a:gd name="T27" fmla="*/ 66 h 105"/>
                <a:gd name="T28" fmla="*/ 154 w 797"/>
                <a:gd name="T29" fmla="*/ 74 h 105"/>
                <a:gd name="T30" fmla="*/ 181 w 797"/>
                <a:gd name="T31" fmla="*/ 73 h 105"/>
                <a:gd name="T32" fmla="*/ 156 w 797"/>
                <a:gd name="T33" fmla="*/ 39 h 105"/>
                <a:gd name="T34" fmla="*/ 191 w 797"/>
                <a:gd name="T35" fmla="*/ 27 h 105"/>
                <a:gd name="T36" fmla="*/ 176 w 797"/>
                <a:gd name="T37" fmla="*/ 30 h 105"/>
                <a:gd name="T38" fmla="*/ 190 w 797"/>
                <a:gd name="T39" fmla="*/ 55 h 105"/>
                <a:gd name="T40" fmla="*/ 232 w 797"/>
                <a:gd name="T41" fmla="*/ 75 h 105"/>
                <a:gd name="T42" fmla="*/ 252 w 797"/>
                <a:gd name="T43" fmla="*/ 78 h 105"/>
                <a:gd name="T44" fmla="*/ 203 w 797"/>
                <a:gd name="T45" fmla="*/ 53 h 105"/>
                <a:gd name="T46" fmla="*/ 244 w 797"/>
                <a:gd name="T47" fmla="*/ 47 h 105"/>
                <a:gd name="T48" fmla="*/ 314 w 797"/>
                <a:gd name="T49" fmla="*/ 83 h 105"/>
                <a:gd name="T50" fmla="*/ 307 w 797"/>
                <a:gd name="T51" fmla="*/ 2 h 105"/>
                <a:gd name="T52" fmla="*/ 381 w 797"/>
                <a:gd name="T53" fmla="*/ 83 h 105"/>
                <a:gd name="T54" fmla="*/ 361 w 797"/>
                <a:gd name="T55" fmla="*/ 31 h 105"/>
                <a:gd name="T56" fmla="*/ 335 w 797"/>
                <a:gd name="T57" fmla="*/ 82 h 105"/>
                <a:gd name="T58" fmla="*/ 344 w 797"/>
                <a:gd name="T59" fmla="*/ 25 h 105"/>
                <a:gd name="T60" fmla="*/ 445 w 797"/>
                <a:gd name="T61" fmla="*/ 25 h 105"/>
                <a:gd name="T62" fmla="*/ 413 w 797"/>
                <a:gd name="T63" fmla="*/ 83 h 105"/>
                <a:gd name="T64" fmla="*/ 396 w 797"/>
                <a:gd name="T65" fmla="*/ 23 h 105"/>
                <a:gd name="T66" fmla="*/ 436 w 797"/>
                <a:gd name="T67" fmla="*/ 23 h 105"/>
                <a:gd name="T68" fmla="*/ 470 w 797"/>
                <a:gd name="T69" fmla="*/ 55 h 105"/>
                <a:gd name="T70" fmla="*/ 508 w 797"/>
                <a:gd name="T71" fmla="*/ 72 h 105"/>
                <a:gd name="T72" fmla="*/ 487 w 797"/>
                <a:gd name="T73" fmla="*/ 84 h 105"/>
                <a:gd name="T74" fmla="*/ 505 w 797"/>
                <a:gd name="T75" fmla="*/ 30 h 105"/>
                <a:gd name="T76" fmla="*/ 470 w 797"/>
                <a:gd name="T77" fmla="*/ 47 h 105"/>
                <a:gd name="T78" fmla="*/ 565 w 797"/>
                <a:gd name="T79" fmla="*/ 81 h 105"/>
                <a:gd name="T80" fmla="*/ 536 w 797"/>
                <a:gd name="T81" fmla="*/ 83 h 105"/>
                <a:gd name="T82" fmla="*/ 529 w 797"/>
                <a:gd name="T83" fmla="*/ 23 h 105"/>
                <a:gd name="T84" fmla="*/ 571 w 797"/>
                <a:gd name="T85" fmla="*/ 29 h 105"/>
                <a:gd name="T86" fmla="*/ 610 w 797"/>
                <a:gd name="T87" fmla="*/ 84 h 105"/>
                <a:gd name="T88" fmla="*/ 584 w 797"/>
                <a:gd name="T89" fmla="*/ 24 h 105"/>
                <a:gd name="T90" fmla="*/ 603 w 797"/>
                <a:gd name="T91" fmla="*/ 8 h 105"/>
                <a:gd name="T92" fmla="*/ 618 w 797"/>
                <a:gd name="T93" fmla="*/ 32 h 105"/>
                <a:gd name="T94" fmla="*/ 620 w 797"/>
                <a:gd name="T95" fmla="*/ 74 h 105"/>
                <a:gd name="T96" fmla="*/ 637 w 797"/>
                <a:gd name="T97" fmla="*/ 66 h 105"/>
                <a:gd name="T98" fmla="*/ 680 w 797"/>
                <a:gd name="T99" fmla="*/ 53 h 105"/>
                <a:gd name="T100" fmla="*/ 649 w 797"/>
                <a:gd name="T101" fmla="*/ 69 h 105"/>
                <a:gd name="T102" fmla="*/ 735 w 797"/>
                <a:gd name="T103" fmla="*/ 33 h 105"/>
                <a:gd name="T104" fmla="*/ 713 w 797"/>
                <a:gd name="T105" fmla="*/ 81 h 105"/>
                <a:gd name="T106" fmla="*/ 703 w 797"/>
                <a:gd name="T107" fmla="*/ 24 h 105"/>
                <a:gd name="T108" fmla="*/ 720 w 797"/>
                <a:gd name="T109" fmla="*/ 24 h 105"/>
                <a:gd name="T110" fmla="*/ 736 w 797"/>
                <a:gd name="T111" fmla="*/ 29 h 105"/>
                <a:gd name="T112" fmla="*/ 765 w 797"/>
                <a:gd name="T113" fmla="*/ 82 h 105"/>
                <a:gd name="T114" fmla="*/ 755 w 797"/>
                <a:gd name="T115" fmla="*/ 25 h 105"/>
                <a:gd name="T116" fmla="*/ 797 w 797"/>
                <a:gd name="T117" fmla="*/ 2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7" h="105">
                  <a:moveTo>
                    <a:pt x="54" y="81"/>
                  </a:moveTo>
                  <a:cubicBezTo>
                    <a:pt x="54" y="81"/>
                    <a:pt x="54" y="82"/>
                    <a:pt x="54" y="82"/>
                  </a:cubicBezTo>
                  <a:cubicBezTo>
                    <a:pt x="54" y="82"/>
                    <a:pt x="53" y="82"/>
                    <a:pt x="53" y="83"/>
                  </a:cubicBezTo>
                  <a:cubicBezTo>
                    <a:pt x="53" y="83"/>
                    <a:pt x="52" y="83"/>
                    <a:pt x="51" y="83"/>
                  </a:cubicBezTo>
                  <a:cubicBezTo>
                    <a:pt x="50" y="83"/>
                    <a:pt x="49" y="83"/>
                    <a:pt x="48" y="83"/>
                  </a:cubicBezTo>
                  <a:cubicBezTo>
                    <a:pt x="47" y="83"/>
                    <a:pt x="46" y="83"/>
                    <a:pt x="46" y="83"/>
                  </a:cubicBezTo>
                  <a:cubicBezTo>
                    <a:pt x="45" y="83"/>
                    <a:pt x="44" y="83"/>
                    <a:pt x="44" y="83"/>
                  </a:cubicBezTo>
                  <a:cubicBezTo>
                    <a:pt x="43" y="82"/>
                    <a:pt x="43" y="82"/>
                    <a:pt x="43" y="82"/>
                  </a:cubicBezTo>
                  <a:cubicBezTo>
                    <a:pt x="43" y="81"/>
                    <a:pt x="43" y="81"/>
                    <a:pt x="42" y="80"/>
                  </a:cubicBezTo>
                  <a:lnTo>
                    <a:pt x="35" y="61"/>
                  </a:lnTo>
                  <a:cubicBezTo>
                    <a:pt x="34" y="59"/>
                    <a:pt x="33" y="57"/>
                    <a:pt x="32" y="55"/>
                  </a:cubicBezTo>
                  <a:cubicBezTo>
                    <a:pt x="31" y="54"/>
                    <a:pt x="30" y="52"/>
                    <a:pt x="29" y="51"/>
                  </a:cubicBezTo>
                  <a:cubicBezTo>
                    <a:pt x="28" y="49"/>
                    <a:pt x="26" y="48"/>
                    <a:pt x="24" y="48"/>
                  </a:cubicBezTo>
                  <a:cubicBezTo>
                    <a:pt x="23" y="47"/>
                    <a:pt x="20" y="47"/>
                    <a:pt x="18" y="47"/>
                  </a:cubicBezTo>
                  <a:lnTo>
                    <a:pt x="11" y="47"/>
                  </a:lnTo>
                  <a:lnTo>
                    <a:pt x="11" y="81"/>
                  </a:lnTo>
                  <a:cubicBezTo>
                    <a:pt x="11" y="81"/>
                    <a:pt x="11" y="82"/>
                    <a:pt x="11" y="82"/>
                  </a:cubicBezTo>
                  <a:cubicBezTo>
                    <a:pt x="10" y="82"/>
                    <a:pt x="10" y="82"/>
                    <a:pt x="10" y="83"/>
                  </a:cubicBezTo>
                  <a:cubicBezTo>
                    <a:pt x="9" y="83"/>
                    <a:pt x="9" y="83"/>
                    <a:pt x="8" y="83"/>
                  </a:cubicBezTo>
                  <a:cubicBezTo>
                    <a:pt x="7" y="83"/>
                    <a:pt x="6" y="83"/>
                    <a:pt x="5" y="83"/>
                  </a:cubicBezTo>
                  <a:cubicBezTo>
                    <a:pt x="4" y="83"/>
                    <a:pt x="4" y="83"/>
                    <a:pt x="3" y="83"/>
                  </a:cubicBezTo>
                  <a:cubicBezTo>
                    <a:pt x="2" y="83"/>
                    <a:pt x="2" y="83"/>
                    <a:pt x="1" y="83"/>
                  </a:cubicBezTo>
                  <a:cubicBezTo>
                    <a:pt x="1" y="82"/>
                    <a:pt x="0" y="82"/>
                    <a:pt x="0" y="82"/>
                  </a:cubicBezTo>
                  <a:cubicBezTo>
                    <a:pt x="0" y="82"/>
                    <a:pt x="0" y="81"/>
                    <a:pt x="0" y="81"/>
                  </a:cubicBezTo>
                  <a:lnTo>
                    <a:pt x="0" y="6"/>
                  </a:lnTo>
                  <a:cubicBezTo>
                    <a:pt x="0" y="5"/>
                    <a:pt x="0" y="3"/>
                    <a:pt x="1" y="3"/>
                  </a:cubicBezTo>
                  <a:cubicBezTo>
                    <a:pt x="2" y="2"/>
                    <a:pt x="3" y="2"/>
                    <a:pt x="4" y="2"/>
                  </a:cubicBezTo>
                  <a:lnTo>
                    <a:pt x="21" y="2"/>
                  </a:lnTo>
                  <a:cubicBezTo>
                    <a:pt x="23" y="2"/>
                    <a:pt x="25" y="2"/>
                    <a:pt x="26" y="2"/>
                  </a:cubicBezTo>
                  <a:cubicBezTo>
                    <a:pt x="28" y="2"/>
                    <a:pt x="29" y="2"/>
                    <a:pt x="30" y="2"/>
                  </a:cubicBezTo>
                  <a:cubicBezTo>
                    <a:pt x="33" y="3"/>
                    <a:pt x="36" y="4"/>
                    <a:pt x="38" y="5"/>
                  </a:cubicBezTo>
                  <a:cubicBezTo>
                    <a:pt x="41" y="6"/>
                    <a:pt x="43" y="8"/>
                    <a:pt x="44" y="9"/>
                  </a:cubicBezTo>
                  <a:cubicBezTo>
                    <a:pt x="46" y="11"/>
                    <a:pt x="47" y="13"/>
                    <a:pt x="48" y="15"/>
                  </a:cubicBezTo>
                  <a:cubicBezTo>
                    <a:pt x="49" y="18"/>
                    <a:pt x="49" y="20"/>
                    <a:pt x="49" y="23"/>
                  </a:cubicBezTo>
                  <a:cubicBezTo>
                    <a:pt x="49" y="26"/>
                    <a:pt x="49" y="28"/>
                    <a:pt x="48" y="30"/>
                  </a:cubicBezTo>
                  <a:cubicBezTo>
                    <a:pt x="47" y="33"/>
                    <a:pt x="46" y="34"/>
                    <a:pt x="45" y="36"/>
                  </a:cubicBezTo>
                  <a:cubicBezTo>
                    <a:pt x="44" y="38"/>
                    <a:pt x="42" y="39"/>
                    <a:pt x="40" y="40"/>
                  </a:cubicBezTo>
                  <a:cubicBezTo>
                    <a:pt x="38" y="42"/>
                    <a:pt x="36" y="43"/>
                    <a:pt x="34" y="43"/>
                  </a:cubicBezTo>
                  <a:cubicBezTo>
                    <a:pt x="35" y="44"/>
                    <a:pt x="36" y="45"/>
                    <a:pt x="37" y="46"/>
                  </a:cubicBezTo>
                  <a:cubicBezTo>
                    <a:pt x="38" y="47"/>
                    <a:pt x="39" y="48"/>
                    <a:pt x="40" y="49"/>
                  </a:cubicBezTo>
                  <a:cubicBezTo>
                    <a:pt x="41" y="50"/>
                    <a:pt x="42" y="52"/>
                    <a:pt x="43" y="53"/>
                  </a:cubicBezTo>
                  <a:cubicBezTo>
                    <a:pt x="44" y="55"/>
                    <a:pt x="45" y="57"/>
                    <a:pt x="45" y="59"/>
                  </a:cubicBezTo>
                  <a:lnTo>
                    <a:pt x="53" y="76"/>
                  </a:lnTo>
                  <a:cubicBezTo>
                    <a:pt x="53" y="78"/>
                    <a:pt x="54" y="79"/>
                    <a:pt x="54" y="80"/>
                  </a:cubicBezTo>
                  <a:cubicBezTo>
                    <a:pt x="54" y="80"/>
                    <a:pt x="54" y="81"/>
                    <a:pt x="54" y="81"/>
                  </a:cubicBezTo>
                  <a:close/>
                  <a:moveTo>
                    <a:pt x="38" y="24"/>
                  </a:moveTo>
                  <a:cubicBezTo>
                    <a:pt x="38" y="21"/>
                    <a:pt x="37" y="18"/>
                    <a:pt x="36" y="16"/>
                  </a:cubicBezTo>
                  <a:cubicBezTo>
                    <a:pt x="34" y="14"/>
                    <a:pt x="32" y="12"/>
                    <a:pt x="29" y="11"/>
                  </a:cubicBezTo>
                  <a:cubicBezTo>
                    <a:pt x="27" y="11"/>
                    <a:pt x="26" y="11"/>
                    <a:pt x="25" y="11"/>
                  </a:cubicBezTo>
                  <a:cubicBezTo>
                    <a:pt x="24" y="11"/>
                    <a:pt x="22" y="11"/>
                    <a:pt x="20" y="11"/>
                  </a:cubicBezTo>
                  <a:lnTo>
                    <a:pt x="11" y="11"/>
                  </a:lnTo>
                  <a:lnTo>
                    <a:pt x="11" y="38"/>
                  </a:lnTo>
                  <a:lnTo>
                    <a:pt x="21" y="38"/>
                  </a:lnTo>
                  <a:cubicBezTo>
                    <a:pt x="24" y="38"/>
                    <a:pt x="27" y="38"/>
                    <a:pt x="29" y="37"/>
                  </a:cubicBezTo>
                  <a:cubicBezTo>
                    <a:pt x="31" y="36"/>
                    <a:pt x="32" y="35"/>
                    <a:pt x="34" y="34"/>
                  </a:cubicBezTo>
                  <a:cubicBezTo>
                    <a:pt x="35" y="33"/>
                    <a:pt x="36" y="31"/>
                    <a:pt x="37" y="30"/>
                  </a:cubicBezTo>
                  <a:cubicBezTo>
                    <a:pt x="37" y="28"/>
                    <a:pt x="38" y="26"/>
                    <a:pt x="38" y="24"/>
                  </a:cubicBezTo>
                  <a:close/>
                  <a:moveTo>
                    <a:pt x="105" y="81"/>
                  </a:moveTo>
                  <a:cubicBezTo>
                    <a:pt x="105" y="82"/>
                    <a:pt x="105" y="82"/>
                    <a:pt x="105" y="82"/>
                  </a:cubicBezTo>
                  <a:cubicBezTo>
                    <a:pt x="104" y="83"/>
                    <a:pt x="104" y="83"/>
                    <a:pt x="103" y="83"/>
                  </a:cubicBezTo>
                  <a:cubicBezTo>
                    <a:pt x="103" y="83"/>
                    <a:pt x="102" y="83"/>
                    <a:pt x="101" y="83"/>
                  </a:cubicBezTo>
                  <a:cubicBezTo>
                    <a:pt x="100" y="83"/>
                    <a:pt x="99" y="83"/>
                    <a:pt x="98" y="83"/>
                  </a:cubicBezTo>
                  <a:cubicBezTo>
                    <a:pt x="98" y="83"/>
                    <a:pt x="97" y="83"/>
                    <a:pt x="97" y="82"/>
                  </a:cubicBezTo>
                  <a:cubicBezTo>
                    <a:pt x="96" y="82"/>
                    <a:pt x="96" y="82"/>
                    <a:pt x="96" y="81"/>
                  </a:cubicBezTo>
                  <a:lnTo>
                    <a:pt x="96" y="76"/>
                  </a:lnTo>
                  <a:cubicBezTo>
                    <a:pt x="94" y="78"/>
                    <a:pt x="91" y="80"/>
                    <a:pt x="88" y="82"/>
                  </a:cubicBezTo>
                  <a:cubicBezTo>
                    <a:pt x="85" y="83"/>
                    <a:pt x="82" y="84"/>
                    <a:pt x="79" y="84"/>
                  </a:cubicBezTo>
                  <a:cubicBezTo>
                    <a:pt x="76" y="84"/>
                    <a:pt x="73" y="83"/>
                    <a:pt x="71" y="83"/>
                  </a:cubicBezTo>
                  <a:cubicBezTo>
                    <a:pt x="68" y="82"/>
                    <a:pt x="66" y="81"/>
                    <a:pt x="64" y="79"/>
                  </a:cubicBezTo>
                  <a:cubicBezTo>
                    <a:pt x="63" y="78"/>
                    <a:pt x="61" y="76"/>
                    <a:pt x="60" y="74"/>
                  </a:cubicBezTo>
                  <a:cubicBezTo>
                    <a:pt x="60" y="72"/>
                    <a:pt x="59" y="69"/>
                    <a:pt x="59" y="67"/>
                  </a:cubicBezTo>
                  <a:cubicBezTo>
                    <a:pt x="59" y="64"/>
                    <a:pt x="60" y="61"/>
                    <a:pt x="61" y="58"/>
                  </a:cubicBezTo>
                  <a:cubicBezTo>
                    <a:pt x="62" y="56"/>
                    <a:pt x="64" y="54"/>
                    <a:pt x="67" y="53"/>
                  </a:cubicBezTo>
                  <a:cubicBezTo>
                    <a:pt x="69" y="51"/>
                    <a:pt x="72" y="50"/>
                    <a:pt x="75" y="49"/>
                  </a:cubicBezTo>
                  <a:cubicBezTo>
                    <a:pt x="79" y="48"/>
                    <a:pt x="83" y="48"/>
                    <a:pt x="87" y="48"/>
                  </a:cubicBezTo>
                  <a:lnTo>
                    <a:pt x="95" y="48"/>
                  </a:lnTo>
                  <a:lnTo>
                    <a:pt x="95" y="44"/>
                  </a:lnTo>
                  <a:cubicBezTo>
                    <a:pt x="95" y="42"/>
                    <a:pt x="95" y="40"/>
                    <a:pt x="94" y="38"/>
                  </a:cubicBezTo>
                  <a:cubicBezTo>
                    <a:pt x="94" y="36"/>
                    <a:pt x="93" y="35"/>
                    <a:pt x="92" y="34"/>
                  </a:cubicBezTo>
                  <a:cubicBezTo>
                    <a:pt x="91" y="33"/>
                    <a:pt x="90" y="32"/>
                    <a:pt x="88" y="31"/>
                  </a:cubicBezTo>
                  <a:cubicBezTo>
                    <a:pt x="86" y="31"/>
                    <a:pt x="84" y="30"/>
                    <a:pt x="82" y="30"/>
                  </a:cubicBezTo>
                  <a:cubicBezTo>
                    <a:pt x="80" y="30"/>
                    <a:pt x="77" y="31"/>
                    <a:pt x="75" y="31"/>
                  </a:cubicBezTo>
                  <a:cubicBezTo>
                    <a:pt x="73" y="32"/>
                    <a:pt x="71" y="33"/>
                    <a:pt x="70" y="33"/>
                  </a:cubicBezTo>
                  <a:cubicBezTo>
                    <a:pt x="68" y="34"/>
                    <a:pt x="67" y="35"/>
                    <a:pt x="66" y="35"/>
                  </a:cubicBezTo>
                  <a:cubicBezTo>
                    <a:pt x="65" y="36"/>
                    <a:pt x="64" y="36"/>
                    <a:pt x="64" y="36"/>
                  </a:cubicBezTo>
                  <a:cubicBezTo>
                    <a:pt x="64" y="36"/>
                    <a:pt x="63" y="36"/>
                    <a:pt x="63" y="36"/>
                  </a:cubicBezTo>
                  <a:cubicBezTo>
                    <a:pt x="63" y="36"/>
                    <a:pt x="63" y="36"/>
                    <a:pt x="62" y="35"/>
                  </a:cubicBezTo>
                  <a:cubicBezTo>
                    <a:pt x="62" y="35"/>
                    <a:pt x="62" y="34"/>
                    <a:pt x="62" y="34"/>
                  </a:cubicBezTo>
                  <a:cubicBezTo>
                    <a:pt x="62" y="33"/>
                    <a:pt x="62" y="33"/>
                    <a:pt x="62" y="32"/>
                  </a:cubicBezTo>
                  <a:cubicBezTo>
                    <a:pt x="62" y="31"/>
                    <a:pt x="62" y="30"/>
                    <a:pt x="62" y="30"/>
                  </a:cubicBezTo>
                  <a:cubicBezTo>
                    <a:pt x="62" y="29"/>
                    <a:pt x="63" y="29"/>
                    <a:pt x="63" y="28"/>
                  </a:cubicBezTo>
                  <a:cubicBezTo>
                    <a:pt x="64" y="28"/>
                    <a:pt x="65" y="27"/>
                    <a:pt x="66" y="26"/>
                  </a:cubicBezTo>
                  <a:cubicBezTo>
                    <a:pt x="67" y="25"/>
                    <a:pt x="69" y="25"/>
                    <a:pt x="71" y="24"/>
                  </a:cubicBezTo>
                  <a:cubicBezTo>
                    <a:pt x="73" y="24"/>
                    <a:pt x="74" y="23"/>
                    <a:pt x="77" y="23"/>
                  </a:cubicBezTo>
                  <a:cubicBezTo>
                    <a:pt x="79" y="22"/>
                    <a:pt x="81" y="22"/>
                    <a:pt x="83" y="22"/>
                  </a:cubicBezTo>
                  <a:cubicBezTo>
                    <a:pt x="87" y="22"/>
                    <a:pt x="91" y="23"/>
                    <a:pt x="93" y="23"/>
                  </a:cubicBezTo>
                  <a:cubicBezTo>
                    <a:pt x="96" y="24"/>
                    <a:pt x="98" y="26"/>
                    <a:pt x="100" y="27"/>
                  </a:cubicBezTo>
                  <a:cubicBezTo>
                    <a:pt x="102" y="29"/>
                    <a:pt x="103" y="31"/>
                    <a:pt x="104" y="34"/>
                  </a:cubicBezTo>
                  <a:cubicBezTo>
                    <a:pt x="105" y="37"/>
                    <a:pt x="105" y="40"/>
                    <a:pt x="105" y="43"/>
                  </a:cubicBezTo>
                  <a:lnTo>
                    <a:pt x="105" y="81"/>
                  </a:lnTo>
                  <a:close/>
                  <a:moveTo>
                    <a:pt x="95" y="55"/>
                  </a:moveTo>
                  <a:lnTo>
                    <a:pt x="86" y="55"/>
                  </a:lnTo>
                  <a:cubicBezTo>
                    <a:pt x="83" y="55"/>
                    <a:pt x="81" y="56"/>
                    <a:pt x="79" y="56"/>
                  </a:cubicBezTo>
                  <a:cubicBezTo>
                    <a:pt x="77" y="57"/>
                    <a:pt x="75" y="57"/>
                    <a:pt x="74" y="58"/>
                  </a:cubicBezTo>
                  <a:cubicBezTo>
                    <a:pt x="72" y="59"/>
                    <a:pt x="71" y="60"/>
                    <a:pt x="71" y="62"/>
                  </a:cubicBezTo>
                  <a:cubicBezTo>
                    <a:pt x="70" y="63"/>
                    <a:pt x="70" y="65"/>
                    <a:pt x="70" y="66"/>
                  </a:cubicBezTo>
                  <a:cubicBezTo>
                    <a:pt x="70" y="69"/>
                    <a:pt x="71" y="71"/>
                    <a:pt x="72" y="73"/>
                  </a:cubicBezTo>
                  <a:cubicBezTo>
                    <a:pt x="74" y="75"/>
                    <a:pt x="77" y="76"/>
                    <a:pt x="80" y="76"/>
                  </a:cubicBezTo>
                  <a:cubicBezTo>
                    <a:pt x="83" y="76"/>
                    <a:pt x="85" y="75"/>
                    <a:pt x="88" y="74"/>
                  </a:cubicBezTo>
                  <a:cubicBezTo>
                    <a:pt x="90" y="72"/>
                    <a:pt x="92" y="70"/>
                    <a:pt x="95" y="67"/>
                  </a:cubicBezTo>
                  <a:lnTo>
                    <a:pt x="95" y="55"/>
                  </a:lnTo>
                  <a:close/>
                  <a:moveTo>
                    <a:pt x="137" y="81"/>
                  </a:moveTo>
                  <a:cubicBezTo>
                    <a:pt x="137" y="81"/>
                    <a:pt x="137" y="82"/>
                    <a:pt x="137" y="82"/>
                  </a:cubicBezTo>
                  <a:cubicBezTo>
                    <a:pt x="137" y="82"/>
                    <a:pt x="136" y="82"/>
                    <a:pt x="136" y="83"/>
                  </a:cubicBezTo>
                  <a:cubicBezTo>
                    <a:pt x="136" y="83"/>
                    <a:pt x="135" y="83"/>
                    <a:pt x="135" y="83"/>
                  </a:cubicBezTo>
                  <a:cubicBezTo>
                    <a:pt x="134" y="83"/>
                    <a:pt x="133" y="83"/>
                    <a:pt x="132" y="83"/>
                  </a:cubicBezTo>
                  <a:cubicBezTo>
                    <a:pt x="131" y="83"/>
                    <a:pt x="130" y="83"/>
                    <a:pt x="129" y="83"/>
                  </a:cubicBezTo>
                  <a:cubicBezTo>
                    <a:pt x="129" y="83"/>
                    <a:pt x="128" y="83"/>
                    <a:pt x="128" y="83"/>
                  </a:cubicBezTo>
                  <a:cubicBezTo>
                    <a:pt x="127" y="82"/>
                    <a:pt x="127" y="82"/>
                    <a:pt x="127" y="82"/>
                  </a:cubicBezTo>
                  <a:cubicBezTo>
                    <a:pt x="127" y="82"/>
                    <a:pt x="127" y="81"/>
                    <a:pt x="127" y="81"/>
                  </a:cubicBezTo>
                  <a:lnTo>
                    <a:pt x="127" y="25"/>
                  </a:lnTo>
                  <a:cubicBezTo>
                    <a:pt x="127" y="25"/>
                    <a:pt x="127" y="24"/>
                    <a:pt x="127" y="24"/>
                  </a:cubicBezTo>
                  <a:cubicBezTo>
                    <a:pt x="127" y="24"/>
                    <a:pt x="127" y="24"/>
                    <a:pt x="128" y="23"/>
                  </a:cubicBezTo>
                  <a:cubicBezTo>
                    <a:pt x="128" y="23"/>
                    <a:pt x="129" y="23"/>
                    <a:pt x="129" y="23"/>
                  </a:cubicBezTo>
                  <a:cubicBezTo>
                    <a:pt x="130" y="23"/>
                    <a:pt x="131" y="23"/>
                    <a:pt x="132" y="23"/>
                  </a:cubicBezTo>
                  <a:cubicBezTo>
                    <a:pt x="133" y="23"/>
                    <a:pt x="134" y="23"/>
                    <a:pt x="135" y="23"/>
                  </a:cubicBezTo>
                  <a:cubicBezTo>
                    <a:pt x="135" y="23"/>
                    <a:pt x="136" y="23"/>
                    <a:pt x="136" y="23"/>
                  </a:cubicBezTo>
                  <a:cubicBezTo>
                    <a:pt x="136" y="24"/>
                    <a:pt x="137" y="24"/>
                    <a:pt x="137" y="24"/>
                  </a:cubicBezTo>
                  <a:cubicBezTo>
                    <a:pt x="137" y="24"/>
                    <a:pt x="137" y="25"/>
                    <a:pt x="137" y="25"/>
                  </a:cubicBezTo>
                  <a:lnTo>
                    <a:pt x="137" y="81"/>
                  </a:lnTo>
                  <a:close/>
                  <a:moveTo>
                    <a:pt x="138" y="6"/>
                  </a:moveTo>
                  <a:cubicBezTo>
                    <a:pt x="138" y="8"/>
                    <a:pt x="138" y="10"/>
                    <a:pt x="137" y="11"/>
                  </a:cubicBezTo>
                  <a:cubicBezTo>
                    <a:pt x="136" y="12"/>
                    <a:pt x="134" y="12"/>
                    <a:pt x="132" y="12"/>
                  </a:cubicBezTo>
                  <a:cubicBezTo>
                    <a:pt x="129" y="12"/>
                    <a:pt x="128" y="12"/>
                    <a:pt x="127" y="11"/>
                  </a:cubicBezTo>
                  <a:cubicBezTo>
                    <a:pt x="126" y="10"/>
                    <a:pt x="126" y="8"/>
                    <a:pt x="126" y="6"/>
                  </a:cubicBezTo>
                  <a:cubicBezTo>
                    <a:pt x="126" y="4"/>
                    <a:pt x="126" y="2"/>
                    <a:pt x="127" y="1"/>
                  </a:cubicBezTo>
                  <a:cubicBezTo>
                    <a:pt x="128" y="0"/>
                    <a:pt x="130" y="0"/>
                    <a:pt x="132" y="0"/>
                  </a:cubicBezTo>
                  <a:cubicBezTo>
                    <a:pt x="134" y="0"/>
                    <a:pt x="136" y="0"/>
                    <a:pt x="137" y="1"/>
                  </a:cubicBezTo>
                  <a:cubicBezTo>
                    <a:pt x="138" y="2"/>
                    <a:pt x="138" y="3"/>
                    <a:pt x="138" y="6"/>
                  </a:cubicBezTo>
                  <a:close/>
                  <a:moveTo>
                    <a:pt x="194" y="66"/>
                  </a:moveTo>
                  <a:cubicBezTo>
                    <a:pt x="194" y="69"/>
                    <a:pt x="194" y="71"/>
                    <a:pt x="193" y="73"/>
                  </a:cubicBezTo>
                  <a:cubicBezTo>
                    <a:pt x="192" y="76"/>
                    <a:pt x="190" y="78"/>
                    <a:pt x="188" y="79"/>
                  </a:cubicBezTo>
                  <a:cubicBezTo>
                    <a:pt x="186" y="81"/>
                    <a:pt x="184" y="82"/>
                    <a:pt x="181" y="83"/>
                  </a:cubicBezTo>
                  <a:cubicBezTo>
                    <a:pt x="178" y="83"/>
                    <a:pt x="175" y="84"/>
                    <a:pt x="172" y="84"/>
                  </a:cubicBezTo>
                  <a:cubicBezTo>
                    <a:pt x="170" y="84"/>
                    <a:pt x="168" y="84"/>
                    <a:pt x="166" y="83"/>
                  </a:cubicBezTo>
                  <a:cubicBezTo>
                    <a:pt x="165" y="83"/>
                    <a:pt x="163" y="83"/>
                    <a:pt x="162" y="82"/>
                  </a:cubicBezTo>
                  <a:cubicBezTo>
                    <a:pt x="160" y="82"/>
                    <a:pt x="159" y="81"/>
                    <a:pt x="158" y="81"/>
                  </a:cubicBezTo>
                  <a:cubicBezTo>
                    <a:pt x="157" y="80"/>
                    <a:pt x="156" y="80"/>
                    <a:pt x="156" y="79"/>
                  </a:cubicBezTo>
                  <a:cubicBezTo>
                    <a:pt x="155" y="79"/>
                    <a:pt x="155" y="78"/>
                    <a:pt x="155" y="78"/>
                  </a:cubicBezTo>
                  <a:cubicBezTo>
                    <a:pt x="154" y="77"/>
                    <a:pt x="154" y="76"/>
                    <a:pt x="154" y="74"/>
                  </a:cubicBezTo>
                  <a:cubicBezTo>
                    <a:pt x="154" y="74"/>
                    <a:pt x="154" y="73"/>
                    <a:pt x="154" y="72"/>
                  </a:cubicBezTo>
                  <a:cubicBezTo>
                    <a:pt x="155" y="72"/>
                    <a:pt x="155" y="72"/>
                    <a:pt x="155" y="71"/>
                  </a:cubicBezTo>
                  <a:cubicBezTo>
                    <a:pt x="155" y="71"/>
                    <a:pt x="155" y="71"/>
                    <a:pt x="155" y="70"/>
                  </a:cubicBezTo>
                  <a:cubicBezTo>
                    <a:pt x="156" y="70"/>
                    <a:pt x="156" y="70"/>
                    <a:pt x="156" y="70"/>
                  </a:cubicBezTo>
                  <a:cubicBezTo>
                    <a:pt x="157" y="70"/>
                    <a:pt x="157" y="71"/>
                    <a:pt x="158" y="71"/>
                  </a:cubicBezTo>
                  <a:cubicBezTo>
                    <a:pt x="159" y="72"/>
                    <a:pt x="160" y="72"/>
                    <a:pt x="161" y="73"/>
                  </a:cubicBezTo>
                  <a:cubicBezTo>
                    <a:pt x="163" y="74"/>
                    <a:pt x="164" y="74"/>
                    <a:pt x="166" y="75"/>
                  </a:cubicBezTo>
                  <a:cubicBezTo>
                    <a:pt x="168" y="75"/>
                    <a:pt x="170" y="76"/>
                    <a:pt x="172" y="76"/>
                  </a:cubicBezTo>
                  <a:cubicBezTo>
                    <a:pt x="174" y="76"/>
                    <a:pt x="176" y="75"/>
                    <a:pt x="177" y="75"/>
                  </a:cubicBezTo>
                  <a:cubicBezTo>
                    <a:pt x="178" y="75"/>
                    <a:pt x="180" y="74"/>
                    <a:pt x="181" y="73"/>
                  </a:cubicBezTo>
                  <a:cubicBezTo>
                    <a:pt x="182" y="73"/>
                    <a:pt x="183" y="72"/>
                    <a:pt x="183" y="71"/>
                  </a:cubicBezTo>
                  <a:cubicBezTo>
                    <a:pt x="184" y="69"/>
                    <a:pt x="184" y="68"/>
                    <a:pt x="184" y="67"/>
                  </a:cubicBezTo>
                  <a:cubicBezTo>
                    <a:pt x="184" y="65"/>
                    <a:pt x="184" y="64"/>
                    <a:pt x="183" y="63"/>
                  </a:cubicBezTo>
                  <a:cubicBezTo>
                    <a:pt x="182" y="62"/>
                    <a:pt x="181" y="61"/>
                    <a:pt x="180" y="60"/>
                  </a:cubicBezTo>
                  <a:cubicBezTo>
                    <a:pt x="178" y="59"/>
                    <a:pt x="177" y="58"/>
                    <a:pt x="175" y="58"/>
                  </a:cubicBezTo>
                  <a:cubicBezTo>
                    <a:pt x="173" y="57"/>
                    <a:pt x="172" y="56"/>
                    <a:pt x="170" y="55"/>
                  </a:cubicBezTo>
                  <a:cubicBezTo>
                    <a:pt x="168" y="55"/>
                    <a:pt x="166" y="54"/>
                    <a:pt x="165" y="53"/>
                  </a:cubicBezTo>
                  <a:cubicBezTo>
                    <a:pt x="163" y="52"/>
                    <a:pt x="161" y="51"/>
                    <a:pt x="160" y="50"/>
                  </a:cubicBezTo>
                  <a:cubicBezTo>
                    <a:pt x="159" y="49"/>
                    <a:pt x="158" y="47"/>
                    <a:pt x="157" y="45"/>
                  </a:cubicBezTo>
                  <a:cubicBezTo>
                    <a:pt x="156" y="43"/>
                    <a:pt x="156" y="41"/>
                    <a:pt x="156" y="39"/>
                  </a:cubicBezTo>
                  <a:cubicBezTo>
                    <a:pt x="156" y="37"/>
                    <a:pt x="156" y="34"/>
                    <a:pt x="157" y="32"/>
                  </a:cubicBezTo>
                  <a:cubicBezTo>
                    <a:pt x="158" y="30"/>
                    <a:pt x="159" y="29"/>
                    <a:pt x="161" y="27"/>
                  </a:cubicBezTo>
                  <a:cubicBezTo>
                    <a:pt x="163" y="26"/>
                    <a:pt x="165" y="24"/>
                    <a:pt x="167" y="23"/>
                  </a:cubicBezTo>
                  <a:cubicBezTo>
                    <a:pt x="170" y="23"/>
                    <a:pt x="173" y="22"/>
                    <a:pt x="176" y="22"/>
                  </a:cubicBezTo>
                  <a:cubicBezTo>
                    <a:pt x="178" y="22"/>
                    <a:pt x="179" y="22"/>
                    <a:pt x="181" y="22"/>
                  </a:cubicBezTo>
                  <a:cubicBezTo>
                    <a:pt x="182" y="23"/>
                    <a:pt x="184" y="23"/>
                    <a:pt x="185" y="23"/>
                  </a:cubicBezTo>
                  <a:cubicBezTo>
                    <a:pt x="186" y="24"/>
                    <a:pt x="187" y="24"/>
                    <a:pt x="188" y="25"/>
                  </a:cubicBezTo>
                  <a:cubicBezTo>
                    <a:pt x="189" y="25"/>
                    <a:pt x="189" y="25"/>
                    <a:pt x="190" y="26"/>
                  </a:cubicBezTo>
                  <a:cubicBezTo>
                    <a:pt x="190" y="26"/>
                    <a:pt x="191" y="26"/>
                    <a:pt x="191" y="27"/>
                  </a:cubicBezTo>
                  <a:cubicBezTo>
                    <a:pt x="191" y="27"/>
                    <a:pt x="191" y="27"/>
                    <a:pt x="191" y="27"/>
                  </a:cubicBezTo>
                  <a:cubicBezTo>
                    <a:pt x="191" y="28"/>
                    <a:pt x="191" y="28"/>
                    <a:pt x="191" y="29"/>
                  </a:cubicBezTo>
                  <a:cubicBezTo>
                    <a:pt x="191" y="29"/>
                    <a:pt x="191" y="30"/>
                    <a:pt x="191" y="30"/>
                  </a:cubicBezTo>
                  <a:cubicBezTo>
                    <a:pt x="191" y="31"/>
                    <a:pt x="191" y="32"/>
                    <a:pt x="191" y="32"/>
                  </a:cubicBezTo>
                  <a:cubicBezTo>
                    <a:pt x="191" y="33"/>
                    <a:pt x="191" y="33"/>
                    <a:pt x="191" y="33"/>
                  </a:cubicBezTo>
                  <a:cubicBezTo>
                    <a:pt x="191" y="34"/>
                    <a:pt x="191" y="34"/>
                    <a:pt x="190" y="34"/>
                  </a:cubicBezTo>
                  <a:cubicBezTo>
                    <a:pt x="190" y="34"/>
                    <a:pt x="190" y="34"/>
                    <a:pt x="190" y="34"/>
                  </a:cubicBezTo>
                  <a:cubicBezTo>
                    <a:pt x="189" y="34"/>
                    <a:pt x="189" y="34"/>
                    <a:pt x="188" y="34"/>
                  </a:cubicBezTo>
                  <a:cubicBezTo>
                    <a:pt x="187" y="33"/>
                    <a:pt x="186" y="33"/>
                    <a:pt x="185" y="32"/>
                  </a:cubicBezTo>
                  <a:cubicBezTo>
                    <a:pt x="184" y="32"/>
                    <a:pt x="183" y="31"/>
                    <a:pt x="181" y="31"/>
                  </a:cubicBezTo>
                  <a:cubicBezTo>
                    <a:pt x="180" y="30"/>
                    <a:pt x="178" y="30"/>
                    <a:pt x="176" y="30"/>
                  </a:cubicBezTo>
                  <a:cubicBezTo>
                    <a:pt x="174" y="30"/>
                    <a:pt x="173" y="30"/>
                    <a:pt x="171" y="31"/>
                  </a:cubicBezTo>
                  <a:cubicBezTo>
                    <a:pt x="170" y="31"/>
                    <a:pt x="169" y="32"/>
                    <a:pt x="168" y="32"/>
                  </a:cubicBezTo>
                  <a:cubicBezTo>
                    <a:pt x="167" y="33"/>
                    <a:pt x="167" y="34"/>
                    <a:pt x="166" y="35"/>
                  </a:cubicBezTo>
                  <a:cubicBezTo>
                    <a:pt x="166" y="36"/>
                    <a:pt x="166" y="37"/>
                    <a:pt x="166" y="38"/>
                  </a:cubicBezTo>
                  <a:cubicBezTo>
                    <a:pt x="166" y="40"/>
                    <a:pt x="166" y="41"/>
                    <a:pt x="167" y="42"/>
                  </a:cubicBezTo>
                  <a:cubicBezTo>
                    <a:pt x="168" y="43"/>
                    <a:pt x="169" y="44"/>
                    <a:pt x="170" y="45"/>
                  </a:cubicBezTo>
                  <a:cubicBezTo>
                    <a:pt x="171" y="46"/>
                    <a:pt x="173" y="47"/>
                    <a:pt x="175" y="47"/>
                  </a:cubicBezTo>
                  <a:cubicBezTo>
                    <a:pt x="176" y="48"/>
                    <a:pt x="178" y="49"/>
                    <a:pt x="180" y="49"/>
                  </a:cubicBezTo>
                  <a:cubicBezTo>
                    <a:pt x="182" y="50"/>
                    <a:pt x="183" y="51"/>
                    <a:pt x="185" y="52"/>
                  </a:cubicBezTo>
                  <a:cubicBezTo>
                    <a:pt x="187" y="53"/>
                    <a:pt x="188" y="54"/>
                    <a:pt x="190" y="55"/>
                  </a:cubicBezTo>
                  <a:cubicBezTo>
                    <a:pt x="191" y="56"/>
                    <a:pt x="192" y="58"/>
                    <a:pt x="193" y="60"/>
                  </a:cubicBezTo>
                  <a:cubicBezTo>
                    <a:pt x="194" y="61"/>
                    <a:pt x="194" y="63"/>
                    <a:pt x="194" y="66"/>
                  </a:cubicBezTo>
                  <a:close/>
                  <a:moveTo>
                    <a:pt x="255" y="51"/>
                  </a:moveTo>
                  <a:cubicBezTo>
                    <a:pt x="255" y="52"/>
                    <a:pt x="254" y="53"/>
                    <a:pt x="254" y="54"/>
                  </a:cubicBezTo>
                  <a:cubicBezTo>
                    <a:pt x="253" y="55"/>
                    <a:pt x="252" y="55"/>
                    <a:pt x="251" y="55"/>
                  </a:cubicBezTo>
                  <a:lnTo>
                    <a:pt x="214" y="55"/>
                  </a:lnTo>
                  <a:cubicBezTo>
                    <a:pt x="214" y="58"/>
                    <a:pt x="214" y="61"/>
                    <a:pt x="215" y="63"/>
                  </a:cubicBezTo>
                  <a:cubicBezTo>
                    <a:pt x="215" y="66"/>
                    <a:pt x="216" y="68"/>
                    <a:pt x="218" y="70"/>
                  </a:cubicBezTo>
                  <a:cubicBezTo>
                    <a:pt x="219" y="72"/>
                    <a:pt x="221" y="73"/>
                    <a:pt x="224" y="74"/>
                  </a:cubicBezTo>
                  <a:cubicBezTo>
                    <a:pt x="226" y="75"/>
                    <a:pt x="229" y="75"/>
                    <a:pt x="232" y="75"/>
                  </a:cubicBezTo>
                  <a:cubicBezTo>
                    <a:pt x="235" y="75"/>
                    <a:pt x="237" y="75"/>
                    <a:pt x="239" y="75"/>
                  </a:cubicBezTo>
                  <a:cubicBezTo>
                    <a:pt x="241" y="74"/>
                    <a:pt x="243" y="74"/>
                    <a:pt x="245" y="73"/>
                  </a:cubicBezTo>
                  <a:cubicBezTo>
                    <a:pt x="246" y="73"/>
                    <a:pt x="248" y="72"/>
                    <a:pt x="249" y="72"/>
                  </a:cubicBezTo>
                  <a:cubicBezTo>
                    <a:pt x="250" y="71"/>
                    <a:pt x="250" y="71"/>
                    <a:pt x="251" y="71"/>
                  </a:cubicBezTo>
                  <a:cubicBezTo>
                    <a:pt x="251" y="71"/>
                    <a:pt x="251" y="71"/>
                    <a:pt x="252" y="71"/>
                  </a:cubicBezTo>
                  <a:cubicBezTo>
                    <a:pt x="252" y="72"/>
                    <a:pt x="252" y="72"/>
                    <a:pt x="252" y="72"/>
                  </a:cubicBezTo>
                  <a:cubicBezTo>
                    <a:pt x="252" y="72"/>
                    <a:pt x="252" y="73"/>
                    <a:pt x="252" y="73"/>
                  </a:cubicBezTo>
                  <a:cubicBezTo>
                    <a:pt x="252" y="74"/>
                    <a:pt x="252" y="74"/>
                    <a:pt x="252" y="75"/>
                  </a:cubicBezTo>
                  <a:cubicBezTo>
                    <a:pt x="252" y="76"/>
                    <a:pt x="252" y="76"/>
                    <a:pt x="252" y="77"/>
                  </a:cubicBezTo>
                  <a:cubicBezTo>
                    <a:pt x="252" y="77"/>
                    <a:pt x="252" y="77"/>
                    <a:pt x="252" y="78"/>
                  </a:cubicBezTo>
                  <a:cubicBezTo>
                    <a:pt x="252" y="78"/>
                    <a:pt x="252" y="78"/>
                    <a:pt x="252" y="79"/>
                  </a:cubicBezTo>
                  <a:cubicBezTo>
                    <a:pt x="252" y="79"/>
                    <a:pt x="252" y="79"/>
                    <a:pt x="251" y="79"/>
                  </a:cubicBezTo>
                  <a:cubicBezTo>
                    <a:pt x="251" y="79"/>
                    <a:pt x="250" y="80"/>
                    <a:pt x="249" y="80"/>
                  </a:cubicBezTo>
                  <a:cubicBezTo>
                    <a:pt x="248" y="81"/>
                    <a:pt x="247" y="81"/>
                    <a:pt x="245" y="82"/>
                  </a:cubicBezTo>
                  <a:cubicBezTo>
                    <a:pt x="243" y="82"/>
                    <a:pt x="241" y="83"/>
                    <a:pt x="239" y="83"/>
                  </a:cubicBezTo>
                  <a:cubicBezTo>
                    <a:pt x="236" y="84"/>
                    <a:pt x="234" y="84"/>
                    <a:pt x="231" y="84"/>
                  </a:cubicBezTo>
                  <a:cubicBezTo>
                    <a:pt x="227" y="84"/>
                    <a:pt x="223" y="83"/>
                    <a:pt x="219" y="82"/>
                  </a:cubicBezTo>
                  <a:cubicBezTo>
                    <a:pt x="216" y="81"/>
                    <a:pt x="213" y="79"/>
                    <a:pt x="210" y="76"/>
                  </a:cubicBezTo>
                  <a:cubicBezTo>
                    <a:pt x="208" y="74"/>
                    <a:pt x="206" y="70"/>
                    <a:pt x="205" y="67"/>
                  </a:cubicBezTo>
                  <a:cubicBezTo>
                    <a:pt x="204" y="63"/>
                    <a:pt x="203" y="58"/>
                    <a:pt x="203" y="53"/>
                  </a:cubicBezTo>
                  <a:cubicBezTo>
                    <a:pt x="203" y="48"/>
                    <a:pt x="204" y="44"/>
                    <a:pt x="205" y="40"/>
                  </a:cubicBezTo>
                  <a:cubicBezTo>
                    <a:pt x="206" y="36"/>
                    <a:pt x="208" y="33"/>
                    <a:pt x="210" y="30"/>
                  </a:cubicBezTo>
                  <a:cubicBezTo>
                    <a:pt x="213" y="28"/>
                    <a:pt x="216" y="26"/>
                    <a:pt x="219" y="24"/>
                  </a:cubicBezTo>
                  <a:cubicBezTo>
                    <a:pt x="222" y="23"/>
                    <a:pt x="226" y="22"/>
                    <a:pt x="230" y="22"/>
                  </a:cubicBezTo>
                  <a:cubicBezTo>
                    <a:pt x="235" y="22"/>
                    <a:pt x="238" y="23"/>
                    <a:pt x="241" y="24"/>
                  </a:cubicBezTo>
                  <a:cubicBezTo>
                    <a:pt x="244" y="26"/>
                    <a:pt x="247" y="27"/>
                    <a:pt x="249" y="30"/>
                  </a:cubicBezTo>
                  <a:cubicBezTo>
                    <a:pt x="251" y="32"/>
                    <a:pt x="253" y="35"/>
                    <a:pt x="253" y="38"/>
                  </a:cubicBezTo>
                  <a:cubicBezTo>
                    <a:pt x="254" y="42"/>
                    <a:pt x="255" y="45"/>
                    <a:pt x="255" y="49"/>
                  </a:cubicBezTo>
                  <a:lnTo>
                    <a:pt x="255" y="51"/>
                  </a:lnTo>
                  <a:close/>
                  <a:moveTo>
                    <a:pt x="244" y="47"/>
                  </a:moveTo>
                  <a:cubicBezTo>
                    <a:pt x="245" y="42"/>
                    <a:pt x="243" y="38"/>
                    <a:pt x="241" y="35"/>
                  </a:cubicBezTo>
                  <a:cubicBezTo>
                    <a:pt x="238" y="32"/>
                    <a:pt x="235" y="30"/>
                    <a:pt x="230" y="30"/>
                  </a:cubicBezTo>
                  <a:cubicBezTo>
                    <a:pt x="227" y="30"/>
                    <a:pt x="225" y="31"/>
                    <a:pt x="223" y="32"/>
                  </a:cubicBezTo>
                  <a:cubicBezTo>
                    <a:pt x="221" y="33"/>
                    <a:pt x="219" y="34"/>
                    <a:pt x="218" y="35"/>
                  </a:cubicBezTo>
                  <a:cubicBezTo>
                    <a:pt x="217" y="37"/>
                    <a:pt x="216" y="39"/>
                    <a:pt x="215" y="41"/>
                  </a:cubicBezTo>
                  <a:cubicBezTo>
                    <a:pt x="214" y="43"/>
                    <a:pt x="214" y="45"/>
                    <a:pt x="214" y="47"/>
                  </a:cubicBezTo>
                  <a:lnTo>
                    <a:pt x="244" y="47"/>
                  </a:lnTo>
                  <a:close/>
                  <a:moveTo>
                    <a:pt x="315" y="81"/>
                  </a:moveTo>
                  <a:cubicBezTo>
                    <a:pt x="315" y="81"/>
                    <a:pt x="315" y="82"/>
                    <a:pt x="315" y="82"/>
                  </a:cubicBezTo>
                  <a:cubicBezTo>
                    <a:pt x="314" y="82"/>
                    <a:pt x="314" y="82"/>
                    <a:pt x="314" y="83"/>
                  </a:cubicBezTo>
                  <a:cubicBezTo>
                    <a:pt x="313" y="83"/>
                    <a:pt x="313" y="83"/>
                    <a:pt x="312" y="83"/>
                  </a:cubicBezTo>
                  <a:cubicBezTo>
                    <a:pt x="311" y="83"/>
                    <a:pt x="310" y="83"/>
                    <a:pt x="309" y="83"/>
                  </a:cubicBezTo>
                  <a:cubicBezTo>
                    <a:pt x="308" y="83"/>
                    <a:pt x="308" y="83"/>
                    <a:pt x="307" y="83"/>
                  </a:cubicBezTo>
                  <a:cubicBezTo>
                    <a:pt x="306" y="83"/>
                    <a:pt x="306" y="83"/>
                    <a:pt x="305" y="83"/>
                  </a:cubicBezTo>
                  <a:cubicBezTo>
                    <a:pt x="305" y="82"/>
                    <a:pt x="304" y="82"/>
                    <a:pt x="304" y="82"/>
                  </a:cubicBezTo>
                  <a:cubicBezTo>
                    <a:pt x="304" y="82"/>
                    <a:pt x="304" y="81"/>
                    <a:pt x="304" y="81"/>
                  </a:cubicBezTo>
                  <a:lnTo>
                    <a:pt x="304" y="3"/>
                  </a:lnTo>
                  <a:cubicBezTo>
                    <a:pt x="304" y="3"/>
                    <a:pt x="304" y="3"/>
                    <a:pt x="304" y="3"/>
                  </a:cubicBezTo>
                  <a:cubicBezTo>
                    <a:pt x="305" y="2"/>
                    <a:pt x="305" y="2"/>
                    <a:pt x="305" y="2"/>
                  </a:cubicBezTo>
                  <a:cubicBezTo>
                    <a:pt x="306" y="2"/>
                    <a:pt x="306" y="2"/>
                    <a:pt x="307" y="2"/>
                  </a:cubicBezTo>
                  <a:cubicBezTo>
                    <a:pt x="308" y="1"/>
                    <a:pt x="308" y="1"/>
                    <a:pt x="309" y="1"/>
                  </a:cubicBezTo>
                  <a:cubicBezTo>
                    <a:pt x="310" y="1"/>
                    <a:pt x="311" y="1"/>
                    <a:pt x="312" y="2"/>
                  </a:cubicBezTo>
                  <a:cubicBezTo>
                    <a:pt x="313" y="2"/>
                    <a:pt x="313" y="2"/>
                    <a:pt x="314" y="2"/>
                  </a:cubicBezTo>
                  <a:cubicBezTo>
                    <a:pt x="314" y="2"/>
                    <a:pt x="314" y="2"/>
                    <a:pt x="315" y="3"/>
                  </a:cubicBezTo>
                  <a:cubicBezTo>
                    <a:pt x="315" y="3"/>
                    <a:pt x="315" y="3"/>
                    <a:pt x="315" y="3"/>
                  </a:cubicBezTo>
                  <a:lnTo>
                    <a:pt x="315" y="81"/>
                  </a:lnTo>
                  <a:close/>
                  <a:moveTo>
                    <a:pt x="383" y="81"/>
                  </a:moveTo>
                  <a:cubicBezTo>
                    <a:pt x="383" y="81"/>
                    <a:pt x="383" y="82"/>
                    <a:pt x="383" y="82"/>
                  </a:cubicBezTo>
                  <a:cubicBezTo>
                    <a:pt x="383" y="82"/>
                    <a:pt x="383" y="82"/>
                    <a:pt x="382" y="83"/>
                  </a:cubicBezTo>
                  <a:cubicBezTo>
                    <a:pt x="382" y="83"/>
                    <a:pt x="381" y="83"/>
                    <a:pt x="381" y="83"/>
                  </a:cubicBezTo>
                  <a:cubicBezTo>
                    <a:pt x="380" y="83"/>
                    <a:pt x="379" y="83"/>
                    <a:pt x="378" y="83"/>
                  </a:cubicBezTo>
                  <a:cubicBezTo>
                    <a:pt x="377" y="83"/>
                    <a:pt x="376" y="83"/>
                    <a:pt x="376" y="83"/>
                  </a:cubicBezTo>
                  <a:cubicBezTo>
                    <a:pt x="375" y="83"/>
                    <a:pt x="374" y="83"/>
                    <a:pt x="374" y="83"/>
                  </a:cubicBezTo>
                  <a:cubicBezTo>
                    <a:pt x="374" y="82"/>
                    <a:pt x="373" y="82"/>
                    <a:pt x="373" y="82"/>
                  </a:cubicBezTo>
                  <a:cubicBezTo>
                    <a:pt x="373" y="82"/>
                    <a:pt x="373" y="81"/>
                    <a:pt x="373" y="81"/>
                  </a:cubicBezTo>
                  <a:lnTo>
                    <a:pt x="373" y="48"/>
                  </a:lnTo>
                  <a:cubicBezTo>
                    <a:pt x="373" y="45"/>
                    <a:pt x="373" y="42"/>
                    <a:pt x="372" y="40"/>
                  </a:cubicBezTo>
                  <a:cubicBezTo>
                    <a:pt x="372" y="38"/>
                    <a:pt x="371" y="37"/>
                    <a:pt x="370" y="35"/>
                  </a:cubicBezTo>
                  <a:cubicBezTo>
                    <a:pt x="369" y="34"/>
                    <a:pt x="368" y="33"/>
                    <a:pt x="366" y="32"/>
                  </a:cubicBezTo>
                  <a:cubicBezTo>
                    <a:pt x="365" y="31"/>
                    <a:pt x="363" y="31"/>
                    <a:pt x="361" y="31"/>
                  </a:cubicBezTo>
                  <a:cubicBezTo>
                    <a:pt x="358" y="31"/>
                    <a:pt x="356" y="32"/>
                    <a:pt x="353" y="34"/>
                  </a:cubicBezTo>
                  <a:cubicBezTo>
                    <a:pt x="351" y="36"/>
                    <a:pt x="348" y="38"/>
                    <a:pt x="345" y="42"/>
                  </a:cubicBezTo>
                  <a:lnTo>
                    <a:pt x="345" y="81"/>
                  </a:lnTo>
                  <a:cubicBezTo>
                    <a:pt x="345" y="81"/>
                    <a:pt x="345" y="82"/>
                    <a:pt x="345" y="82"/>
                  </a:cubicBezTo>
                  <a:cubicBezTo>
                    <a:pt x="345" y="82"/>
                    <a:pt x="344" y="82"/>
                    <a:pt x="344" y="83"/>
                  </a:cubicBezTo>
                  <a:cubicBezTo>
                    <a:pt x="344" y="83"/>
                    <a:pt x="343" y="83"/>
                    <a:pt x="343" y="83"/>
                  </a:cubicBezTo>
                  <a:cubicBezTo>
                    <a:pt x="342" y="83"/>
                    <a:pt x="341" y="83"/>
                    <a:pt x="340" y="83"/>
                  </a:cubicBezTo>
                  <a:cubicBezTo>
                    <a:pt x="339" y="83"/>
                    <a:pt x="338" y="83"/>
                    <a:pt x="337" y="83"/>
                  </a:cubicBezTo>
                  <a:cubicBezTo>
                    <a:pt x="337" y="83"/>
                    <a:pt x="336" y="83"/>
                    <a:pt x="336" y="83"/>
                  </a:cubicBezTo>
                  <a:cubicBezTo>
                    <a:pt x="335" y="82"/>
                    <a:pt x="335" y="82"/>
                    <a:pt x="335" y="82"/>
                  </a:cubicBezTo>
                  <a:cubicBezTo>
                    <a:pt x="335" y="82"/>
                    <a:pt x="335" y="81"/>
                    <a:pt x="335" y="81"/>
                  </a:cubicBezTo>
                  <a:lnTo>
                    <a:pt x="335" y="25"/>
                  </a:lnTo>
                  <a:cubicBezTo>
                    <a:pt x="335" y="25"/>
                    <a:pt x="335" y="24"/>
                    <a:pt x="335" y="24"/>
                  </a:cubicBezTo>
                  <a:cubicBezTo>
                    <a:pt x="335" y="24"/>
                    <a:pt x="335" y="24"/>
                    <a:pt x="336" y="23"/>
                  </a:cubicBezTo>
                  <a:cubicBezTo>
                    <a:pt x="336" y="23"/>
                    <a:pt x="337" y="23"/>
                    <a:pt x="337" y="23"/>
                  </a:cubicBezTo>
                  <a:cubicBezTo>
                    <a:pt x="338" y="23"/>
                    <a:pt x="339" y="23"/>
                    <a:pt x="340" y="23"/>
                  </a:cubicBezTo>
                  <a:cubicBezTo>
                    <a:pt x="340" y="23"/>
                    <a:pt x="341" y="23"/>
                    <a:pt x="342" y="23"/>
                  </a:cubicBezTo>
                  <a:cubicBezTo>
                    <a:pt x="342" y="23"/>
                    <a:pt x="343" y="23"/>
                    <a:pt x="343" y="23"/>
                  </a:cubicBezTo>
                  <a:cubicBezTo>
                    <a:pt x="344" y="24"/>
                    <a:pt x="344" y="24"/>
                    <a:pt x="344" y="24"/>
                  </a:cubicBezTo>
                  <a:cubicBezTo>
                    <a:pt x="344" y="24"/>
                    <a:pt x="344" y="25"/>
                    <a:pt x="344" y="25"/>
                  </a:cubicBezTo>
                  <a:lnTo>
                    <a:pt x="344" y="32"/>
                  </a:lnTo>
                  <a:cubicBezTo>
                    <a:pt x="347" y="29"/>
                    <a:pt x="350" y="26"/>
                    <a:pt x="354" y="25"/>
                  </a:cubicBezTo>
                  <a:cubicBezTo>
                    <a:pt x="357" y="23"/>
                    <a:pt x="360" y="22"/>
                    <a:pt x="363" y="22"/>
                  </a:cubicBezTo>
                  <a:cubicBezTo>
                    <a:pt x="367" y="22"/>
                    <a:pt x="370" y="23"/>
                    <a:pt x="373" y="24"/>
                  </a:cubicBezTo>
                  <a:cubicBezTo>
                    <a:pt x="375" y="25"/>
                    <a:pt x="377" y="27"/>
                    <a:pt x="379" y="29"/>
                  </a:cubicBezTo>
                  <a:cubicBezTo>
                    <a:pt x="380" y="31"/>
                    <a:pt x="382" y="34"/>
                    <a:pt x="382" y="37"/>
                  </a:cubicBezTo>
                  <a:cubicBezTo>
                    <a:pt x="383" y="39"/>
                    <a:pt x="383" y="43"/>
                    <a:pt x="383" y="47"/>
                  </a:cubicBezTo>
                  <a:lnTo>
                    <a:pt x="383" y="81"/>
                  </a:lnTo>
                  <a:close/>
                  <a:moveTo>
                    <a:pt x="445" y="25"/>
                  </a:moveTo>
                  <a:cubicBezTo>
                    <a:pt x="445" y="25"/>
                    <a:pt x="445" y="25"/>
                    <a:pt x="445" y="25"/>
                  </a:cubicBezTo>
                  <a:cubicBezTo>
                    <a:pt x="445" y="25"/>
                    <a:pt x="445" y="26"/>
                    <a:pt x="445" y="26"/>
                  </a:cubicBezTo>
                  <a:cubicBezTo>
                    <a:pt x="445" y="26"/>
                    <a:pt x="445" y="26"/>
                    <a:pt x="445" y="27"/>
                  </a:cubicBezTo>
                  <a:cubicBezTo>
                    <a:pt x="445" y="27"/>
                    <a:pt x="445" y="27"/>
                    <a:pt x="444" y="27"/>
                  </a:cubicBezTo>
                  <a:lnTo>
                    <a:pt x="425" y="81"/>
                  </a:lnTo>
                  <a:cubicBezTo>
                    <a:pt x="425" y="81"/>
                    <a:pt x="425" y="82"/>
                    <a:pt x="425" y="82"/>
                  </a:cubicBezTo>
                  <a:cubicBezTo>
                    <a:pt x="424" y="82"/>
                    <a:pt x="424" y="82"/>
                    <a:pt x="423" y="83"/>
                  </a:cubicBezTo>
                  <a:cubicBezTo>
                    <a:pt x="423" y="83"/>
                    <a:pt x="422" y="83"/>
                    <a:pt x="421" y="83"/>
                  </a:cubicBezTo>
                  <a:cubicBezTo>
                    <a:pt x="421" y="83"/>
                    <a:pt x="419" y="83"/>
                    <a:pt x="418" y="83"/>
                  </a:cubicBezTo>
                  <a:cubicBezTo>
                    <a:pt x="417" y="83"/>
                    <a:pt x="416" y="83"/>
                    <a:pt x="415" y="83"/>
                  </a:cubicBezTo>
                  <a:cubicBezTo>
                    <a:pt x="414" y="83"/>
                    <a:pt x="414" y="83"/>
                    <a:pt x="413" y="83"/>
                  </a:cubicBezTo>
                  <a:cubicBezTo>
                    <a:pt x="413" y="82"/>
                    <a:pt x="412" y="82"/>
                    <a:pt x="412" y="82"/>
                  </a:cubicBezTo>
                  <a:cubicBezTo>
                    <a:pt x="412" y="82"/>
                    <a:pt x="411" y="81"/>
                    <a:pt x="411" y="81"/>
                  </a:cubicBezTo>
                  <a:lnTo>
                    <a:pt x="392" y="27"/>
                  </a:lnTo>
                  <a:cubicBezTo>
                    <a:pt x="392" y="27"/>
                    <a:pt x="392" y="26"/>
                    <a:pt x="392" y="26"/>
                  </a:cubicBezTo>
                  <a:cubicBezTo>
                    <a:pt x="392" y="26"/>
                    <a:pt x="391" y="25"/>
                    <a:pt x="391" y="25"/>
                  </a:cubicBezTo>
                  <a:cubicBezTo>
                    <a:pt x="391" y="25"/>
                    <a:pt x="391" y="25"/>
                    <a:pt x="391" y="25"/>
                  </a:cubicBezTo>
                  <a:cubicBezTo>
                    <a:pt x="391" y="24"/>
                    <a:pt x="391" y="24"/>
                    <a:pt x="392" y="24"/>
                  </a:cubicBezTo>
                  <a:cubicBezTo>
                    <a:pt x="392" y="24"/>
                    <a:pt x="392" y="23"/>
                    <a:pt x="393" y="23"/>
                  </a:cubicBezTo>
                  <a:cubicBezTo>
                    <a:pt x="393" y="23"/>
                    <a:pt x="393" y="23"/>
                    <a:pt x="394" y="23"/>
                  </a:cubicBezTo>
                  <a:cubicBezTo>
                    <a:pt x="395" y="23"/>
                    <a:pt x="396" y="23"/>
                    <a:pt x="396" y="23"/>
                  </a:cubicBezTo>
                  <a:cubicBezTo>
                    <a:pt x="398" y="23"/>
                    <a:pt x="399" y="23"/>
                    <a:pt x="399" y="23"/>
                  </a:cubicBezTo>
                  <a:cubicBezTo>
                    <a:pt x="400" y="23"/>
                    <a:pt x="401" y="23"/>
                    <a:pt x="401" y="23"/>
                  </a:cubicBezTo>
                  <a:cubicBezTo>
                    <a:pt x="401" y="24"/>
                    <a:pt x="402" y="24"/>
                    <a:pt x="402" y="24"/>
                  </a:cubicBezTo>
                  <a:cubicBezTo>
                    <a:pt x="402" y="24"/>
                    <a:pt x="402" y="25"/>
                    <a:pt x="402" y="25"/>
                  </a:cubicBezTo>
                  <a:lnTo>
                    <a:pt x="418" y="71"/>
                  </a:lnTo>
                  <a:lnTo>
                    <a:pt x="419" y="72"/>
                  </a:lnTo>
                  <a:lnTo>
                    <a:pt x="419" y="71"/>
                  </a:lnTo>
                  <a:lnTo>
                    <a:pt x="434" y="25"/>
                  </a:lnTo>
                  <a:cubicBezTo>
                    <a:pt x="435" y="25"/>
                    <a:pt x="435" y="24"/>
                    <a:pt x="435" y="24"/>
                  </a:cubicBezTo>
                  <a:cubicBezTo>
                    <a:pt x="435" y="24"/>
                    <a:pt x="435" y="24"/>
                    <a:pt x="436" y="23"/>
                  </a:cubicBezTo>
                  <a:cubicBezTo>
                    <a:pt x="436" y="23"/>
                    <a:pt x="437" y="23"/>
                    <a:pt x="437" y="23"/>
                  </a:cubicBezTo>
                  <a:cubicBezTo>
                    <a:pt x="438" y="23"/>
                    <a:pt x="439" y="23"/>
                    <a:pt x="440" y="23"/>
                  </a:cubicBezTo>
                  <a:cubicBezTo>
                    <a:pt x="441" y="23"/>
                    <a:pt x="442" y="23"/>
                    <a:pt x="443" y="23"/>
                  </a:cubicBezTo>
                  <a:cubicBezTo>
                    <a:pt x="443" y="23"/>
                    <a:pt x="444" y="23"/>
                    <a:pt x="444" y="23"/>
                  </a:cubicBezTo>
                  <a:cubicBezTo>
                    <a:pt x="444" y="23"/>
                    <a:pt x="445" y="24"/>
                    <a:pt x="445" y="24"/>
                  </a:cubicBezTo>
                  <a:cubicBezTo>
                    <a:pt x="445" y="24"/>
                    <a:pt x="445" y="24"/>
                    <a:pt x="445" y="25"/>
                  </a:cubicBezTo>
                  <a:close/>
                  <a:moveTo>
                    <a:pt x="511" y="51"/>
                  </a:moveTo>
                  <a:cubicBezTo>
                    <a:pt x="511" y="52"/>
                    <a:pt x="510" y="53"/>
                    <a:pt x="510" y="54"/>
                  </a:cubicBezTo>
                  <a:cubicBezTo>
                    <a:pt x="509" y="55"/>
                    <a:pt x="508" y="55"/>
                    <a:pt x="507" y="55"/>
                  </a:cubicBezTo>
                  <a:lnTo>
                    <a:pt x="470" y="55"/>
                  </a:lnTo>
                  <a:cubicBezTo>
                    <a:pt x="470" y="58"/>
                    <a:pt x="470" y="61"/>
                    <a:pt x="471" y="63"/>
                  </a:cubicBezTo>
                  <a:cubicBezTo>
                    <a:pt x="471" y="66"/>
                    <a:pt x="472" y="68"/>
                    <a:pt x="474" y="70"/>
                  </a:cubicBezTo>
                  <a:cubicBezTo>
                    <a:pt x="475" y="72"/>
                    <a:pt x="477" y="73"/>
                    <a:pt x="480" y="74"/>
                  </a:cubicBezTo>
                  <a:cubicBezTo>
                    <a:pt x="482" y="75"/>
                    <a:pt x="485" y="75"/>
                    <a:pt x="488" y="75"/>
                  </a:cubicBezTo>
                  <a:cubicBezTo>
                    <a:pt x="491" y="75"/>
                    <a:pt x="493" y="75"/>
                    <a:pt x="495" y="75"/>
                  </a:cubicBezTo>
                  <a:cubicBezTo>
                    <a:pt x="497" y="74"/>
                    <a:pt x="499" y="74"/>
                    <a:pt x="501" y="73"/>
                  </a:cubicBezTo>
                  <a:cubicBezTo>
                    <a:pt x="502" y="73"/>
                    <a:pt x="504" y="72"/>
                    <a:pt x="505" y="72"/>
                  </a:cubicBezTo>
                  <a:cubicBezTo>
                    <a:pt x="506" y="71"/>
                    <a:pt x="506" y="71"/>
                    <a:pt x="507" y="71"/>
                  </a:cubicBezTo>
                  <a:cubicBezTo>
                    <a:pt x="507" y="71"/>
                    <a:pt x="507" y="71"/>
                    <a:pt x="508" y="71"/>
                  </a:cubicBezTo>
                  <a:cubicBezTo>
                    <a:pt x="508" y="72"/>
                    <a:pt x="508" y="72"/>
                    <a:pt x="508" y="72"/>
                  </a:cubicBezTo>
                  <a:cubicBezTo>
                    <a:pt x="508" y="72"/>
                    <a:pt x="508" y="73"/>
                    <a:pt x="508" y="73"/>
                  </a:cubicBezTo>
                  <a:cubicBezTo>
                    <a:pt x="508" y="74"/>
                    <a:pt x="508" y="74"/>
                    <a:pt x="508" y="75"/>
                  </a:cubicBezTo>
                  <a:cubicBezTo>
                    <a:pt x="508" y="76"/>
                    <a:pt x="508" y="76"/>
                    <a:pt x="508" y="77"/>
                  </a:cubicBezTo>
                  <a:cubicBezTo>
                    <a:pt x="508" y="77"/>
                    <a:pt x="508" y="77"/>
                    <a:pt x="508" y="78"/>
                  </a:cubicBezTo>
                  <a:cubicBezTo>
                    <a:pt x="508" y="78"/>
                    <a:pt x="508" y="78"/>
                    <a:pt x="508" y="79"/>
                  </a:cubicBezTo>
                  <a:cubicBezTo>
                    <a:pt x="508" y="79"/>
                    <a:pt x="508" y="79"/>
                    <a:pt x="507" y="79"/>
                  </a:cubicBezTo>
                  <a:cubicBezTo>
                    <a:pt x="507" y="79"/>
                    <a:pt x="506" y="80"/>
                    <a:pt x="505" y="80"/>
                  </a:cubicBezTo>
                  <a:cubicBezTo>
                    <a:pt x="504" y="81"/>
                    <a:pt x="503" y="81"/>
                    <a:pt x="501" y="82"/>
                  </a:cubicBezTo>
                  <a:cubicBezTo>
                    <a:pt x="499" y="82"/>
                    <a:pt x="497" y="83"/>
                    <a:pt x="495" y="83"/>
                  </a:cubicBezTo>
                  <a:cubicBezTo>
                    <a:pt x="492" y="84"/>
                    <a:pt x="490" y="84"/>
                    <a:pt x="487" y="84"/>
                  </a:cubicBezTo>
                  <a:cubicBezTo>
                    <a:pt x="483" y="84"/>
                    <a:pt x="479" y="83"/>
                    <a:pt x="475" y="82"/>
                  </a:cubicBezTo>
                  <a:cubicBezTo>
                    <a:pt x="472" y="81"/>
                    <a:pt x="469" y="79"/>
                    <a:pt x="466" y="76"/>
                  </a:cubicBezTo>
                  <a:cubicBezTo>
                    <a:pt x="464" y="74"/>
                    <a:pt x="462" y="70"/>
                    <a:pt x="461" y="67"/>
                  </a:cubicBezTo>
                  <a:cubicBezTo>
                    <a:pt x="460" y="63"/>
                    <a:pt x="459" y="58"/>
                    <a:pt x="459" y="53"/>
                  </a:cubicBezTo>
                  <a:cubicBezTo>
                    <a:pt x="459" y="48"/>
                    <a:pt x="460" y="44"/>
                    <a:pt x="461" y="40"/>
                  </a:cubicBezTo>
                  <a:cubicBezTo>
                    <a:pt x="462" y="36"/>
                    <a:pt x="464" y="33"/>
                    <a:pt x="466" y="30"/>
                  </a:cubicBezTo>
                  <a:cubicBezTo>
                    <a:pt x="469" y="28"/>
                    <a:pt x="472" y="26"/>
                    <a:pt x="475" y="24"/>
                  </a:cubicBezTo>
                  <a:cubicBezTo>
                    <a:pt x="478" y="23"/>
                    <a:pt x="482" y="22"/>
                    <a:pt x="486" y="22"/>
                  </a:cubicBezTo>
                  <a:cubicBezTo>
                    <a:pt x="491" y="22"/>
                    <a:pt x="494" y="23"/>
                    <a:pt x="497" y="24"/>
                  </a:cubicBezTo>
                  <a:cubicBezTo>
                    <a:pt x="500" y="26"/>
                    <a:pt x="503" y="27"/>
                    <a:pt x="505" y="30"/>
                  </a:cubicBezTo>
                  <a:cubicBezTo>
                    <a:pt x="507" y="32"/>
                    <a:pt x="509" y="35"/>
                    <a:pt x="509" y="38"/>
                  </a:cubicBezTo>
                  <a:cubicBezTo>
                    <a:pt x="510" y="42"/>
                    <a:pt x="511" y="45"/>
                    <a:pt x="511" y="49"/>
                  </a:cubicBezTo>
                  <a:lnTo>
                    <a:pt x="511" y="51"/>
                  </a:lnTo>
                  <a:close/>
                  <a:moveTo>
                    <a:pt x="500" y="47"/>
                  </a:moveTo>
                  <a:cubicBezTo>
                    <a:pt x="501" y="42"/>
                    <a:pt x="499" y="38"/>
                    <a:pt x="497" y="35"/>
                  </a:cubicBezTo>
                  <a:cubicBezTo>
                    <a:pt x="494" y="32"/>
                    <a:pt x="491" y="30"/>
                    <a:pt x="486" y="30"/>
                  </a:cubicBezTo>
                  <a:cubicBezTo>
                    <a:pt x="483" y="30"/>
                    <a:pt x="481" y="31"/>
                    <a:pt x="479" y="32"/>
                  </a:cubicBezTo>
                  <a:cubicBezTo>
                    <a:pt x="477" y="33"/>
                    <a:pt x="475" y="34"/>
                    <a:pt x="474" y="35"/>
                  </a:cubicBezTo>
                  <a:cubicBezTo>
                    <a:pt x="473" y="37"/>
                    <a:pt x="472" y="39"/>
                    <a:pt x="471" y="41"/>
                  </a:cubicBezTo>
                  <a:cubicBezTo>
                    <a:pt x="470" y="43"/>
                    <a:pt x="470" y="45"/>
                    <a:pt x="470" y="47"/>
                  </a:cubicBezTo>
                  <a:lnTo>
                    <a:pt x="500" y="47"/>
                  </a:lnTo>
                  <a:close/>
                  <a:moveTo>
                    <a:pt x="575" y="81"/>
                  </a:moveTo>
                  <a:cubicBezTo>
                    <a:pt x="575" y="81"/>
                    <a:pt x="575" y="82"/>
                    <a:pt x="575" y="82"/>
                  </a:cubicBezTo>
                  <a:cubicBezTo>
                    <a:pt x="575" y="82"/>
                    <a:pt x="575" y="82"/>
                    <a:pt x="574" y="83"/>
                  </a:cubicBezTo>
                  <a:cubicBezTo>
                    <a:pt x="574" y="83"/>
                    <a:pt x="573" y="83"/>
                    <a:pt x="573" y="83"/>
                  </a:cubicBezTo>
                  <a:cubicBezTo>
                    <a:pt x="572" y="83"/>
                    <a:pt x="571" y="83"/>
                    <a:pt x="570" y="83"/>
                  </a:cubicBezTo>
                  <a:cubicBezTo>
                    <a:pt x="569" y="83"/>
                    <a:pt x="568" y="83"/>
                    <a:pt x="568" y="83"/>
                  </a:cubicBezTo>
                  <a:cubicBezTo>
                    <a:pt x="567" y="83"/>
                    <a:pt x="566" y="83"/>
                    <a:pt x="566" y="83"/>
                  </a:cubicBezTo>
                  <a:cubicBezTo>
                    <a:pt x="566" y="82"/>
                    <a:pt x="565" y="82"/>
                    <a:pt x="565" y="82"/>
                  </a:cubicBezTo>
                  <a:cubicBezTo>
                    <a:pt x="565" y="82"/>
                    <a:pt x="565" y="81"/>
                    <a:pt x="565" y="81"/>
                  </a:cubicBezTo>
                  <a:lnTo>
                    <a:pt x="565" y="48"/>
                  </a:lnTo>
                  <a:cubicBezTo>
                    <a:pt x="565" y="45"/>
                    <a:pt x="565" y="42"/>
                    <a:pt x="564" y="40"/>
                  </a:cubicBezTo>
                  <a:cubicBezTo>
                    <a:pt x="564" y="38"/>
                    <a:pt x="563" y="37"/>
                    <a:pt x="562" y="35"/>
                  </a:cubicBezTo>
                  <a:cubicBezTo>
                    <a:pt x="561" y="34"/>
                    <a:pt x="560" y="33"/>
                    <a:pt x="558" y="32"/>
                  </a:cubicBezTo>
                  <a:cubicBezTo>
                    <a:pt x="557" y="31"/>
                    <a:pt x="555" y="31"/>
                    <a:pt x="553" y="31"/>
                  </a:cubicBezTo>
                  <a:cubicBezTo>
                    <a:pt x="550" y="31"/>
                    <a:pt x="548" y="32"/>
                    <a:pt x="545" y="34"/>
                  </a:cubicBezTo>
                  <a:cubicBezTo>
                    <a:pt x="543" y="36"/>
                    <a:pt x="540" y="38"/>
                    <a:pt x="537" y="42"/>
                  </a:cubicBezTo>
                  <a:lnTo>
                    <a:pt x="537" y="81"/>
                  </a:lnTo>
                  <a:cubicBezTo>
                    <a:pt x="537" y="81"/>
                    <a:pt x="537" y="82"/>
                    <a:pt x="537" y="82"/>
                  </a:cubicBezTo>
                  <a:cubicBezTo>
                    <a:pt x="537" y="82"/>
                    <a:pt x="536" y="82"/>
                    <a:pt x="536" y="83"/>
                  </a:cubicBezTo>
                  <a:cubicBezTo>
                    <a:pt x="536" y="83"/>
                    <a:pt x="535" y="83"/>
                    <a:pt x="535" y="83"/>
                  </a:cubicBezTo>
                  <a:cubicBezTo>
                    <a:pt x="534" y="83"/>
                    <a:pt x="533" y="83"/>
                    <a:pt x="532" y="83"/>
                  </a:cubicBezTo>
                  <a:cubicBezTo>
                    <a:pt x="531" y="83"/>
                    <a:pt x="530" y="83"/>
                    <a:pt x="529" y="83"/>
                  </a:cubicBezTo>
                  <a:cubicBezTo>
                    <a:pt x="529" y="83"/>
                    <a:pt x="528" y="83"/>
                    <a:pt x="528" y="83"/>
                  </a:cubicBezTo>
                  <a:cubicBezTo>
                    <a:pt x="527" y="82"/>
                    <a:pt x="527" y="82"/>
                    <a:pt x="527" y="82"/>
                  </a:cubicBezTo>
                  <a:cubicBezTo>
                    <a:pt x="527" y="82"/>
                    <a:pt x="527" y="81"/>
                    <a:pt x="527" y="81"/>
                  </a:cubicBezTo>
                  <a:lnTo>
                    <a:pt x="527" y="25"/>
                  </a:lnTo>
                  <a:cubicBezTo>
                    <a:pt x="527" y="25"/>
                    <a:pt x="527" y="24"/>
                    <a:pt x="527" y="24"/>
                  </a:cubicBezTo>
                  <a:cubicBezTo>
                    <a:pt x="527" y="24"/>
                    <a:pt x="527" y="24"/>
                    <a:pt x="528" y="23"/>
                  </a:cubicBezTo>
                  <a:cubicBezTo>
                    <a:pt x="528" y="23"/>
                    <a:pt x="529" y="23"/>
                    <a:pt x="529" y="23"/>
                  </a:cubicBezTo>
                  <a:cubicBezTo>
                    <a:pt x="530" y="23"/>
                    <a:pt x="531" y="23"/>
                    <a:pt x="532" y="23"/>
                  </a:cubicBezTo>
                  <a:cubicBezTo>
                    <a:pt x="532" y="23"/>
                    <a:pt x="533" y="23"/>
                    <a:pt x="534" y="23"/>
                  </a:cubicBezTo>
                  <a:cubicBezTo>
                    <a:pt x="534" y="23"/>
                    <a:pt x="535" y="23"/>
                    <a:pt x="535" y="23"/>
                  </a:cubicBezTo>
                  <a:cubicBezTo>
                    <a:pt x="536" y="24"/>
                    <a:pt x="536" y="24"/>
                    <a:pt x="536" y="24"/>
                  </a:cubicBezTo>
                  <a:cubicBezTo>
                    <a:pt x="536" y="24"/>
                    <a:pt x="536" y="25"/>
                    <a:pt x="536" y="25"/>
                  </a:cubicBezTo>
                  <a:lnTo>
                    <a:pt x="536" y="32"/>
                  </a:lnTo>
                  <a:cubicBezTo>
                    <a:pt x="539" y="29"/>
                    <a:pt x="542" y="26"/>
                    <a:pt x="546" y="25"/>
                  </a:cubicBezTo>
                  <a:cubicBezTo>
                    <a:pt x="549" y="23"/>
                    <a:pt x="552" y="22"/>
                    <a:pt x="555" y="22"/>
                  </a:cubicBezTo>
                  <a:cubicBezTo>
                    <a:pt x="559" y="22"/>
                    <a:pt x="562" y="23"/>
                    <a:pt x="565" y="24"/>
                  </a:cubicBezTo>
                  <a:cubicBezTo>
                    <a:pt x="567" y="25"/>
                    <a:pt x="569" y="27"/>
                    <a:pt x="571" y="29"/>
                  </a:cubicBezTo>
                  <a:cubicBezTo>
                    <a:pt x="572" y="31"/>
                    <a:pt x="574" y="34"/>
                    <a:pt x="574" y="37"/>
                  </a:cubicBezTo>
                  <a:cubicBezTo>
                    <a:pt x="575" y="39"/>
                    <a:pt x="575" y="43"/>
                    <a:pt x="575" y="47"/>
                  </a:cubicBezTo>
                  <a:lnTo>
                    <a:pt x="575" y="81"/>
                  </a:lnTo>
                  <a:close/>
                  <a:moveTo>
                    <a:pt x="620" y="77"/>
                  </a:moveTo>
                  <a:cubicBezTo>
                    <a:pt x="620" y="78"/>
                    <a:pt x="620" y="79"/>
                    <a:pt x="620" y="80"/>
                  </a:cubicBezTo>
                  <a:cubicBezTo>
                    <a:pt x="620" y="81"/>
                    <a:pt x="619" y="81"/>
                    <a:pt x="619" y="81"/>
                  </a:cubicBezTo>
                  <a:cubicBezTo>
                    <a:pt x="619" y="82"/>
                    <a:pt x="618" y="82"/>
                    <a:pt x="618" y="82"/>
                  </a:cubicBezTo>
                  <a:cubicBezTo>
                    <a:pt x="617" y="83"/>
                    <a:pt x="616" y="83"/>
                    <a:pt x="615" y="83"/>
                  </a:cubicBezTo>
                  <a:cubicBezTo>
                    <a:pt x="614" y="83"/>
                    <a:pt x="614" y="83"/>
                    <a:pt x="613" y="84"/>
                  </a:cubicBezTo>
                  <a:cubicBezTo>
                    <a:pt x="612" y="84"/>
                    <a:pt x="611" y="84"/>
                    <a:pt x="610" y="84"/>
                  </a:cubicBezTo>
                  <a:cubicBezTo>
                    <a:pt x="607" y="84"/>
                    <a:pt x="604" y="83"/>
                    <a:pt x="602" y="83"/>
                  </a:cubicBezTo>
                  <a:cubicBezTo>
                    <a:pt x="600" y="82"/>
                    <a:pt x="598" y="81"/>
                    <a:pt x="597" y="79"/>
                  </a:cubicBezTo>
                  <a:cubicBezTo>
                    <a:pt x="596" y="78"/>
                    <a:pt x="595" y="76"/>
                    <a:pt x="594" y="73"/>
                  </a:cubicBezTo>
                  <a:cubicBezTo>
                    <a:pt x="594" y="71"/>
                    <a:pt x="593" y="68"/>
                    <a:pt x="593" y="65"/>
                  </a:cubicBezTo>
                  <a:lnTo>
                    <a:pt x="593" y="32"/>
                  </a:lnTo>
                  <a:lnTo>
                    <a:pt x="585" y="32"/>
                  </a:lnTo>
                  <a:cubicBezTo>
                    <a:pt x="585" y="32"/>
                    <a:pt x="584" y="31"/>
                    <a:pt x="584" y="31"/>
                  </a:cubicBezTo>
                  <a:cubicBezTo>
                    <a:pt x="584" y="30"/>
                    <a:pt x="583" y="29"/>
                    <a:pt x="583" y="28"/>
                  </a:cubicBezTo>
                  <a:cubicBezTo>
                    <a:pt x="583" y="27"/>
                    <a:pt x="583" y="26"/>
                    <a:pt x="584" y="26"/>
                  </a:cubicBezTo>
                  <a:cubicBezTo>
                    <a:pt x="584" y="25"/>
                    <a:pt x="584" y="25"/>
                    <a:pt x="584" y="24"/>
                  </a:cubicBezTo>
                  <a:cubicBezTo>
                    <a:pt x="584" y="24"/>
                    <a:pt x="584" y="24"/>
                    <a:pt x="585" y="23"/>
                  </a:cubicBezTo>
                  <a:cubicBezTo>
                    <a:pt x="585" y="23"/>
                    <a:pt x="585" y="23"/>
                    <a:pt x="585" y="23"/>
                  </a:cubicBezTo>
                  <a:lnTo>
                    <a:pt x="593" y="23"/>
                  </a:lnTo>
                  <a:lnTo>
                    <a:pt x="593" y="10"/>
                  </a:lnTo>
                  <a:cubicBezTo>
                    <a:pt x="593" y="10"/>
                    <a:pt x="593" y="9"/>
                    <a:pt x="594" y="9"/>
                  </a:cubicBezTo>
                  <a:cubicBezTo>
                    <a:pt x="594" y="9"/>
                    <a:pt x="594" y="9"/>
                    <a:pt x="594" y="8"/>
                  </a:cubicBezTo>
                  <a:cubicBezTo>
                    <a:pt x="595" y="8"/>
                    <a:pt x="595" y="8"/>
                    <a:pt x="596" y="8"/>
                  </a:cubicBezTo>
                  <a:cubicBezTo>
                    <a:pt x="597" y="8"/>
                    <a:pt x="597" y="8"/>
                    <a:pt x="598" y="8"/>
                  </a:cubicBezTo>
                  <a:cubicBezTo>
                    <a:pt x="599" y="8"/>
                    <a:pt x="600" y="8"/>
                    <a:pt x="601" y="8"/>
                  </a:cubicBezTo>
                  <a:cubicBezTo>
                    <a:pt x="602" y="8"/>
                    <a:pt x="602" y="8"/>
                    <a:pt x="603" y="8"/>
                  </a:cubicBezTo>
                  <a:cubicBezTo>
                    <a:pt x="603" y="9"/>
                    <a:pt x="603" y="9"/>
                    <a:pt x="603" y="9"/>
                  </a:cubicBezTo>
                  <a:cubicBezTo>
                    <a:pt x="604" y="9"/>
                    <a:pt x="604" y="10"/>
                    <a:pt x="604" y="10"/>
                  </a:cubicBezTo>
                  <a:lnTo>
                    <a:pt x="604" y="23"/>
                  </a:lnTo>
                  <a:lnTo>
                    <a:pt x="618" y="23"/>
                  </a:lnTo>
                  <a:cubicBezTo>
                    <a:pt x="618" y="23"/>
                    <a:pt x="619" y="23"/>
                    <a:pt x="619" y="23"/>
                  </a:cubicBezTo>
                  <a:cubicBezTo>
                    <a:pt x="619" y="24"/>
                    <a:pt x="619" y="24"/>
                    <a:pt x="620" y="24"/>
                  </a:cubicBezTo>
                  <a:cubicBezTo>
                    <a:pt x="620" y="25"/>
                    <a:pt x="620" y="25"/>
                    <a:pt x="620" y="26"/>
                  </a:cubicBezTo>
                  <a:cubicBezTo>
                    <a:pt x="620" y="26"/>
                    <a:pt x="620" y="27"/>
                    <a:pt x="620" y="28"/>
                  </a:cubicBezTo>
                  <a:cubicBezTo>
                    <a:pt x="620" y="29"/>
                    <a:pt x="620" y="30"/>
                    <a:pt x="620" y="31"/>
                  </a:cubicBezTo>
                  <a:cubicBezTo>
                    <a:pt x="619" y="31"/>
                    <a:pt x="619" y="32"/>
                    <a:pt x="618" y="32"/>
                  </a:cubicBezTo>
                  <a:lnTo>
                    <a:pt x="604" y="32"/>
                  </a:lnTo>
                  <a:lnTo>
                    <a:pt x="604" y="63"/>
                  </a:lnTo>
                  <a:cubicBezTo>
                    <a:pt x="604" y="67"/>
                    <a:pt x="604" y="70"/>
                    <a:pt x="605" y="72"/>
                  </a:cubicBezTo>
                  <a:cubicBezTo>
                    <a:pt x="606" y="74"/>
                    <a:pt x="609" y="75"/>
                    <a:pt x="611" y="75"/>
                  </a:cubicBezTo>
                  <a:cubicBezTo>
                    <a:pt x="612" y="75"/>
                    <a:pt x="613" y="75"/>
                    <a:pt x="614" y="75"/>
                  </a:cubicBezTo>
                  <a:cubicBezTo>
                    <a:pt x="615" y="74"/>
                    <a:pt x="615" y="74"/>
                    <a:pt x="616" y="74"/>
                  </a:cubicBezTo>
                  <a:cubicBezTo>
                    <a:pt x="617" y="74"/>
                    <a:pt x="617" y="74"/>
                    <a:pt x="618" y="73"/>
                  </a:cubicBezTo>
                  <a:cubicBezTo>
                    <a:pt x="618" y="73"/>
                    <a:pt x="618" y="73"/>
                    <a:pt x="619" y="73"/>
                  </a:cubicBezTo>
                  <a:cubicBezTo>
                    <a:pt x="619" y="73"/>
                    <a:pt x="619" y="73"/>
                    <a:pt x="619" y="73"/>
                  </a:cubicBezTo>
                  <a:cubicBezTo>
                    <a:pt x="619" y="73"/>
                    <a:pt x="620" y="74"/>
                    <a:pt x="620" y="74"/>
                  </a:cubicBezTo>
                  <a:cubicBezTo>
                    <a:pt x="620" y="74"/>
                    <a:pt x="620" y="75"/>
                    <a:pt x="620" y="75"/>
                  </a:cubicBezTo>
                  <a:cubicBezTo>
                    <a:pt x="620" y="76"/>
                    <a:pt x="620" y="76"/>
                    <a:pt x="620" y="77"/>
                  </a:cubicBezTo>
                  <a:close/>
                  <a:moveTo>
                    <a:pt x="691" y="52"/>
                  </a:moveTo>
                  <a:cubicBezTo>
                    <a:pt x="691" y="57"/>
                    <a:pt x="691" y="61"/>
                    <a:pt x="689" y="65"/>
                  </a:cubicBezTo>
                  <a:cubicBezTo>
                    <a:pt x="688" y="69"/>
                    <a:pt x="686" y="72"/>
                    <a:pt x="684" y="75"/>
                  </a:cubicBezTo>
                  <a:cubicBezTo>
                    <a:pt x="682" y="78"/>
                    <a:pt x="679" y="80"/>
                    <a:pt x="675" y="82"/>
                  </a:cubicBezTo>
                  <a:cubicBezTo>
                    <a:pt x="671" y="83"/>
                    <a:pt x="667" y="84"/>
                    <a:pt x="662" y="84"/>
                  </a:cubicBezTo>
                  <a:cubicBezTo>
                    <a:pt x="658" y="84"/>
                    <a:pt x="654" y="83"/>
                    <a:pt x="650" y="82"/>
                  </a:cubicBezTo>
                  <a:cubicBezTo>
                    <a:pt x="647" y="80"/>
                    <a:pt x="644" y="78"/>
                    <a:pt x="642" y="76"/>
                  </a:cubicBezTo>
                  <a:cubicBezTo>
                    <a:pt x="639" y="73"/>
                    <a:pt x="638" y="70"/>
                    <a:pt x="637" y="66"/>
                  </a:cubicBezTo>
                  <a:cubicBezTo>
                    <a:pt x="635" y="62"/>
                    <a:pt x="635" y="58"/>
                    <a:pt x="635" y="53"/>
                  </a:cubicBezTo>
                  <a:cubicBezTo>
                    <a:pt x="635" y="49"/>
                    <a:pt x="636" y="45"/>
                    <a:pt x="637" y="41"/>
                  </a:cubicBezTo>
                  <a:cubicBezTo>
                    <a:pt x="638" y="37"/>
                    <a:pt x="640" y="34"/>
                    <a:pt x="642" y="31"/>
                  </a:cubicBezTo>
                  <a:cubicBezTo>
                    <a:pt x="644" y="28"/>
                    <a:pt x="647" y="26"/>
                    <a:pt x="651" y="24"/>
                  </a:cubicBezTo>
                  <a:cubicBezTo>
                    <a:pt x="655" y="23"/>
                    <a:pt x="659" y="22"/>
                    <a:pt x="664" y="22"/>
                  </a:cubicBezTo>
                  <a:cubicBezTo>
                    <a:pt x="668" y="22"/>
                    <a:pt x="672" y="23"/>
                    <a:pt x="676" y="24"/>
                  </a:cubicBezTo>
                  <a:cubicBezTo>
                    <a:pt x="679" y="25"/>
                    <a:pt x="682" y="27"/>
                    <a:pt x="684" y="30"/>
                  </a:cubicBezTo>
                  <a:cubicBezTo>
                    <a:pt x="687" y="33"/>
                    <a:pt x="688" y="36"/>
                    <a:pt x="689" y="40"/>
                  </a:cubicBezTo>
                  <a:cubicBezTo>
                    <a:pt x="691" y="43"/>
                    <a:pt x="691" y="48"/>
                    <a:pt x="691" y="52"/>
                  </a:cubicBezTo>
                  <a:close/>
                  <a:moveTo>
                    <a:pt x="680" y="53"/>
                  </a:moveTo>
                  <a:cubicBezTo>
                    <a:pt x="680" y="50"/>
                    <a:pt x="680" y="47"/>
                    <a:pt x="680" y="44"/>
                  </a:cubicBezTo>
                  <a:cubicBezTo>
                    <a:pt x="679" y="42"/>
                    <a:pt x="678" y="39"/>
                    <a:pt x="677" y="37"/>
                  </a:cubicBezTo>
                  <a:cubicBezTo>
                    <a:pt x="676" y="35"/>
                    <a:pt x="674" y="34"/>
                    <a:pt x="672" y="32"/>
                  </a:cubicBezTo>
                  <a:cubicBezTo>
                    <a:pt x="669" y="31"/>
                    <a:pt x="667" y="31"/>
                    <a:pt x="663" y="31"/>
                  </a:cubicBezTo>
                  <a:cubicBezTo>
                    <a:pt x="660" y="31"/>
                    <a:pt x="657" y="31"/>
                    <a:pt x="655" y="32"/>
                  </a:cubicBezTo>
                  <a:cubicBezTo>
                    <a:pt x="653" y="33"/>
                    <a:pt x="651" y="35"/>
                    <a:pt x="650" y="37"/>
                  </a:cubicBezTo>
                  <a:cubicBezTo>
                    <a:pt x="648" y="39"/>
                    <a:pt x="647" y="41"/>
                    <a:pt x="647" y="44"/>
                  </a:cubicBezTo>
                  <a:cubicBezTo>
                    <a:pt x="646" y="47"/>
                    <a:pt x="646" y="50"/>
                    <a:pt x="646" y="53"/>
                  </a:cubicBezTo>
                  <a:cubicBezTo>
                    <a:pt x="646" y="56"/>
                    <a:pt x="646" y="59"/>
                    <a:pt x="646" y="61"/>
                  </a:cubicBezTo>
                  <a:cubicBezTo>
                    <a:pt x="647" y="64"/>
                    <a:pt x="648" y="67"/>
                    <a:pt x="649" y="69"/>
                  </a:cubicBezTo>
                  <a:cubicBezTo>
                    <a:pt x="651" y="71"/>
                    <a:pt x="652" y="72"/>
                    <a:pt x="655" y="73"/>
                  </a:cubicBezTo>
                  <a:cubicBezTo>
                    <a:pt x="657" y="75"/>
                    <a:pt x="660" y="75"/>
                    <a:pt x="663" y="75"/>
                  </a:cubicBezTo>
                  <a:cubicBezTo>
                    <a:pt x="666" y="75"/>
                    <a:pt x="669" y="75"/>
                    <a:pt x="671" y="74"/>
                  </a:cubicBezTo>
                  <a:cubicBezTo>
                    <a:pt x="673" y="72"/>
                    <a:pt x="675" y="71"/>
                    <a:pt x="676" y="69"/>
                  </a:cubicBezTo>
                  <a:cubicBezTo>
                    <a:pt x="678" y="67"/>
                    <a:pt x="679" y="65"/>
                    <a:pt x="679" y="62"/>
                  </a:cubicBezTo>
                  <a:cubicBezTo>
                    <a:pt x="680" y="59"/>
                    <a:pt x="680" y="56"/>
                    <a:pt x="680" y="53"/>
                  </a:cubicBezTo>
                  <a:close/>
                  <a:moveTo>
                    <a:pt x="736" y="29"/>
                  </a:moveTo>
                  <a:cubicBezTo>
                    <a:pt x="736" y="29"/>
                    <a:pt x="736" y="30"/>
                    <a:pt x="736" y="31"/>
                  </a:cubicBezTo>
                  <a:cubicBezTo>
                    <a:pt x="736" y="31"/>
                    <a:pt x="736" y="32"/>
                    <a:pt x="735" y="32"/>
                  </a:cubicBezTo>
                  <a:cubicBezTo>
                    <a:pt x="735" y="33"/>
                    <a:pt x="735" y="33"/>
                    <a:pt x="735" y="33"/>
                  </a:cubicBezTo>
                  <a:cubicBezTo>
                    <a:pt x="735" y="33"/>
                    <a:pt x="734" y="33"/>
                    <a:pt x="734" y="33"/>
                  </a:cubicBezTo>
                  <a:cubicBezTo>
                    <a:pt x="734" y="33"/>
                    <a:pt x="733" y="33"/>
                    <a:pt x="733" y="33"/>
                  </a:cubicBezTo>
                  <a:cubicBezTo>
                    <a:pt x="732" y="33"/>
                    <a:pt x="732" y="33"/>
                    <a:pt x="731" y="33"/>
                  </a:cubicBezTo>
                  <a:cubicBezTo>
                    <a:pt x="731" y="32"/>
                    <a:pt x="730" y="32"/>
                    <a:pt x="729" y="32"/>
                  </a:cubicBezTo>
                  <a:cubicBezTo>
                    <a:pt x="729" y="32"/>
                    <a:pt x="728" y="32"/>
                    <a:pt x="727" y="32"/>
                  </a:cubicBezTo>
                  <a:cubicBezTo>
                    <a:pt x="726" y="32"/>
                    <a:pt x="725" y="32"/>
                    <a:pt x="724" y="32"/>
                  </a:cubicBezTo>
                  <a:cubicBezTo>
                    <a:pt x="723" y="33"/>
                    <a:pt x="722" y="34"/>
                    <a:pt x="721" y="34"/>
                  </a:cubicBezTo>
                  <a:cubicBezTo>
                    <a:pt x="720" y="35"/>
                    <a:pt x="718" y="37"/>
                    <a:pt x="717" y="38"/>
                  </a:cubicBezTo>
                  <a:cubicBezTo>
                    <a:pt x="716" y="40"/>
                    <a:pt x="715" y="42"/>
                    <a:pt x="713" y="44"/>
                  </a:cubicBezTo>
                  <a:lnTo>
                    <a:pt x="713" y="81"/>
                  </a:lnTo>
                  <a:cubicBezTo>
                    <a:pt x="713" y="81"/>
                    <a:pt x="713" y="82"/>
                    <a:pt x="713" y="82"/>
                  </a:cubicBezTo>
                  <a:cubicBezTo>
                    <a:pt x="713" y="82"/>
                    <a:pt x="712" y="82"/>
                    <a:pt x="712" y="83"/>
                  </a:cubicBezTo>
                  <a:cubicBezTo>
                    <a:pt x="712" y="83"/>
                    <a:pt x="711" y="83"/>
                    <a:pt x="711" y="83"/>
                  </a:cubicBezTo>
                  <a:cubicBezTo>
                    <a:pt x="710" y="83"/>
                    <a:pt x="709" y="83"/>
                    <a:pt x="708" y="83"/>
                  </a:cubicBezTo>
                  <a:cubicBezTo>
                    <a:pt x="707" y="83"/>
                    <a:pt x="706" y="83"/>
                    <a:pt x="705" y="83"/>
                  </a:cubicBezTo>
                  <a:cubicBezTo>
                    <a:pt x="705" y="83"/>
                    <a:pt x="704" y="83"/>
                    <a:pt x="704" y="83"/>
                  </a:cubicBezTo>
                  <a:cubicBezTo>
                    <a:pt x="703" y="82"/>
                    <a:pt x="703" y="82"/>
                    <a:pt x="703" y="82"/>
                  </a:cubicBezTo>
                  <a:cubicBezTo>
                    <a:pt x="703" y="82"/>
                    <a:pt x="703" y="81"/>
                    <a:pt x="703" y="81"/>
                  </a:cubicBezTo>
                  <a:lnTo>
                    <a:pt x="703" y="25"/>
                  </a:lnTo>
                  <a:cubicBezTo>
                    <a:pt x="703" y="25"/>
                    <a:pt x="703" y="24"/>
                    <a:pt x="703" y="24"/>
                  </a:cubicBezTo>
                  <a:cubicBezTo>
                    <a:pt x="703" y="24"/>
                    <a:pt x="703" y="24"/>
                    <a:pt x="704" y="23"/>
                  </a:cubicBezTo>
                  <a:cubicBezTo>
                    <a:pt x="704" y="23"/>
                    <a:pt x="705" y="23"/>
                    <a:pt x="705" y="23"/>
                  </a:cubicBezTo>
                  <a:cubicBezTo>
                    <a:pt x="706" y="23"/>
                    <a:pt x="707" y="23"/>
                    <a:pt x="708" y="23"/>
                  </a:cubicBezTo>
                  <a:cubicBezTo>
                    <a:pt x="708" y="23"/>
                    <a:pt x="709" y="23"/>
                    <a:pt x="710" y="23"/>
                  </a:cubicBezTo>
                  <a:cubicBezTo>
                    <a:pt x="710" y="23"/>
                    <a:pt x="711" y="23"/>
                    <a:pt x="711" y="23"/>
                  </a:cubicBezTo>
                  <a:cubicBezTo>
                    <a:pt x="712" y="24"/>
                    <a:pt x="712" y="24"/>
                    <a:pt x="712" y="24"/>
                  </a:cubicBezTo>
                  <a:cubicBezTo>
                    <a:pt x="712" y="24"/>
                    <a:pt x="712" y="25"/>
                    <a:pt x="712" y="25"/>
                  </a:cubicBezTo>
                  <a:lnTo>
                    <a:pt x="712" y="33"/>
                  </a:lnTo>
                  <a:cubicBezTo>
                    <a:pt x="714" y="31"/>
                    <a:pt x="715" y="29"/>
                    <a:pt x="717" y="28"/>
                  </a:cubicBezTo>
                  <a:cubicBezTo>
                    <a:pt x="718" y="26"/>
                    <a:pt x="719" y="25"/>
                    <a:pt x="720" y="24"/>
                  </a:cubicBezTo>
                  <a:cubicBezTo>
                    <a:pt x="722" y="23"/>
                    <a:pt x="723" y="23"/>
                    <a:pt x="724" y="23"/>
                  </a:cubicBezTo>
                  <a:cubicBezTo>
                    <a:pt x="725" y="22"/>
                    <a:pt x="726" y="22"/>
                    <a:pt x="728" y="22"/>
                  </a:cubicBezTo>
                  <a:cubicBezTo>
                    <a:pt x="728" y="22"/>
                    <a:pt x="729" y="22"/>
                    <a:pt x="729" y="22"/>
                  </a:cubicBezTo>
                  <a:cubicBezTo>
                    <a:pt x="730" y="22"/>
                    <a:pt x="731" y="22"/>
                    <a:pt x="732" y="22"/>
                  </a:cubicBezTo>
                  <a:cubicBezTo>
                    <a:pt x="732" y="23"/>
                    <a:pt x="733" y="23"/>
                    <a:pt x="734" y="23"/>
                  </a:cubicBezTo>
                  <a:cubicBezTo>
                    <a:pt x="734" y="23"/>
                    <a:pt x="735" y="23"/>
                    <a:pt x="735" y="24"/>
                  </a:cubicBezTo>
                  <a:cubicBezTo>
                    <a:pt x="735" y="24"/>
                    <a:pt x="735" y="24"/>
                    <a:pt x="735" y="24"/>
                  </a:cubicBezTo>
                  <a:cubicBezTo>
                    <a:pt x="735" y="24"/>
                    <a:pt x="736" y="25"/>
                    <a:pt x="736" y="25"/>
                  </a:cubicBezTo>
                  <a:cubicBezTo>
                    <a:pt x="736" y="25"/>
                    <a:pt x="736" y="26"/>
                    <a:pt x="736" y="26"/>
                  </a:cubicBezTo>
                  <a:cubicBezTo>
                    <a:pt x="736" y="27"/>
                    <a:pt x="736" y="28"/>
                    <a:pt x="736" y="29"/>
                  </a:cubicBezTo>
                  <a:close/>
                  <a:moveTo>
                    <a:pt x="776" y="83"/>
                  </a:moveTo>
                  <a:lnTo>
                    <a:pt x="769" y="103"/>
                  </a:lnTo>
                  <a:cubicBezTo>
                    <a:pt x="769" y="104"/>
                    <a:pt x="768" y="105"/>
                    <a:pt x="767" y="105"/>
                  </a:cubicBezTo>
                  <a:cubicBezTo>
                    <a:pt x="766" y="105"/>
                    <a:pt x="764" y="105"/>
                    <a:pt x="762" y="105"/>
                  </a:cubicBezTo>
                  <a:cubicBezTo>
                    <a:pt x="761" y="105"/>
                    <a:pt x="760" y="105"/>
                    <a:pt x="760" y="105"/>
                  </a:cubicBezTo>
                  <a:cubicBezTo>
                    <a:pt x="759" y="105"/>
                    <a:pt x="759" y="105"/>
                    <a:pt x="758" y="105"/>
                  </a:cubicBezTo>
                  <a:cubicBezTo>
                    <a:pt x="758" y="104"/>
                    <a:pt x="758" y="104"/>
                    <a:pt x="758" y="104"/>
                  </a:cubicBezTo>
                  <a:cubicBezTo>
                    <a:pt x="758" y="103"/>
                    <a:pt x="758" y="103"/>
                    <a:pt x="758" y="102"/>
                  </a:cubicBezTo>
                  <a:lnTo>
                    <a:pt x="766" y="83"/>
                  </a:lnTo>
                  <a:cubicBezTo>
                    <a:pt x="765" y="83"/>
                    <a:pt x="765" y="82"/>
                    <a:pt x="765" y="82"/>
                  </a:cubicBezTo>
                  <a:cubicBezTo>
                    <a:pt x="764" y="81"/>
                    <a:pt x="764" y="81"/>
                    <a:pt x="764" y="81"/>
                  </a:cubicBezTo>
                  <a:lnTo>
                    <a:pt x="744" y="27"/>
                  </a:lnTo>
                  <a:cubicBezTo>
                    <a:pt x="744" y="26"/>
                    <a:pt x="743" y="25"/>
                    <a:pt x="743" y="25"/>
                  </a:cubicBezTo>
                  <a:cubicBezTo>
                    <a:pt x="743" y="24"/>
                    <a:pt x="744" y="24"/>
                    <a:pt x="744" y="24"/>
                  </a:cubicBezTo>
                  <a:cubicBezTo>
                    <a:pt x="744" y="23"/>
                    <a:pt x="745" y="23"/>
                    <a:pt x="746" y="23"/>
                  </a:cubicBezTo>
                  <a:cubicBezTo>
                    <a:pt x="746" y="23"/>
                    <a:pt x="747" y="23"/>
                    <a:pt x="749" y="23"/>
                  </a:cubicBezTo>
                  <a:cubicBezTo>
                    <a:pt x="750" y="23"/>
                    <a:pt x="751" y="23"/>
                    <a:pt x="751" y="23"/>
                  </a:cubicBezTo>
                  <a:cubicBezTo>
                    <a:pt x="752" y="23"/>
                    <a:pt x="753" y="23"/>
                    <a:pt x="753" y="23"/>
                  </a:cubicBezTo>
                  <a:cubicBezTo>
                    <a:pt x="754" y="24"/>
                    <a:pt x="754" y="24"/>
                    <a:pt x="754" y="24"/>
                  </a:cubicBezTo>
                  <a:cubicBezTo>
                    <a:pt x="754" y="24"/>
                    <a:pt x="754" y="25"/>
                    <a:pt x="755" y="25"/>
                  </a:cubicBezTo>
                  <a:lnTo>
                    <a:pt x="771" y="70"/>
                  </a:lnTo>
                  <a:lnTo>
                    <a:pt x="771" y="70"/>
                  </a:lnTo>
                  <a:lnTo>
                    <a:pt x="786" y="25"/>
                  </a:lnTo>
                  <a:cubicBezTo>
                    <a:pt x="787" y="24"/>
                    <a:pt x="787" y="24"/>
                    <a:pt x="787" y="24"/>
                  </a:cubicBezTo>
                  <a:cubicBezTo>
                    <a:pt x="788" y="23"/>
                    <a:pt x="788" y="23"/>
                    <a:pt x="789" y="23"/>
                  </a:cubicBezTo>
                  <a:cubicBezTo>
                    <a:pt x="790" y="23"/>
                    <a:pt x="791" y="23"/>
                    <a:pt x="792" y="23"/>
                  </a:cubicBezTo>
                  <a:cubicBezTo>
                    <a:pt x="793" y="23"/>
                    <a:pt x="794" y="23"/>
                    <a:pt x="795" y="23"/>
                  </a:cubicBezTo>
                  <a:cubicBezTo>
                    <a:pt x="796" y="23"/>
                    <a:pt x="796" y="23"/>
                    <a:pt x="797" y="24"/>
                  </a:cubicBezTo>
                  <a:cubicBezTo>
                    <a:pt x="797" y="24"/>
                    <a:pt x="797" y="24"/>
                    <a:pt x="797" y="25"/>
                  </a:cubicBezTo>
                  <a:cubicBezTo>
                    <a:pt x="797" y="25"/>
                    <a:pt x="797" y="26"/>
                    <a:pt x="797" y="27"/>
                  </a:cubicBezTo>
                  <a:lnTo>
                    <a:pt x="776" y="83"/>
                  </a:ln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5">
              <a:extLst>
                <a:ext uri="{FF2B5EF4-FFF2-40B4-BE49-F238E27FC236}">
                  <a16:creationId xmlns:a16="http://schemas.microsoft.com/office/drawing/2014/main" id="{86F18F3A-8D1C-48A1-8DE4-E09526C2D61A}"/>
                </a:ext>
              </a:extLst>
            </p:cNvPr>
            <p:cNvSpPr>
              <a:spLocks noEditPoints="1"/>
            </p:cNvSpPr>
            <p:nvPr/>
          </p:nvSpPr>
          <p:spPr bwMode="auto">
            <a:xfrm>
              <a:off x="5267" y="2298"/>
              <a:ext cx="397" cy="49"/>
            </a:xfrm>
            <a:custGeom>
              <a:avLst/>
              <a:gdLst>
                <a:gd name="T0" fmla="*/ 51 w 887"/>
                <a:gd name="T1" fmla="*/ 66 h 110"/>
                <a:gd name="T2" fmla="*/ 0 w 887"/>
                <a:gd name="T3" fmla="*/ 83 h 110"/>
                <a:gd name="T4" fmla="*/ 69 w 887"/>
                <a:gd name="T5" fmla="*/ 83 h 110"/>
                <a:gd name="T6" fmla="*/ 166 w 887"/>
                <a:gd name="T7" fmla="*/ 88 h 110"/>
                <a:gd name="T8" fmla="*/ 142 w 887"/>
                <a:gd name="T9" fmla="*/ 38 h 110"/>
                <a:gd name="T10" fmla="*/ 124 w 887"/>
                <a:gd name="T11" fmla="*/ 86 h 110"/>
                <a:gd name="T12" fmla="*/ 96 w 887"/>
                <a:gd name="T13" fmla="*/ 87 h 110"/>
                <a:gd name="T14" fmla="*/ 90 w 887"/>
                <a:gd name="T15" fmla="*/ 28 h 110"/>
                <a:gd name="T16" fmla="*/ 126 w 887"/>
                <a:gd name="T17" fmla="*/ 30 h 110"/>
                <a:gd name="T18" fmla="*/ 171 w 887"/>
                <a:gd name="T19" fmla="*/ 50 h 110"/>
                <a:gd name="T20" fmla="*/ 179 w 887"/>
                <a:gd name="T21" fmla="*/ 58 h 110"/>
                <a:gd name="T22" fmla="*/ 224 w 887"/>
                <a:gd name="T23" fmla="*/ 49 h 110"/>
                <a:gd name="T24" fmla="*/ 199 w 887"/>
                <a:gd name="T25" fmla="*/ 78 h 110"/>
                <a:gd name="T26" fmla="*/ 291 w 887"/>
                <a:gd name="T27" fmla="*/ 88 h 110"/>
                <a:gd name="T28" fmla="*/ 248 w 887"/>
                <a:gd name="T29" fmla="*/ 74 h 110"/>
                <a:gd name="T30" fmla="*/ 257 w 887"/>
                <a:gd name="T31" fmla="*/ 29 h 110"/>
                <a:gd name="T32" fmla="*/ 286 w 887"/>
                <a:gd name="T33" fmla="*/ 28 h 110"/>
                <a:gd name="T34" fmla="*/ 359 w 887"/>
                <a:gd name="T35" fmla="*/ 87 h 110"/>
                <a:gd name="T36" fmla="*/ 343 w 887"/>
                <a:gd name="T37" fmla="*/ 37 h 110"/>
                <a:gd name="T38" fmla="*/ 312 w 887"/>
                <a:gd name="T39" fmla="*/ 87 h 110"/>
                <a:gd name="T40" fmla="*/ 320 w 887"/>
                <a:gd name="T41" fmla="*/ 29 h 110"/>
                <a:gd name="T42" fmla="*/ 420 w 887"/>
                <a:gd name="T43" fmla="*/ 82 h 110"/>
                <a:gd name="T44" fmla="*/ 394 w 887"/>
                <a:gd name="T45" fmla="*/ 69 h 110"/>
                <a:gd name="T46" fmla="*/ 394 w 887"/>
                <a:gd name="T47" fmla="*/ 14 h 110"/>
                <a:gd name="T48" fmla="*/ 418 w 887"/>
                <a:gd name="T49" fmla="*/ 28 h 110"/>
                <a:gd name="T50" fmla="*/ 412 w 887"/>
                <a:gd name="T51" fmla="*/ 80 h 110"/>
                <a:gd name="T52" fmla="*/ 510 w 887"/>
                <a:gd name="T53" fmla="*/ 78 h 110"/>
                <a:gd name="T54" fmla="*/ 454 w 887"/>
                <a:gd name="T55" fmla="*/ 65 h 110"/>
                <a:gd name="T56" fmla="*/ 509 w 887"/>
                <a:gd name="T57" fmla="*/ 13 h 110"/>
                <a:gd name="T58" fmla="*/ 496 w 887"/>
                <a:gd name="T59" fmla="*/ 16 h 110"/>
                <a:gd name="T60" fmla="*/ 496 w 887"/>
                <a:gd name="T61" fmla="*/ 78 h 110"/>
                <a:gd name="T62" fmla="*/ 567 w 887"/>
                <a:gd name="T63" fmla="*/ 87 h 110"/>
                <a:gd name="T64" fmla="*/ 551 w 887"/>
                <a:gd name="T65" fmla="*/ 37 h 110"/>
                <a:gd name="T66" fmla="*/ 520 w 887"/>
                <a:gd name="T67" fmla="*/ 87 h 110"/>
                <a:gd name="T68" fmla="*/ 529 w 887"/>
                <a:gd name="T69" fmla="*/ 1 h 110"/>
                <a:gd name="T70" fmla="*/ 642 w 887"/>
                <a:gd name="T71" fmla="*/ 86 h 110"/>
                <a:gd name="T72" fmla="*/ 607 w 887"/>
                <a:gd name="T73" fmla="*/ 87 h 110"/>
                <a:gd name="T74" fmla="*/ 631 w 887"/>
                <a:gd name="T75" fmla="*/ 43 h 110"/>
                <a:gd name="T76" fmla="*/ 598 w 887"/>
                <a:gd name="T77" fmla="*/ 39 h 110"/>
                <a:gd name="T78" fmla="*/ 640 w 887"/>
                <a:gd name="T79" fmla="*/ 39 h 110"/>
                <a:gd name="T80" fmla="*/ 617 w 887"/>
                <a:gd name="T81" fmla="*/ 80 h 110"/>
                <a:gd name="T82" fmla="*/ 686 w 887"/>
                <a:gd name="T83" fmla="*/ 87 h 110"/>
                <a:gd name="T84" fmla="*/ 658 w 887"/>
                <a:gd name="T85" fmla="*/ 86 h 110"/>
                <a:gd name="T86" fmla="*/ 647 w 887"/>
                <a:gd name="T87" fmla="*/ 29 h 110"/>
                <a:gd name="T88" fmla="*/ 676 w 887"/>
                <a:gd name="T89" fmla="*/ 27 h 110"/>
                <a:gd name="T90" fmla="*/ 767 w 887"/>
                <a:gd name="T91" fmla="*/ 41 h 110"/>
                <a:gd name="T92" fmla="*/ 734 w 887"/>
                <a:gd name="T93" fmla="*/ 73 h 110"/>
                <a:gd name="T94" fmla="*/ 746 w 887"/>
                <a:gd name="T95" fmla="*/ 110 h 110"/>
                <a:gd name="T96" fmla="*/ 723 w 887"/>
                <a:gd name="T97" fmla="*/ 72 h 110"/>
                <a:gd name="T98" fmla="*/ 755 w 887"/>
                <a:gd name="T99" fmla="*/ 28 h 110"/>
                <a:gd name="T100" fmla="*/ 734 w 887"/>
                <a:gd name="T101" fmla="*/ 47 h 110"/>
                <a:gd name="T102" fmla="*/ 738 w 887"/>
                <a:gd name="T103" fmla="*/ 83 h 110"/>
                <a:gd name="T104" fmla="*/ 763 w 887"/>
                <a:gd name="T105" fmla="*/ 91 h 110"/>
                <a:gd name="T106" fmla="*/ 813 w 887"/>
                <a:gd name="T107" fmla="*/ 78 h 110"/>
                <a:gd name="T108" fmla="*/ 820 w 887"/>
                <a:gd name="T109" fmla="*/ 84 h 110"/>
                <a:gd name="T110" fmla="*/ 779 w 887"/>
                <a:gd name="T111" fmla="*/ 35 h 110"/>
                <a:gd name="T112" fmla="*/ 798 w 887"/>
                <a:gd name="T113" fmla="*/ 35 h 110"/>
                <a:gd name="T114" fmla="*/ 883 w 887"/>
                <a:gd name="T115" fmla="*/ 88 h 110"/>
                <a:gd name="T116" fmla="*/ 837 w 887"/>
                <a:gd name="T117" fmla="*/ 70 h 110"/>
                <a:gd name="T118" fmla="*/ 878 w 887"/>
                <a:gd name="T119" fmla="*/ 1 h 110"/>
                <a:gd name="T120" fmla="*/ 861 w 887"/>
                <a:gd name="T121" fmla="*/ 36 h 110"/>
                <a:gd name="T122" fmla="*/ 868 w 887"/>
                <a:gd name="T123" fmla="*/ 7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7" h="110">
                  <a:moveTo>
                    <a:pt x="69" y="83"/>
                  </a:moveTo>
                  <a:cubicBezTo>
                    <a:pt x="69" y="84"/>
                    <a:pt x="69" y="85"/>
                    <a:pt x="69" y="86"/>
                  </a:cubicBezTo>
                  <a:cubicBezTo>
                    <a:pt x="69" y="86"/>
                    <a:pt x="69" y="87"/>
                    <a:pt x="69" y="87"/>
                  </a:cubicBezTo>
                  <a:cubicBezTo>
                    <a:pt x="69" y="87"/>
                    <a:pt x="68" y="87"/>
                    <a:pt x="67" y="88"/>
                  </a:cubicBezTo>
                  <a:cubicBezTo>
                    <a:pt x="67" y="88"/>
                    <a:pt x="66" y="88"/>
                    <a:pt x="64" y="88"/>
                  </a:cubicBezTo>
                  <a:cubicBezTo>
                    <a:pt x="63" y="88"/>
                    <a:pt x="62" y="88"/>
                    <a:pt x="61" y="88"/>
                  </a:cubicBezTo>
                  <a:cubicBezTo>
                    <a:pt x="60" y="87"/>
                    <a:pt x="60" y="87"/>
                    <a:pt x="59" y="87"/>
                  </a:cubicBezTo>
                  <a:cubicBezTo>
                    <a:pt x="59" y="87"/>
                    <a:pt x="59" y="87"/>
                    <a:pt x="59" y="87"/>
                  </a:cubicBezTo>
                  <a:cubicBezTo>
                    <a:pt x="58" y="86"/>
                    <a:pt x="58" y="86"/>
                    <a:pt x="58" y="86"/>
                  </a:cubicBezTo>
                  <a:lnTo>
                    <a:pt x="51" y="66"/>
                  </a:lnTo>
                  <a:lnTo>
                    <a:pt x="17" y="66"/>
                  </a:lnTo>
                  <a:lnTo>
                    <a:pt x="11" y="85"/>
                  </a:lnTo>
                  <a:cubicBezTo>
                    <a:pt x="11" y="86"/>
                    <a:pt x="11" y="86"/>
                    <a:pt x="10" y="86"/>
                  </a:cubicBezTo>
                  <a:cubicBezTo>
                    <a:pt x="10" y="87"/>
                    <a:pt x="10" y="87"/>
                    <a:pt x="9" y="87"/>
                  </a:cubicBezTo>
                  <a:cubicBezTo>
                    <a:pt x="9" y="87"/>
                    <a:pt x="8" y="87"/>
                    <a:pt x="8" y="88"/>
                  </a:cubicBezTo>
                  <a:cubicBezTo>
                    <a:pt x="7" y="88"/>
                    <a:pt x="6" y="88"/>
                    <a:pt x="5" y="88"/>
                  </a:cubicBezTo>
                  <a:cubicBezTo>
                    <a:pt x="4" y="88"/>
                    <a:pt x="3" y="88"/>
                    <a:pt x="2" y="87"/>
                  </a:cubicBezTo>
                  <a:cubicBezTo>
                    <a:pt x="1" y="87"/>
                    <a:pt x="1" y="87"/>
                    <a:pt x="0" y="87"/>
                  </a:cubicBezTo>
                  <a:cubicBezTo>
                    <a:pt x="0" y="87"/>
                    <a:pt x="0" y="86"/>
                    <a:pt x="0" y="86"/>
                  </a:cubicBezTo>
                  <a:cubicBezTo>
                    <a:pt x="0" y="85"/>
                    <a:pt x="0" y="84"/>
                    <a:pt x="0" y="83"/>
                  </a:cubicBezTo>
                  <a:lnTo>
                    <a:pt x="28" y="8"/>
                  </a:lnTo>
                  <a:cubicBezTo>
                    <a:pt x="28" y="8"/>
                    <a:pt x="28" y="7"/>
                    <a:pt x="28" y="7"/>
                  </a:cubicBezTo>
                  <a:cubicBezTo>
                    <a:pt x="28" y="7"/>
                    <a:pt x="29" y="7"/>
                    <a:pt x="29" y="6"/>
                  </a:cubicBezTo>
                  <a:cubicBezTo>
                    <a:pt x="30" y="6"/>
                    <a:pt x="31" y="6"/>
                    <a:pt x="31" y="6"/>
                  </a:cubicBezTo>
                  <a:cubicBezTo>
                    <a:pt x="32" y="6"/>
                    <a:pt x="33" y="6"/>
                    <a:pt x="34" y="6"/>
                  </a:cubicBezTo>
                  <a:cubicBezTo>
                    <a:pt x="36" y="6"/>
                    <a:pt x="37" y="6"/>
                    <a:pt x="38" y="6"/>
                  </a:cubicBezTo>
                  <a:cubicBezTo>
                    <a:pt x="39" y="6"/>
                    <a:pt x="39" y="6"/>
                    <a:pt x="40" y="6"/>
                  </a:cubicBezTo>
                  <a:cubicBezTo>
                    <a:pt x="40" y="7"/>
                    <a:pt x="41" y="7"/>
                    <a:pt x="41" y="7"/>
                  </a:cubicBezTo>
                  <a:cubicBezTo>
                    <a:pt x="41" y="7"/>
                    <a:pt x="42" y="8"/>
                    <a:pt x="42" y="8"/>
                  </a:cubicBezTo>
                  <a:lnTo>
                    <a:pt x="69" y="83"/>
                  </a:lnTo>
                  <a:close/>
                  <a:moveTo>
                    <a:pt x="34" y="17"/>
                  </a:moveTo>
                  <a:lnTo>
                    <a:pt x="34" y="17"/>
                  </a:lnTo>
                  <a:lnTo>
                    <a:pt x="20" y="57"/>
                  </a:lnTo>
                  <a:lnTo>
                    <a:pt x="48" y="57"/>
                  </a:lnTo>
                  <a:lnTo>
                    <a:pt x="34" y="17"/>
                  </a:lnTo>
                  <a:close/>
                  <a:moveTo>
                    <a:pt x="171" y="86"/>
                  </a:moveTo>
                  <a:cubicBezTo>
                    <a:pt x="171" y="86"/>
                    <a:pt x="171" y="86"/>
                    <a:pt x="170" y="87"/>
                  </a:cubicBezTo>
                  <a:cubicBezTo>
                    <a:pt x="170" y="87"/>
                    <a:pt x="170" y="87"/>
                    <a:pt x="170" y="87"/>
                  </a:cubicBezTo>
                  <a:cubicBezTo>
                    <a:pt x="169" y="87"/>
                    <a:pt x="169" y="87"/>
                    <a:pt x="168" y="88"/>
                  </a:cubicBezTo>
                  <a:cubicBezTo>
                    <a:pt x="167" y="88"/>
                    <a:pt x="167" y="88"/>
                    <a:pt x="166" y="88"/>
                  </a:cubicBezTo>
                  <a:cubicBezTo>
                    <a:pt x="164" y="88"/>
                    <a:pt x="164" y="88"/>
                    <a:pt x="163" y="88"/>
                  </a:cubicBezTo>
                  <a:cubicBezTo>
                    <a:pt x="162" y="87"/>
                    <a:pt x="162" y="87"/>
                    <a:pt x="161" y="87"/>
                  </a:cubicBezTo>
                  <a:cubicBezTo>
                    <a:pt x="161" y="87"/>
                    <a:pt x="161" y="87"/>
                    <a:pt x="161" y="87"/>
                  </a:cubicBezTo>
                  <a:cubicBezTo>
                    <a:pt x="160" y="86"/>
                    <a:pt x="160" y="86"/>
                    <a:pt x="160" y="86"/>
                  </a:cubicBezTo>
                  <a:lnTo>
                    <a:pt x="160" y="52"/>
                  </a:lnTo>
                  <a:cubicBezTo>
                    <a:pt x="160" y="49"/>
                    <a:pt x="160" y="47"/>
                    <a:pt x="160" y="45"/>
                  </a:cubicBezTo>
                  <a:cubicBezTo>
                    <a:pt x="159" y="43"/>
                    <a:pt x="159" y="41"/>
                    <a:pt x="158" y="40"/>
                  </a:cubicBezTo>
                  <a:cubicBezTo>
                    <a:pt x="157" y="39"/>
                    <a:pt x="156" y="37"/>
                    <a:pt x="154" y="37"/>
                  </a:cubicBezTo>
                  <a:cubicBezTo>
                    <a:pt x="153" y="36"/>
                    <a:pt x="151" y="36"/>
                    <a:pt x="149" y="36"/>
                  </a:cubicBezTo>
                  <a:cubicBezTo>
                    <a:pt x="147" y="36"/>
                    <a:pt x="144" y="36"/>
                    <a:pt x="142" y="38"/>
                  </a:cubicBezTo>
                  <a:cubicBezTo>
                    <a:pt x="140" y="40"/>
                    <a:pt x="137" y="43"/>
                    <a:pt x="134" y="46"/>
                  </a:cubicBezTo>
                  <a:lnTo>
                    <a:pt x="134" y="86"/>
                  </a:lnTo>
                  <a:cubicBezTo>
                    <a:pt x="134" y="86"/>
                    <a:pt x="134" y="86"/>
                    <a:pt x="134" y="87"/>
                  </a:cubicBezTo>
                  <a:cubicBezTo>
                    <a:pt x="134" y="87"/>
                    <a:pt x="133" y="87"/>
                    <a:pt x="133" y="87"/>
                  </a:cubicBezTo>
                  <a:cubicBezTo>
                    <a:pt x="133" y="87"/>
                    <a:pt x="132" y="87"/>
                    <a:pt x="131" y="88"/>
                  </a:cubicBezTo>
                  <a:cubicBezTo>
                    <a:pt x="131" y="88"/>
                    <a:pt x="130" y="88"/>
                    <a:pt x="129" y="88"/>
                  </a:cubicBezTo>
                  <a:cubicBezTo>
                    <a:pt x="128" y="88"/>
                    <a:pt x="127" y="88"/>
                    <a:pt x="126" y="88"/>
                  </a:cubicBezTo>
                  <a:cubicBezTo>
                    <a:pt x="126" y="87"/>
                    <a:pt x="125" y="87"/>
                    <a:pt x="125" y="87"/>
                  </a:cubicBezTo>
                  <a:cubicBezTo>
                    <a:pt x="124" y="87"/>
                    <a:pt x="124" y="87"/>
                    <a:pt x="124" y="87"/>
                  </a:cubicBezTo>
                  <a:cubicBezTo>
                    <a:pt x="124" y="86"/>
                    <a:pt x="124" y="86"/>
                    <a:pt x="124" y="86"/>
                  </a:cubicBezTo>
                  <a:lnTo>
                    <a:pt x="124" y="52"/>
                  </a:lnTo>
                  <a:cubicBezTo>
                    <a:pt x="124" y="49"/>
                    <a:pt x="124" y="47"/>
                    <a:pt x="123" y="45"/>
                  </a:cubicBezTo>
                  <a:cubicBezTo>
                    <a:pt x="123" y="43"/>
                    <a:pt x="122" y="41"/>
                    <a:pt x="121" y="40"/>
                  </a:cubicBezTo>
                  <a:cubicBezTo>
                    <a:pt x="120" y="39"/>
                    <a:pt x="119" y="37"/>
                    <a:pt x="118" y="37"/>
                  </a:cubicBezTo>
                  <a:cubicBezTo>
                    <a:pt x="116" y="36"/>
                    <a:pt x="114" y="36"/>
                    <a:pt x="113" y="36"/>
                  </a:cubicBezTo>
                  <a:cubicBezTo>
                    <a:pt x="110" y="36"/>
                    <a:pt x="108" y="36"/>
                    <a:pt x="105" y="38"/>
                  </a:cubicBezTo>
                  <a:cubicBezTo>
                    <a:pt x="103" y="40"/>
                    <a:pt x="100" y="43"/>
                    <a:pt x="98" y="46"/>
                  </a:cubicBezTo>
                  <a:lnTo>
                    <a:pt x="98" y="86"/>
                  </a:lnTo>
                  <a:cubicBezTo>
                    <a:pt x="98" y="86"/>
                    <a:pt x="97" y="86"/>
                    <a:pt x="97" y="87"/>
                  </a:cubicBezTo>
                  <a:cubicBezTo>
                    <a:pt x="97" y="87"/>
                    <a:pt x="97" y="87"/>
                    <a:pt x="96" y="87"/>
                  </a:cubicBezTo>
                  <a:cubicBezTo>
                    <a:pt x="96" y="87"/>
                    <a:pt x="96" y="87"/>
                    <a:pt x="95" y="88"/>
                  </a:cubicBezTo>
                  <a:cubicBezTo>
                    <a:pt x="94" y="88"/>
                    <a:pt x="93" y="88"/>
                    <a:pt x="92" y="88"/>
                  </a:cubicBezTo>
                  <a:cubicBezTo>
                    <a:pt x="91" y="88"/>
                    <a:pt x="90" y="88"/>
                    <a:pt x="90" y="88"/>
                  </a:cubicBezTo>
                  <a:cubicBezTo>
                    <a:pt x="89" y="87"/>
                    <a:pt x="89" y="87"/>
                    <a:pt x="88" y="87"/>
                  </a:cubicBezTo>
                  <a:cubicBezTo>
                    <a:pt x="88" y="87"/>
                    <a:pt x="88" y="87"/>
                    <a:pt x="87" y="87"/>
                  </a:cubicBezTo>
                  <a:cubicBezTo>
                    <a:pt x="87" y="86"/>
                    <a:pt x="87" y="86"/>
                    <a:pt x="87" y="86"/>
                  </a:cubicBezTo>
                  <a:lnTo>
                    <a:pt x="87" y="29"/>
                  </a:lnTo>
                  <a:cubicBezTo>
                    <a:pt x="87" y="29"/>
                    <a:pt x="87" y="29"/>
                    <a:pt x="87" y="29"/>
                  </a:cubicBezTo>
                  <a:cubicBezTo>
                    <a:pt x="88" y="28"/>
                    <a:pt x="88" y="28"/>
                    <a:pt x="88" y="28"/>
                  </a:cubicBezTo>
                  <a:cubicBezTo>
                    <a:pt x="89" y="28"/>
                    <a:pt x="89" y="28"/>
                    <a:pt x="90" y="28"/>
                  </a:cubicBezTo>
                  <a:cubicBezTo>
                    <a:pt x="90" y="28"/>
                    <a:pt x="91" y="28"/>
                    <a:pt x="92" y="28"/>
                  </a:cubicBezTo>
                  <a:cubicBezTo>
                    <a:pt x="93" y="28"/>
                    <a:pt x="94" y="28"/>
                    <a:pt x="94" y="28"/>
                  </a:cubicBezTo>
                  <a:cubicBezTo>
                    <a:pt x="95" y="28"/>
                    <a:pt x="95" y="28"/>
                    <a:pt x="96" y="28"/>
                  </a:cubicBezTo>
                  <a:cubicBezTo>
                    <a:pt x="96" y="28"/>
                    <a:pt x="96" y="28"/>
                    <a:pt x="96" y="29"/>
                  </a:cubicBezTo>
                  <a:cubicBezTo>
                    <a:pt x="96" y="29"/>
                    <a:pt x="97" y="29"/>
                    <a:pt x="97" y="29"/>
                  </a:cubicBezTo>
                  <a:lnTo>
                    <a:pt x="97" y="37"/>
                  </a:lnTo>
                  <a:cubicBezTo>
                    <a:pt x="100" y="33"/>
                    <a:pt x="103" y="31"/>
                    <a:pt x="106" y="29"/>
                  </a:cubicBezTo>
                  <a:cubicBezTo>
                    <a:pt x="109" y="27"/>
                    <a:pt x="112" y="27"/>
                    <a:pt x="115" y="27"/>
                  </a:cubicBezTo>
                  <a:cubicBezTo>
                    <a:pt x="117" y="27"/>
                    <a:pt x="119" y="27"/>
                    <a:pt x="121" y="27"/>
                  </a:cubicBezTo>
                  <a:cubicBezTo>
                    <a:pt x="123" y="28"/>
                    <a:pt x="125" y="29"/>
                    <a:pt x="126" y="30"/>
                  </a:cubicBezTo>
                  <a:cubicBezTo>
                    <a:pt x="127" y="31"/>
                    <a:pt x="129" y="32"/>
                    <a:pt x="130" y="33"/>
                  </a:cubicBezTo>
                  <a:cubicBezTo>
                    <a:pt x="131" y="35"/>
                    <a:pt x="131" y="36"/>
                    <a:pt x="132" y="38"/>
                  </a:cubicBezTo>
                  <a:cubicBezTo>
                    <a:pt x="134" y="36"/>
                    <a:pt x="136" y="34"/>
                    <a:pt x="137" y="33"/>
                  </a:cubicBezTo>
                  <a:cubicBezTo>
                    <a:pt x="139" y="31"/>
                    <a:pt x="141" y="30"/>
                    <a:pt x="142" y="29"/>
                  </a:cubicBezTo>
                  <a:cubicBezTo>
                    <a:pt x="144" y="28"/>
                    <a:pt x="145" y="28"/>
                    <a:pt x="147" y="27"/>
                  </a:cubicBezTo>
                  <a:cubicBezTo>
                    <a:pt x="148" y="27"/>
                    <a:pt x="150" y="27"/>
                    <a:pt x="151" y="27"/>
                  </a:cubicBezTo>
                  <a:cubicBezTo>
                    <a:pt x="155" y="27"/>
                    <a:pt x="158" y="27"/>
                    <a:pt x="160" y="29"/>
                  </a:cubicBezTo>
                  <a:cubicBezTo>
                    <a:pt x="163" y="30"/>
                    <a:pt x="165" y="32"/>
                    <a:pt x="166" y="34"/>
                  </a:cubicBezTo>
                  <a:cubicBezTo>
                    <a:pt x="168" y="36"/>
                    <a:pt x="169" y="38"/>
                    <a:pt x="170" y="41"/>
                  </a:cubicBezTo>
                  <a:cubicBezTo>
                    <a:pt x="170" y="44"/>
                    <a:pt x="171" y="47"/>
                    <a:pt x="171" y="50"/>
                  </a:cubicBezTo>
                  <a:lnTo>
                    <a:pt x="171" y="86"/>
                  </a:lnTo>
                  <a:close/>
                  <a:moveTo>
                    <a:pt x="236" y="57"/>
                  </a:moveTo>
                  <a:cubicBezTo>
                    <a:pt x="236" y="62"/>
                    <a:pt x="235" y="66"/>
                    <a:pt x="234" y="70"/>
                  </a:cubicBezTo>
                  <a:cubicBezTo>
                    <a:pt x="232" y="73"/>
                    <a:pt x="231" y="77"/>
                    <a:pt x="228" y="80"/>
                  </a:cubicBezTo>
                  <a:cubicBezTo>
                    <a:pt x="226" y="82"/>
                    <a:pt x="223" y="85"/>
                    <a:pt x="219" y="86"/>
                  </a:cubicBezTo>
                  <a:cubicBezTo>
                    <a:pt x="216" y="88"/>
                    <a:pt x="212" y="88"/>
                    <a:pt x="207" y="88"/>
                  </a:cubicBezTo>
                  <a:cubicBezTo>
                    <a:pt x="202" y="88"/>
                    <a:pt x="198" y="88"/>
                    <a:pt x="195" y="86"/>
                  </a:cubicBezTo>
                  <a:cubicBezTo>
                    <a:pt x="191" y="85"/>
                    <a:pt x="188" y="83"/>
                    <a:pt x="186" y="80"/>
                  </a:cubicBezTo>
                  <a:cubicBezTo>
                    <a:pt x="184" y="78"/>
                    <a:pt x="182" y="75"/>
                    <a:pt x="181" y="71"/>
                  </a:cubicBezTo>
                  <a:cubicBezTo>
                    <a:pt x="180" y="67"/>
                    <a:pt x="179" y="63"/>
                    <a:pt x="179" y="58"/>
                  </a:cubicBezTo>
                  <a:cubicBezTo>
                    <a:pt x="179" y="53"/>
                    <a:pt x="180" y="49"/>
                    <a:pt x="181" y="45"/>
                  </a:cubicBezTo>
                  <a:cubicBezTo>
                    <a:pt x="182" y="42"/>
                    <a:pt x="184" y="38"/>
                    <a:pt x="186" y="35"/>
                  </a:cubicBezTo>
                  <a:cubicBezTo>
                    <a:pt x="189" y="33"/>
                    <a:pt x="192" y="30"/>
                    <a:pt x="195" y="29"/>
                  </a:cubicBezTo>
                  <a:cubicBezTo>
                    <a:pt x="199" y="27"/>
                    <a:pt x="203" y="27"/>
                    <a:pt x="208" y="27"/>
                  </a:cubicBezTo>
                  <a:cubicBezTo>
                    <a:pt x="213" y="27"/>
                    <a:pt x="217" y="27"/>
                    <a:pt x="220" y="29"/>
                  </a:cubicBezTo>
                  <a:cubicBezTo>
                    <a:pt x="223" y="30"/>
                    <a:pt x="226" y="32"/>
                    <a:pt x="229" y="35"/>
                  </a:cubicBezTo>
                  <a:cubicBezTo>
                    <a:pt x="231" y="37"/>
                    <a:pt x="233" y="41"/>
                    <a:pt x="234" y="44"/>
                  </a:cubicBezTo>
                  <a:cubicBezTo>
                    <a:pt x="235" y="48"/>
                    <a:pt x="236" y="52"/>
                    <a:pt x="236" y="57"/>
                  </a:cubicBezTo>
                  <a:close/>
                  <a:moveTo>
                    <a:pt x="225" y="58"/>
                  </a:moveTo>
                  <a:cubicBezTo>
                    <a:pt x="225" y="55"/>
                    <a:pt x="225" y="52"/>
                    <a:pt x="224" y="49"/>
                  </a:cubicBezTo>
                  <a:cubicBezTo>
                    <a:pt x="223" y="46"/>
                    <a:pt x="222" y="44"/>
                    <a:pt x="221" y="42"/>
                  </a:cubicBezTo>
                  <a:cubicBezTo>
                    <a:pt x="220" y="40"/>
                    <a:pt x="218" y="38"/>
                    <a:pt x="216" y="37"/>
                  </a:cubicBezTo>
                  <a:cubicBezTo>
                    <a:pt x="214" y="36"/>
                    <a:pt x="211" y="35"/>
                    <a:pt x="208" y="35"/>
                  </a:cubicBezTo>
                  <a:cubicBezTo>
                    <a:pt x="204" y="35"/>
                    <a:pt x="202" y="36"/>
                    <a:pt x="200" y="37"/>
                  </a:cubicBezTo>
                  <a:cubicBezTo>
                    <a:pt x="197" y="38"/>
                    <a:pt x="196" y="40"/>
                    <a:pt x="194" y="41"/>
                  </a:cubicBezTo>
                  <a:cubicBezTo>
                    <a:pt x="193" y="43"/>
                    <a:pt x="192" y="46"/>
                    <a:pt x="191" y="49"/>
                  </a:cubicBezTo>
                  <a:cubicBezTo>
                    <a:pt x="190" y="51"/>
                    <a:pt x="190" y="54"/>
                    <a:pt x="190" y="57"/>
                  </a:cubicBezTo>
                  <a:cubicBezTo>
                    <a:pt x="190" y="60"/>
                    <a:pt x="190" y="63"/>
                    <a:pt x="191" y="66"/>
                  </a:cubicBezTo>
                  <a:cubicBezTo>
                    <a:pt x="191" y="69"/>
                    <a:pt x="192" y="71"/>
                    <a:pt x="194" y="73"/>
                  </a:cubicBezTo>
                  <a:cubicBezTo>
                    <a:pt x="195" y="75"/>
                    <a:pt x="197" y="77"/>
                    <a:pt x="199" y="78"/>
                  </a:cubicBezTo>
                  <a:cubicBezTo>
                    <a:pt x="201" y="79"/>
                    <a:pt x="204" y="80"/>
                    <a:pt x="207" y="80"/>
                  </a:cubicBezTo>
                  <a:cubicBezTo>
                    <a:pt x="210" y="80"/>
                    <a:pt x="213" y="79"/>
                    <a:pt x="215" y="78"/>
                  </a:cubicBezTo>
                  <a:cubicBezTo>
                    <a:pt x="217" y="77"/>
                    <a:pt x="219" y="76"/>
                    <a:pt x="221" y="74"/>
                  </a:cubicBezTo>
                  <a:cubicBezTo>
                    <a:pt x="222" y="72"/>
                    <a:pt x="223" y="69"/>
                    <a:pt x="224" y="67"/>
                  </a:cubicBezTo>
                  <a:cubicBezTo>
                    <a:pt x="224" y="64"/>
                    <a:pt x="225" y="61"/>
                    <a:pt x="225" y="58"/>
                  </a:cubicBezTo>
                  <a:close/>
                  <a:moveTo>
                    <a:pt x="295" y="86"/>
                  </a:moveTo>
                  <a:cubicBezTo>
                    <a:pt x="295" y="86"/>
                    <a:pt x="295" y="86"/>
                    <a:pt x="295" y="87"/>
                  </a:cubicBezTo>
                  <a:cubicBezTo>
                    <a:pt x="295" y="87"/>
                    <a:pt x="295" y="87"/>
                    <a:pt x="294" y="87"/>
                  </a:cubicBezTo>
                  <a:cubicBezTo>
                    <a:pt x="294" y="87"/>
                    <a:pt x="294" y="87"/>
                    <a:pt x="293" y="88"/>
                  </a:cubicBezTo>
                  <a:cubicBezTo>
                    <a:pt x="292" y="88"/>
                    <a:pt x="292" y="88"/>
                    <a:pt x="291" y="88"/>
                  </a:cubicBezTo>
                  <a:cubicBezTo>
                    <a:pt x="290" y="88"/>
                    <a:pt x="289" y="88"/>
                    <a:pt x="288" y="88"/>
                  </a:cubicBezTo>
                  <a:cubicBezTo>
                    <a:pt x="288" y="87"/>
                    <a:pt x="287" y="87"/>
                    <a:pt x="287" y="87"/>
                  </a:cubicBezTo>
                  <a:cubicBezTo>
                    <a:pt x="287" y="87"/>
                    <a:pt x="286" y="87"/>
                    <a:pt x="286" y="87"/>
                  </a:cubicBezTo>
                  <a:cubicBezTo>
                    <a:pt x="286" y="86"/>
                    <a:pt x="286" y="86"/>
                    <a:pt x="286" y="86"/>
                  </a:cubicBezTo>
                  <a:lnTo>
                    <a:pt x="286" y="78"/>
                  </a:lnTo>
                  <a:cubicBezTo>
                    <a:pt x="283" y="82"/>
                    <a:pt x="280" y="84"/>
                    <a:pt x="277" y="86"/>
                  </a:cubicBezTo>
                  <a:cubicBezTo>
                    <a:pt x="273" y="88"/>
                    <a:pt x="270" y="88"/>
                    <a:pt x="267" y="88"/>
                  </a:cubicBezTo>
                  <a:cubicBezTo>
                    <a:pt x="263" y="88"/>
                    <a:pt x="260" y="88"/>
                    <a:pt x="258" y="87"/>
                  </a:cubicBezTo>
                  <a:cubicBezTo>
                    <a:pt x="255" y="85"/>
                    <a:pt x="253" y="84"/>
                    <a:pt x="251" y="81"/>
                  </a:cubicBezTo>
                  <a:cubicBezTo>
                    <a:pt x="250" y="79"/>
                    <a:pt x="249" y="77"/>
                    <a:pt x="248" y="74"/>
                  </a:cubicBezTo>
                  <a:cubicBezTo>
                    <a:pt x="247" y="71"/>
                    <a:pt x="247" y="68"/>
                    <a:pt x="247" y="64"/>
                  </a:cubicBezTo>
                  <a:lnTo>
                    <a:pt x="247" y="29"/>
                  </a:lnTo>
                  <a:cubicBezTo>
                    <a:pt x="247" y="29"/>
                    <a:pt x="247" y="29"/>
                    <a:pt x="247" y="29"/>
                  </a:cubicBezTo>
                  <a:cubicBezTo>
                    <a:pt x="247" y="28"/>
                    <a:pt x="248" y="28"/>
                    <a:pt x="248" y="28"/>
                  </a:cubicBezTo>
                  <a:cubicBezTo>
                    <a:pt x="248" y="28"/>
                    <a:pt x="249" y="28"/>
                    <a:pt x="250" y="28"/>
                  </a:cubicBezTo>
                  <a:cubicBezTo>
                    <a:pt x="250" y="28"/>
                    <a:pt x="251" y="28"/>
                    <a:pt x="252" y="28"/>
                  </a:cubicBezTo>
                  <a:cubicBezTo>
                    <a:pt x="253" y="28"/>
                    <a:pt x="254" y="28"/>
                    <a:pt x="255" y="28"/>
                  </a:cubicBezTo>
                  <a:cubicBezTo>
                    <a:pt x="255" y="28"/>
                    <a:pt x="256" y="28"/>
                    <a:pt x="256" y="28"/>
                  </a:cubicBezTo>
                  <a:cubicBezTo>
                    <a:pt x="257" y="28"/>
                    <a:pt x="257" y="28"/>
                    <a:pt x="257" y="29"/>
                  </a:cubicBezTo>
                  <a:cubicBezTo>
                    <a:pt x="257" y="29"/>
                    <a:pt x="257" y="29"/>
                    <a:pt x="257" y="29"/>
                  </a:cubicBezTo>
                  <a:lnTo>
                    <a:pt x="257" y="62"/>
                  </a:lnTo>
                  <a:cubicBezTo>
                    <a:pt x="257" y="65"/>
                    <a:pt x="257" y="68"/>
                    <a:pt x="258" y="70"/>
                  </a:cubicBezTo>
                  <a:cubicBezTo>
                    <a:pt x="258" y="72"/>
                    <a:pt x="259" y="74"/>
                    <a:pt x="260" y="75"/>
                  </a:cubicBezTo>
                  <a:cubicBezTo>
                    <a:pt x="261" y="77"/>
                    <a:pt x="262" y="78"/>
                    <a:pt x="264" y="78"/>
                  </a:cubicBezTo>
                  <a:cubicBezTo>
                    <a:pt x="265" y="79"/>
                    <a:pt x="267" y="80"/>
                    <a:pt x="269" y="80"/>
                  </a:cubicBezTo>
                  <a:cubicBezTo>
                    <a:pt x="272" y="80"/>
                    <a:pt x="274" y="79"/>
                    <a:pt x="277" y="77"/>
                  </a:cubicBezTo>
                  <a:cubicBezTo>
                    <a:pt x="279" y="75"/>
                    <a:pt x="282" y="72"/>
                    <a:pt x="285" y="69"/>
                  </a:cubicBezTo>
                  <a:lnTo>
                    <a:pt x="285" y="29"/>
                  </a:lnTo>
                  <a:cubicBezTo>
                    <a:pt x="285" y="29"/>
                    <a:pt x="285" y="29"/>
                    <a:pt x="285" y="29"/>
                  </a:cubicBezTo>
                  <a:cubicBezTo>
                    <a:pt x="285" y="28"/>
                    <a:pt x="286" y="28"/>
                    <a:pt x="286" y="28"/>
                  </a:cubicBezTo>
                  <a:cubicBezTo>
                    <a:pt x="286" y="28"/>
                    <a:pt x="287" y="28"/>
                    <a:pt x="288" y="28"/>
                  </a:cubicBezTo>
                  <a:cubicBezTo>
                    <a:pt x="288" y="28"/>
                    <a:pt x="289" y="28"/>
                    <a:pt x="290" y="28"/>
                  </a:cubicBezTo>
                  <a:cubicBezTo>
                    <a:pt x="291" y="28"/>
                    <a:pt x="292" y="28"/>
                    <a:pt x="293" y="28"/>
                  </a:cubicBezTo>
                  <a:cubicBezTo>
                    <a:pt x="293" y="28"/>
                    <a:pt x="294" y="28"/>
                    <a:pt x="294" y="28"/>
                  </a:cubicBezTo>
                  <a:cubicBezTo>
                    <a:pt x="295" y="28"/>
                    <a:pt x="295" y="28"/>
                    <a:pt x="295" y="29"/>
                  </a:cubicBezTo>
                  <a:cubicBezTo>
                    <a:pt x="295" y="29"/>
                    <a:pt x="295" y="29"/>
                    <a:pt x="295" y="29"/>
                  </a:cubicBezTo>
                  <a:lnTo>
                    <a:pt x="295" y="86"/>
                  </a:lnTo>
                  <a:close/>
                  <a:moveTo>
                    <a:pt x="360" y="86"/>
                  </a:moveTo>
                  <a:cubicBezTo>
                    <a:pt x="360" y="86"/>
                    <a:pt x="360" y="86"/>
                    <a:pt x="359" y="87"/>
                  </a:cubicBezTo>
                  <a:cubicBezTo>
                    <a:pt x="359" y="87"/>
                    <a:pt x="359" y="87"/>
                    <a:pt x="359" y="87"/>
                  </a:cubicBezTo>
                  <a:cubicBezTo>
                    <a:pt x="358" y="87"/>
                    <a:pt x="358" y="87"/>
                    <a:pt x="357" y="88"/>
                  </a:cubicBezTo>
                  <a:cubicBezTo>
                    <a:pt x="356" y="88"/>
                    <a:pt x="356" y="88"/>
                    <a:pt x="355" y="88"/>
                  </a:cubicBezTo>
                  <a:cubicBezTo>
                    <a:pt x="353" y="88"/>
                    <a:pt x="353" y="88"/>
                    <a:pt x="352" y="88"/>
                  </a:cubicBezTo>
                  <a:cubicBezTo>
                    <a:pt x="351" y="87"/>
                    <a:pt x="351" y="87"/>
                    <a:pt x="350" y="87"/>
                  </a:cubicBezTo>
                  <a:cubicBezTo>
                    <a:pt x="350" y="87"/>
                    <a:pt x="350" y="87"/>
                    <a:pt x="350" y="87"/>
                  </a:cubicBezTo>
                  <a:cubicBezTo>
                    <a:pt x="349" y="86"/>
                    <a:pt x="349" y="86"/>
                    <a:pt x="349" y="86"/>
                  </a:cubicBezTo>
                  <a:lnTo>
                    <a:pt x="349" y="53"/>
                  </a:lnTo>
                  <a:cubicBezTo>
                    <a:pt x="349" y="50"/>
                    <a:pt x="349" y="47"/>
                    <a:pt x="349" y="45"/>
                  </a:cubicBezTo>
                  <a:cubicBezTo>
                    <a:pt x="348" y="43"/>
                    <a:pt x="347" y="41"/>
                    <a:pt x="346" y="40"/>
                  </a:cubicBezTo>
                  <a:cubicBezTo>
                    <a:pt x="345" y="39"/>
                    <a:pt x="344" y="37"/>
                    <a:pt x="343" y="37"/>
                  </a:cubicBezTo>
                  <a:cubicBezTo>
                    <a:pt x="341" y="36"/>
                    <a:pt x="339" y="36"/>
                    <a:pt x="337" y="36"/>
                  </a:cubicBezTo>
                  <a:cubicBezTo>
                    <a:pt x="335" y="36"/>
                    <a:pt x="332" y="36"/>
                    <a:pt x="330" y="38"/>
                  </a:cubicBezTo>
                  <a:cubicBezTo>
                    <a:pt x="327" y="40"/>
                    <a:pt x="324" y="43"/>
                    <a:pt x="322" y="46"/>
                  </a:cubicBezTo>
                  <a:lnTo>
                    <a:pt x="322" y="86"/>
                  </a:lnTo>
                  <a:cubicBezTo>
                    <a:pt x="322" y="86"/>
                    <a:pt x="321" y="86"/>
                    <a:pt x="321" y="87"/>
                  </a:cubicBezTo>
                  <a:cubicBezTo>
                    <a:pt x="321" y="87"/>
                    <a:pt x="321" y="87"/>
                    <a:pt x="320" y="87"/>
                  </a:cubicBezTo>
                  <a:cubicBezTo>
                    <a:pt x="320" y="87"/>
                    <a:pt x="320" y="87"/>
                    <a:pt x="319" y="88"/>
                  </a:cubicBezTo>
                  <a:cubicBezTo>
                    <a:pt x="318" y="88"/>
                    <a:pt x="317" y="88"/>
                    <a:pt x="316" y="88"/>
                  </a:cubicBezTo>
                  <a:cubicBezTo>
                    <a:pt x="315" y="88"/>
                    <a:pt x="314" y="88"/>
                    <a:pt x="314" y="88"/>
                  </a:cubicBezTo>
                  <a:cubicBezTo>
                    <a:pt x="313" y="87"/>
                    <a:pt x="313" y="87"/>
                    <a:pt x="312" y="87"/>
                  </a:cubicBezTo>
                  <a:cubicBezTo>
                    <a:pt x="312" y="87"/>
                    <a:pt x="312" y="87"/>
                    <a:pt x="311" y="87"/>
                  </a:cubicBezTo>
                  <a:cubicBezTo>
                    <a:pt x="311" y="86"/>
                    <a:pt x="311" y="86"/>
                    <a:pt x="311" y="86"/>
                  </a:cubicBezTo>
                  <a:lnTo>
                    <a:pt x="311" y="29"/>
                  </a:lnTo>
                  <a:cubicBezTo>
                    <a:pt x="311" y="29"/>
                    <a:pt x="311" y="29"/>
                    <a:pt x="311" y="29"/>
                  </a:cubicBezTo>
                  <a:cubicBezTo>
                    <a:pt x="312" y="28"/>
                    <a:pt x="312" y="28"/>
                    <a:pt x="312" y="28"/>
                  </a:cubicBezTo>
                  <a:cubicBezTo>
                    <a:pt x="313" y="28"/>
                    <a:pt x="313" y="28"/>
                    <a:pt x="314" y="28"/>
                  </a:cubicBezTo>
                  <a:cubicBezTo>
                    <a:pt x="314" y="28"/>
                    <a:pt x="315" y="28"/>
                    <a:pt x="316" y="28"/>
                  </a:cubicBezTo>
                  <a:cubicBezTo>
                    <a:pt x="317" y="28"/>
                    <a:pt x="318" y="28"/>
                    <a:pt x="318" y="28"/>
                  </a:cubicBezTo>
                  <a:cubicBezTo>
                    <a:pt x="319" y="28"/>
                    <a:pt x="319" y="28"/>
                    <a:pt x="320" y="28"/>
                  </a:cubicBezTo>
                  <a:cubicBezTo>
                    <a:pt x="320" y="28"/>
                    <a:pt x="320" y="28"/>
                    <a:pt x="320" y="29"/>
                  </a:cubicBezTo>
                  <a:cubicBezTo>
                    <a:pt x="320" y="29"/>
                    <a:pt x="321" y="29"/>
                    <a:pt x="321" y="29"/>
                  </a:cubicBezTo>
                  <a:lnTo>
                    <a:pt x="321" y="37"/>
                  </a:lnTo>
                  <a:cubicBezTo>
                    <a:pt x="324" y="33"/>
                    <a:pt x="327" y="31"/>
                    <a:pt x="330" y="29"/>
                  </a:cubicBezTo>
                  <a:cubicBezTo>
                    <a:pt x="333" y="27"/>
                    <a:pt x="336" y="27"/>
                    <a:pt x="340" y="27"/>
                  </a:cubicBezTo>
                  <a:cubicBezTo>
                    <a:pt x="343" y="27"/>
                    <a:pt x="346" y="27"/>
                    <a:pt x="349" y="29"/>
                  </a:cubicBezTo>
                  <a:cubicBezTo>
                    <a:pt x="352" y="30"/>
                    <a:pt x="354" y="32"/>
                    <a:pt x="355" y="34"/>
                  </a:cubicBezTo>
                  <a:cubicBezTo>
                    <a:pt x="357" y="36"/>
                    <a:pt x="358" y="38"/>
                    <a:pt x="359" y="41"/>
                  </a:cubicBezTo>
                  <a:cubicBezTo>
                    <a:pt x="359" y="44"/>
                    <a:pt x="360" y="47"/>
                    <a:pt x="360" y="51"/>
                  </a:cubicBezTo>
                  <a:lnTo>
                    <a:pt x="360" y="86"/>
                  </a:lnTo>
                  <a:close/>
                  <a:moveTo>
                    <a:pt x="420" y="82"/>
                  </a:moveTo>
                  <a:cubicBezTo>
                    <a:pt x="420" y="83"/>
                    <a:pt x="420" y="84"/>
                    <a:pt x="420" y="84"/>
                  </a:cubicBezTo>
                  <a:cubicBezTo>
                    <a:pt x="420" y="85"/>
                    <a:pt x="420" y="86"/>
                    <a:pt x="419" y="86"/>
                  </a:cubicBezTo>
                  <a:cubicBezTo>
                    <a:pt x="419" y="86"/>
                    <a:pt x="419" y="87"/>
                    <a:pt x="418" y="87"/>
                  </a:cubicBezTo>
                  <a:cubicBezTo>
                    <a:pt x="417" y="87"/>
                    <a:pt x="417" y="87"/>
                    <a:pt x="416" y="88"/>
                  </a:cubicBezTo>
                  <a:cubicBezTo>
                    <a:pt x="415" y="88"/>
                    <a:pt x="414" y="88"/>
                    <a:pt x="413" y="88"/>
                  </a:cubicBezTo>
                  <a:cubicBezTo>
                    <a:pt x="412" y="88"/>
                    <a:pt x="411" y="88"/>
                    <a:pt x="410" y="88"/>
                  </a:cubicBezTo>
                  <a:cubicBezTo>
                    <a:pt x="407" y="88"/>
                    <a:pt x="405" y="88"/>
                    <a:pt x="403" y="87"/>
                  </a:cubicBezTo>
                  <a:cubicBezTo>
                    <a:pt x="400" y="86"/>
                    <a:pt x="399" y="85"/>
                    <a:pt x="397" y="84"/>
                  </a:cubicBezTo>
                  <a:cubicBezTo>
                    <a:pt x="396" y="82"/>
                    <a:pt x="395" y="80"/>
                    <a:pt x="395" y="78"/>
                  </a:cubicBezTo>
                  <a:cubicBezTo>
                    <a:pt x="394" y="75"/>
                    <a:pt x="394" y="73"/>
                    <a:pt x="394" y="69"/>
                  </a:cubicBezTo>
                  <a:lnTo>
                    <a:pt x="394" y="36"/>
                  </a:lnTo>
                  <a:lnTo>
                    <a:pt x="386" y="36"/>
                  </a:lnTo>
                  <a:cubicBezTo>
                    <a:pt x="385" y="36"/>
                    <a:pt x="385" y="36"/>
                    <a:pt x="384" y="35"/>
                  </a:cubicBezTo>
                  <a:cubicBezTo>
                    <a:pt x="384" y="35"/>
                    <a:pt x="384" y="34"/>
                    <a:pt x="384" y="32"/>
                  </a:cubicBezTo>
                  <a:cubicBezTo>
                    <a:pt x="384" y="31"/>
                    <a:pt x="384" y="31"/>
                    <a:pt x="384" y="30"/>
                  </a:cubicBezTo>
                  <a:cubicBezTo>
                    <a:pt x="384" y="30"/>
                    <a:pt x="384" y="29"/>
                    <a:pt x="384" y="29"/>
                  </a:cubicBezTo>
                  <a:cubicBezTo>
                    <a:pt x="384" y="28"/>
                    <a:pt x="385" y="28"/>
                    <a:pt x="385" y="28"/>
                  </a:cubicBezTo>
                  <a:cubicBezTo>
                    <a:pt x="385" y="28"/>
                    <a:pt x="385" y="28"/>
                    <a:pt x="386" y="28"/>
                  </a:cubicBezTo>
                  <a:lnTo>
                    <a:pt x="394" y="28"/>
                  </a:lnTo>
                  <a:lnTo>
                    <a:pt x="394" y="14"/>
                  </a:lnTo>
                  <a:cubicBezTo>
                    <a:pt x="394" y="14"/>
                    <a:pt x="394" y="14"/>
                    <a:pt x="394" y="14"/>
                  </a:cubicBezTo>
                  <a:cubicBezTo>
                    <a:pt x="394" y="13"/>
                    <a:pt x="394" y="13"/>
                    <a:pt x="395" y="13"/>
                  </a:cubicBezTo>
                  <a:cubicBezTo>
                    <a:pt x="395" y="13"/>
                    <a:pt x="396" y="13"/>
                    <a:pt x="396" y="13"/>
                  </a:cubicBezTo>
                  <a:cubicBezTo>
                    <a:pt x="397" y="12"/>
                    <a:pt x="398" y="12"/>
                    <a:pt x="399" y="12"/>
                  </a:cubicBezTo>
                  <a:cubicBezTo>
                    <a:pt x="400" y="12"/>
                    <a:pt x="401" y="12"/>
                    <a:pt x="401" y="13"/>
                  </a:cubicBezTo>
                  <a:cubicBezTo>
                    <a:pt x="402" y="13"/>
                    <a:pt x="403" y="13"/>
                    <a:pt x="403" y="13"/>
                  </a:cubicBezTo>
                  <a:cubicBezTo>
                    <a:pt x="403" y="13"/>
                    <a:pt x="404" y="13"/>
                    <a:pt x="404" y="14"/>
                  </a:cubicBezTo>
                  <a:cubicBezTo>
                    <a:pt x="404" y="14"/>
                    <a:pt x="404" y="14"/>
                    <a:pt x="404" y="14"/>
                  </a:cubicBezTo>
                  <a:lnTo>
                    <a:pt x="404" y="28"/>
                  </a:lnTo>
                  <a:lnTo>
                    <a:pt x="418" y="28"/>
                  </a:lnTo>
                  <a:cubicBezTo>
                    <a:pt x="419" y="28"/>
                    <a:pt x="419" y="28"/>
                    <a:pt x="419" y="28"/>
                  </a:cubicBezTo>
                  <a:cubicBezTo>
                    <a:pt x="420" y="28"/>
                    <a:pt x="420" y="28"/>
                    <a:pt x="420" y="29"/>
                  </a:cubicBezTo>
                  <a:cubicBezTo>
                    <a:pt x="420" y="29"/>
                    <a:pt x="420" y="30"/>
                    <a:pt x="420" y="30"/>
                  </a:cubicBezTo>
                  <a:cubicBezTo>
                    <a:pt x="420" y="31"/>
                    <a:pt x="420" y="31"/>
                    <a:pt x="420" y="32"/>
                  </a:cubicBezTo>
                  <a:cubicBezTo>
                    <a:pt x="420" y="34"/>
                    <a:pt x="420" y="35"/>
                    <a:pt x="420" y="35"/>
                  </a:cubicBezTo>
                  <a:cubicBezTo>
                    <a:pt x="420" y="36"/>
                    <a:pt x="419" y="36"/>
                    <a:pt x="418" y="36"/>
                  </a:cubicBezTo>
                  <a:lnTo>
                    <a:pt x="404" y="36"/>
                  </a:lnTo>
                  <a:lnTo>
                    <a:pt x="404" y="68"/>
                  </a:lnTo>
                  <a:cubicBezTo>
                    <a:pt x="404" y="72"/>
                    <a:pt x="405" y="75"/>
                    <a:pt x="406" y="77"/>
                  </a:cubicBezTo>
                  <a:cubicBezTo>
                    <a:pt x="407" y="79"/>
                    <a:pt x="409" y="80"/>
                    <a:pt x="412" y="80"/>
                  </a:cubicBezTo>
                  <a:cubicBezTo>
                    <a:pt x="413" y="80"/>
                    <a:pt x="414" y="79"/>
                    <a:pt x="414" y="79"/>
                  </a:cubicBezTo>
                  <a:cubicBezTo>
                    <a:pt x="415" y="79"/>
                    <a:pt x="416" y="79"/>
                    <a:pt x="416" y="79"/>
                  </a:cubicBezTo>
                  <a:cubicBezTo>
                    <a:pt x="417" y="78"/>
                    <a:pt x="417" y="78"/>
                    <a:pt x="418" y="78"/>
                  </a:cubicBezTo>
                  <a:cubicBezTo>
                    <a:pt x="418" y="78"/>
                    <a:pt x="419" y="78"/>
                    <a:pt x="419" y="78"/>
                  </a:cubicBezTo>
                  <a:cubicBezTo>
                    <a:pt x="419" y="78"/>
                    <a:pt x="419" y="78"/>
                    <a:pt x="420" y="78"/>
                  </a:cubicBezTo>
                  <a:cubicBezTo>
                    <a:pt x="420" y="78"/>
                    <a:pt x="420" y="78"/>
                    <a:pt x="420" y="79"/>
                  </a:cubicBezTo>
                  <a:cubicBezTo>
                    <a:pt x="420" y="79"/>
                    <a:pt x="420" y="79"/>
                    <a:pt x="420" y="80"/>
                  </a:cubicBezTo>
                  <a:cubicBezTo>
                    <a:pt x="420" y="80"/>
                    <a:pt x="420" y="81"/>
                    <a:pt x="420" y="82"/>
                  </a:cubicBezTo>
                  <a:close/>
                  <a:moveTo>
                    <a:pt x="510" y="76"/>
                  </a:moveTo>
                  <a:cubicBezTo>
                    <a:pt x="510" y="76"/>
                    <a:pt x="510" y="77"/>
                    <a:pt x="510" y="78"/>
                  </a:cubicBezTo>
                  <a:cubicBezTo>
                    <a:pt x="510" y="78"/>
                    <a:pt x="510" y="79"/>
                    <a:pt x="510" y="79"/>
                  </a:cubicBezTo>
                  <a:cubicBezTo>
                    <a:pt x="510" y="79"/>
                    <a:pt x="510" y="80"/>
                    <a:pt x="510" y="80"/>
                  </a:cubicBezTo>
                  <a:cubicBezTo>
                    <a:pt x="510" y="80"/>
                    <a:pt x="509" y="81"/>
                    <a:pt x="509" y="81"/>
                  </a:cubicBezTo>
                  <a:cubicBezTo>
                    <a:pt x="508" y="81"/>
                    <a:pt x="508" y="82"/>
                    <a:pt x="506" y="83"/>
                  </a:cubicBezTo>
                  <a:cubicBezTo>
                    <a:pt x="505" y="84"/>
                    <a:pt x="503" y="85"/>
                    <a:pt x="501" y="85"/>
                  </a:cubicBezTo>
                  <a:cubicBezTo>
                    <a:pt x="499" y="86"/>
                    <a:pt x="497" y="87"/>
                    <a:pt x="494" y="87"/>
                  </a:cubicBezTo>
                  <a:cubicBezTo>
                    <a:pt x="492" y="88"/>
                    <a:pt x="489" y="88"/>
                    <a:pt x="486" y="88"/>
                  </a:cubicBezTo>
                  <a:cubicBezTo>
                    <a:pt x="481" y="88"/>
                    <a:pt x="476" y="87"/>
                    <a:pt x="472" y="86"/>
                  </a:cubicBezTo>
                  <a:cubicBezTo>
                    <a:pt x="468" y="84"/>
                    <a:pt x="464" y="81"/>
                    <a:pt x="461" y="78"/>
                  </a:cubicBezTo>
                  <a:cubicBezTo>
                    <a:pt x="458" y="74"/>
                    <a:pt x="456" y="70"/>
                    <a:pt x="454" y="65"/>
                  </a:cubicBezTo>
                  <a:cubicBezTo>
                    <a:pt x="452" y="60"/>
                    <a:pt x="452" y="54"/>
                    <a:pt x="452" y="48"/>
                  </a:cubicBezTo>
                  <a:cubicBezTo>
                    <a:pt x="452" y="41"/>
                    <a:pt x="453" y="35"/>
                    <a:pt x="454" y="30"/>
                  </a:cubicBezTo>
                  <a:cubicBezTo>
                    <a:pt x="456" y="25"/>
                    <a:pt x="458" y="20"/>
                    <a:pt x="462" y="17"/>
                  </a:cubicBezTo>
                  <a:cubicBezTo>
                    <a:pt x="465" y="13"/>
                    <a:pt x="468" y="10"/>
                    <a:pt x="473" y="8"/>
                  </a:cubicBezTo>
                  <a:cubicBezTo>
                    <a:pt x="477" y="6"/>
                    <a:pt x="482" y="5"/>
                    <a:pt x="487" y="5"/>
                  </a:cubicBezTo>
                  <a:cubicBezTo>
                    <a:pt x="490" y="5"/>
                    <a:pt x="492" y="6"/>
                    <a:pt x="494" y="6"/>
                  </a:cubicBezTo>
                  <a:cubicBezTo>
                    <a:pt x="496" y="6"/>
                    <a:pt x="498" y="7"/>
                    <a:pt x="500" y="8"/>
                  </a:cubicBezTo>
                  <a:cubicBezTo>
                    <a:pt x="502" y="8"/>
                    <a:pt x="504" y="9"/>
                    <a:pt x="505" y="10"/>
                  </a:cubicBezTo>
                  <a:cubicBezTo>
                    <a:pt x="507" y="11"/>
                    <a:pt x="508" y="12"/>
                    <a:pt x="508" y="12"/>
                  </a:cubicBezTo>
                  <a:cubicBezTo>
                    <a:pt x="509" y="13"/>
                    <a:pt x="509" y="13"/>
                    <a:pt x="509" y="13"/>
                  </a:cubicBezTo>
                  <a:cubicBezTo>
                    <a:pt x="509" y="14"/>
                    <a:pt x="510" y="14"/>
                    <a:pt x="510" y="14"/>
                  </a:cubicBezTo>
                  <a:cubicBezTo>
                    <a:pt x="510" y="15"/>
                    <a:pt x="510" y="15"/>
                    <a:pt x="510" y="16"/>
                  </a:cubicBezTo>
                  <a:cubicBezTo>
                    <a:pt x="510" y="16"/>
                    <a:pt x="510" y="17"/>
                    <a:pt x="510" y="18"/>
                  </a:cubicBezTo>
                  <a:cubicBezTo>
                    <a:pt x="510" y="19"/>
                    <a:pt x="510" y="19"/>
                    <a:pt x="510" y="20"/>
                  </a:cubicBezTo>
                  <a:cubicBezTo>
                    <a:pt x="510" y="21"/>
                    <a:pt x="510" y="21"/>
                    <a:pt x="510" y="21"/>
                  </a:cubicBezTo>
                  <a:cubicBezTo>
                    <a:pt x="509" y="22"/>
                    <a:pt x="509" y="22"/>
                    <a:pt x="509" y="22"/>
                  </a:cubicBezTo>
                  <a:cubicBezTo>
                    <a:pt x="509" y="22"/>
                    <a:pt x="508" y="23"/>
                    <a:pt x="508" y="23"/>
                  </a:cubicBezTo>
                  <a:cubicBezTo>
                    <a:pt x="508" y="23"/>
                    <a:pt x="507" y="22"/>
                    <a:pt x="506" y="21"/>
                  </a:cubicBezTo>
                  <a:cubicBezTo>
                    <a:pt x="505" y="21"/>
                    <a:pt x="503" y="20"/>
                    <a:pt x="502" y="19"/>
                  </a:cubicBezTo>
                  <a:cubicBezTo>
                    <a:pt x="500" y="18"/>
                    <a:pt x="498" y="17"/>
                    <a:pt x="496" y="16"/>
                  </a:cubicBezTo>
                  <a:cubicBezTo>
                    <a:pt x="493" y="15"/>
                    <a:pt x="490" y="15"/>
                    <a:pt x="487" y="15"/>
                  </a:cubicBezTo>
                  <a:cubicBezTo>
                    <a:pt x="483" y="15"/>
                    <a:pt x="480" y="15"/>
                    <a:pt x="477" y="17"/>
                  </a:cubicBezTo>
                  <a:cubicBezTo>
                    <a:pt x="474" y="18"/>
                    <a:pt x="472" y="20"/>
                    <a:pt x="470" y="23"/>
                  </a:cubicBezTo>
                  <a:cubicBezTo>
                    <a:pt x="468" y="26"/>
                    <a:pt x="466" y="29"/>
                    <a:pt x="465" y="33"/>
                  </a:cubicBezTo>
                  <a:cubicBezTo>
                    <a:pt x="464" y="38"/>
                    <a:pt x="463" y="42"/>
                    <a:pt x="463" y="47"/>
                  </a:cubicBezTo>
                  <a:cubicBezTo>
                    <a:pt x="463" y="52"/>
                    <a:pt x="464" y="57"/>
                    <a:pt x="465" y="61"/>
                  </a:cubicBezTo>
                  <a:cubicBezTo>
                    <a:pt x="466" y="65"/>
                    <a:pt x="467" y="68"/>
                    <a:pt x="470" y="71"/>
                  </a:cubicBezTo>
                  <a:cubicBezTo>
                    <a:pt x="472" y="73"/>
                    <a:pt x="474" y="75"/>
                    <a:pt x="477" y="77"/>
                  </a:cubicBezTo>
                  <a:cubicBezTo>
                    <a:pt x="480" y="78"/>
                    <a:pt x="484" y="79"/>
                    <a:pt x="487" y="79"/>
                  </a:cubicBezTo>
                  <a:cubicBezTo>
                    <a:pt x="491" y="79"/>
                    <a:pt x="493" y="78"/>
                    <a:pt x="496" y="78"/>
                  </a:cubicBezTo>
                  <a:cubicBezTo>
                    <a:pt x="498" y="77"/>
                    <a:pt x="500" y="76"/>
                    <a:pt x="502" y="75"/>
                  </a:cubicBezTo>
                  <a:cubicBezTo>
                    <a:pt x="504" y="74"/>
                    <a:pt x="505" y="73"/>
                    <a:pt x="506" y="72"/>
                  </a:cubicBezTo>
                  <a:cubicBezTo>
                    <a:pt x="507" y="71"/>
                    <a:pt x="508" y="71"/>
                    <a:pt x="509" y="71"/>
                  </a:cubicBezTo>
                  <a:cubicBezTo>
                    <a:pt x="509" y="71"/>
                    <a:pt x="509" y="71"/>
                    <a:pt x="509" y="71"/>
                  </a:cubicBezTo>
                  <a:cubicBezTo>
                    <a:pt x="510" y="71"/>
                    <a:pt x="510" y="72"/>
                    <a:pt x="510" y="72"/>
                  </a:cubicBezTo>
                  <a:cubicBezTo>
                    <a:pt x="510" y="72"/>
                    <a:pt x="510" y="73"/>
                    <a:pt x="510" y="73"/>
                  </a:cubicBezTo>
                  <a:cubicBezTo>
                    <a:pt x="510" y="74"/>
                    <a:pt x="510" y="75"/>
                    <a:pt x="510" y="76"/>
                  </a:cubicBezTo>
                  <a:close/>
                  <a:moveTo>
                    <a:pt x="568" y="86"/>
                  </a:moveTo>
                  <a:cubicBezTo>
                    <a:pt x="568" y="86"/>
                    <a:pt x="568" y="86"/>
                    <a:pt x="567" y="87"/>
                  </a:cubicBezTo>
                  <a:cubicBezTo>
                    <a:pt x="567" y="87"/>
                    <a:pt x="567" y="87"/>
                    <a:pt x="567" y="87"/>
                  </a:cubicBezTo>
                  <a:cubicBezTo>
                    <a:pt x="566" y="87"/>
                    <a:pt x="566" y="87"/>
                    <a:pt x="565" y="88"/>
                  </a:cubicBezTo>
                  <a:cubicBezTo>
                    <a:pt x="564" y="88"/>
                    <a:pt x="564" y="88"/>
                    <a:pt x="563" y="88"/>
                  </a:cubicBezTo>
                  <a:cubicBezTo>
                    <a:pt x="561" y="88"/>
                    <a:pt x="561" y="88"/>
                    <a:pt x="560" y="88"/>
                  </a:cubicBezTo>
                  <a:cubicBezTo>
                    <a:pt x="559" y="87"/>
                    <a:pt x="559" y="87"/>
                    <a:pt x="558" y="87"/>
                  </a:cubicBezTo>
                  <a:cubicBezTo>
                    <a:pt x="558" y="87"/>
                    <a:pt x="558" y="87"/>
                    <a:pt x="558" y="87"/>
                  </a:cubicBezTo>
                  <a:cubicBezTo>
                    <a:pt x="557" y="86"/>
                    <a:pt x="557" y="86"/>
                    <a:pt x="557" y="86"/>
                  </a:cubicBezTo>
                  <a:lnTo>
                    <a:pt x="557" y="53"/>
                  </a:lnTo>
                  <a:cubicBezTo>
                    <a:pt x="557" y="50"/>
                    <a:pt x="557" y="47"/>
                    <a:pt x="557" y="45"/>
                  </a:cubicBezTo>
                  <a:cubicBezTo>
                    <a:pt x="556" y="43"/>
                    <a:pt x="555" y="41"/>
                    <a:pt x="554" y="40"/>
                  </a:cubicBezTo>
                  <a:cubicBezTo>
                    <a:pt x="553" y="39"/>
                    <a:pt x="552" y="37"/>
                    <a:pt x="551" y="37"/>
                  </a:cubicBezTo>
                  <a:cubicBezTo>
                    <a:pt x="549" y="36"/>
                    <a:pt x="547" y="36"/>
                    <a:pt x="545" y="36"/>
                  </a:cubicBezTo>
                  <a:cubicBezTo>
                    <a:pt x="543" y="36"/>
                    <a:pt x="540" y="36"/>
                    <a:pt x="538" y="38"/>
                  </a:cubicBezTo>
                  <a:cubicBezTo>
                    <a:pt x="535" y="40"/>
                    <a:pt x="532" y="43"/>
                    <a:pt x="530" y="46"/>
                  </a:cubicBezTo>
                  <a:lnTo>
                    <a:pt x="530" y="86"/>
                  </a:lnTo>
                  <a:cubicBezTo>
                    <a:pt x="530" y="86"/>
                    <a:pt x="529" y="86"/>
                    <a:pt x="529" y="87"/>
                  </a:cubicBezTo>
                  <a:cubicBezTo>
                    <a:pt x="529" y="87"/>
                    <a:pt x="529" y="87"/>
                    <a:pt x="528" y="87"/>
                  </a:cubicBezTo>
                  <a:cubicBezTo>
                    <a:pt x="528" y="87"/>
                    <a:pt x="528" y="87"/>
                    <a:pt x="527" y="88"/>
                  </a:cubicBezTo>
                  <a:cubicBezTo>
                    <a:pt x="526" y="88"/>
                    <a:pt x="525" y="88"/>
                    <a:pt x="524" y="88"/>
                  </a:cubicBezTo>
                  <a:cubicBezTo>
                    <a:pt x="523" y="88"/>
                    <a:pt x="522" y="88"/>
                    <a:pt x="522" y="88"/>
                  </a:cubicBezTo>
                  <a:cubicBezTo>
                    <a:pt x="521" y="87"/>
                    <a:pt x="521" y="87"/>
                    <a:pt x="520" y="87"/>
                  </a:cubicBezTo>
                  <a:cubicBezTo>
                    <a:pt x="520" y="87"/>
                    <a:pt x="520" y="87"/>
                    <a:pt x="519" y="87"/>
                  </a:cubicBezTo>
                  <a:cubicBezTo>
                    <a:pt x="519" y="86"/>
                    <a:pt x="519" y="86"/>
                    <a:pt x="519" y="86"/>
                  </a:cubicBezTo>
                  <a:lnTo>
                    <a:pt x="519" y="2"/>
                  </a:lnTo>
                  <a:cubicBezTo>
                    <a:pt x="519" y="2"/>
                    <a:pt x="519" y="2"/>
                    <a:pt x="519" y="1"/>
                  </a:cubicBezTo>
                  <a:cubicBezTo>
                    <a:pt x="520" y="1"/>
                    <a:pt x="520" y="1"/>
                    <a:pt x="520" y="1"/>
                  </a:cubicBezTo>
                  <a:cubicBezTo>
                    <a:pt x="521" y="1"/>
                    <a:pt x="521" y="0"/>
                    <a:pt x="522" y="0"/>
                  </a:cubicBezTo>
                  <a:cubicBezTo>
                    <a:pt x="522" y="0"/>
                    <a:pt x="523" y="0"/>
                    <a:pt x="524" y="0"/>
                  </a:cubicBezTo>
                  <a:cubicBezTo>
                    <a:pt x="525" y="0"/>
                    <a:pt x="526" y="0"/>
                    <a:pt x="527" y="0"/>
                  </a:cubicBezTo>
                  <a:cubicBezTo>
                    <a:pt x="528" y="0"/>
                    <a:pt x="528" y="1"/>
                    <a:pt x="528" y="1"/>
                  </a:cubicBezTo>
                  <a:cubicBezTo>
                    <a:pt x="529" y="1"/>
                    <a:pt x="529" y="1"/>
                    <a:pt x="529" y="1"/>
                  </a:cubicBezTo>
                  <a:cubicBezTo>
                    <a:pt x="529" y="2"/>
                    <a:pt x="530" y="2"/>
                    <a:pt x="530" y="2"/>
                  </a:cubicBezTo>
                  <a:lnTo>
                    <a:pt x="530" y="36"/>
                  </a:lnTo>
                  <a:cubicBezTo>
                    <a:pt x="532" y="33"/>
                    <a:pt x="535" y="30"/>
                    <a:pt x="538" y="29"/>
                  </a:cubicBezTo>
                  <a:cubicBezTo>
                    <a:pt x="541" y="27"/>
                    <a:pt x="544" y="27"/>
                    <a:pt x="548" y="27"/>
                  </a:cubicBezTo>
                  <a:cubicBezTo>
                    <a:pt x="551" y="27"/>
                    <a:pt x="554" y="27"/>
                    <a:pt x="557" y="29"/>
                  </a:cubicBezTo>
                  <a:cubicBezTo>
                    <a:pt x="560" y="30"/>
                    <a:pt x="562" y="32"/>
                    <a:pt x="563" y="34"/>
                  </a:cubicBezTo>
                  <a:cubicBezTo>
                    <a:pt x="565" y="36"/>
                    <a:pt x="566" y="38"/>
                    <a:pt x="567" y="41"/>
                  </a:cubicBezTo>
                  <a:cubicBezTo>
                    <a:pt x="567" y="44"/>
                    <a:pt x="568" y="47"/>
                    <a:pt x="568" y="51"/>
                  </a:cubicBezTo>
                  <a:lnTo>
                    <a:pt x="568" y="86"/>
                  </a:lnTo>
                  <a:close/>
                  <a:moveTo>
                    <a:pt x="642" y="86"/>
                  </a:moveTo>
                  <a:cubicBezTo>
                    <a:pt x="642" y="86"/>
                    <a:pt x="641" y="87"/>
                    <a:pt x="641" y="87"/>
                  </a:cubicBezTo>
                  <a:cubicBezTo>
                    <a:pt x="641" y="87"/>
                    <a:pt x="640" y="87"/>
                    <a:pt x="640" y="87"/>
                  </a:cubicBezTo>
                  <a:cubicBezTo>
                    <a:pt x="639" y="88"/>
                    <a:pt x="638" y="88"/>
                    <a:pt x="637" y="88"/>
                  </a:cubicBezTo>
                  <a:cubicBezTo>
                    <a:pt x="636" y="88"/>
                    <a:pt x="635" y="88"/>
                    <a:pt x="635" y="87"/>
                  </a:cubicBezTo>
                  <a:cubicBezTo>
                    <a:pt x="634" y="87"/>
                    <a:pt x="633" y="87"/>
                    <a:pt x="633" y="87"/>
                  </a:cubicBezTo>
                  <a:cubicBezTo>
                    <a:pt x="633" y="87"/>
                    <a:pt x="633" y="86"/>
                    <a:pt x="633" y="86"/>
                  </a:cubicBezTo>
                  <a:lnTo>
                    <a:pt x="633" y="80"/>
                  </a:lnTo>
                  <a:cubicBezTo>
                    <a:pt x="630" y="83"/>
                    <a:pt x="627" y="85"/>
                    <a:pt x="624" y="86"/>
                  </a:cubicBezTo>
                  <a:cubicBezTo>
                    <a:pt x="621" y="88"/>
                    <a:pt x="618" y="88"/>
                    <a:pt x="615" y="88"/>
                  </a:cubicBezTo>
                  <a:cubicBezTo>
                    <a:pt x="612" y="88"/>
                    <a:pt x="609" y="88"/>
                    <a:pt x="607" y="87"/>
                  </a:cubicBezTo>
                  <a:cubicBezTo>
                    <a:pt x="604" y="87"/>
                    <a:pt x="602" y="85"/>
                    <a:pt x="601" y="84"/>
                  </a:cubicBezTo>
                  <a:cubicBezTo>
                    <a:pt x="599" y="82"/>
                    <a:pt x="598" y="81"/>
                    <a:pt x="597" y="79"/>
                  </a:cubicBezTo>
                  <a:cubicBezTo>
                    <a:pt x="596" y="76"/>
                    <a:pt x="595" y="74"/>
                    <a:pt x="595" y="71"/>
                  </a:cubicBezTo>
                  <a:cubicBezTo>
                    <a:pt x="595" y="68"/>
                    <a:pt x="596" y="65"/>
                    <a:pt x="597" y="63"/>
                  </a:cubicBezTo>
                  <a:cubicBezTo>
                    <a:pt x="599" y="61"/>
                    <a:pt x="600" y="59"/>
                    <a:pt x="603" y="57"/>
                  </a:cubicBezTo>
                  <a:cubicBezTo>
                    <a:pt x="605" y="56"/>
                    <a:pt x="608" y="55"/>
                    <a:pt x="612" y="54"/>
                  </a:cubicBezTo>
                  <a:cubicBezTo>
                    <a:pt x="615" y="53"/>
                    <a:pt x="619" y="53"/>
                    <a:pt x="624" y="53"/>
                  </a:cubicBezTo>
                  <a:lnTo>
                    <a:pt x="631" y="53"/>
                  </a:lnTo>
                  <a:lnTo>
                    <a:pt x="631" y="48"/>
                  </a:lnTo>
                  <a:cubicBezTo>
                    <a:pt x="631" y="46"/>
                    <a:pt x="631" y="44"/>
                    <a:pt x="631" y="43"/>
                  </a:cubicBezTo>
                  <a:cubicBezTo>
                    <a:pt x="630" y="41"/>
                    <a:pt x="629" y="39"/>
                    <a:pt x="628" y="38"/>
                  </a:cubicBezTo>
                  <a:cubicBezTo>
                    <a:pt x="627" y="37"/>
                    <a:pt x="626" y="36"/>
                    <a:pt x="624" y="36"/>
                  </a:cubicBezTo>
                  <a:cubicBezTo>
                    <a:pt x="623" y="35"/>
                    <a:pt x="621" y="35"/>
                    <a:pt x="618" y="35"/>
                  </a:cubicBezTo>
                  <a:cubicBezTo>
                    <a:pt x="616" y="35"/>
                    <a:pt x="614" y="35"/>
                    <a:pt x="612" y="36"/>
                  </a:cubicBezTo>
                  <a:cubicBezTo>
                    <a:pt x="610" y="37"/>
                    <a:pt x="608" y="37"/>
                    <a:pt x="606" y="38"/>
                  </a:cubicBezTo>
                  <a:cubicBezTo>
                    <a:pt x="605" y="39"/>
                    <a:pt x="603" y="39"/>
                    <a:pt x="602" y="40"/>
                  </a:cubicBezTo>
                  <a:cubicBezTo>
                    <a:pt x="601" y="41"/>
                    <a:pt x="601" y="41"/>
                    <a:pt x="600" y="41"/>
                  </a:cubicBezTo>
                  <a:cubicBezTo>
                    <a:pt x="600" y="41"/>
                    <a:pt x="600" y="41"/>
                    <a:pt x="599" y="41"/>
                  </a:cubicBezTo>
                  <a:cubicBezTo>
                    <a:pt x="599" y="40"/>
                    <a:pt x="599" y="40"/>
                    <a:pt x="599" y="40"/>
                  </a:cubicBezTo>
                  <a:cubicBezTo>
                    <a:pt x="598" y="39"/>
                    <a:pt x="598" y="39"/>
                    <a:pt x="598" y="39"/>
                  </a:cubicBezTo>
                  <a:cubicBezTo>
                    <a:pt x="598" y="38"/>
                    <a:pt x="598" y="37"/>
                    <a:pt x="598" y="37"/>
                  </a:cubicBezTo>
                  <a:cubicBezTo>
                    <a:pt x="598" y="36"/>
                    <a:pt x="598" y="35"/>
                    <a:pt x="598" y="34"/>
                  </a:cubicBezTo>
                  <a:cubicBezTo>
                    <a:pt x="598" y="34"/>
                    <a:pt x="599" y="33"/>
                    <a:pt x="599" y="33"/>
                  </a:cubicBezTo>
                  <a:cubicBezTo>
                    <a:pt x="600" y="32"/>
                    <a:pt x="601" y="31"/>
                    <a:pt x="602" y="31"/>
                  </a:cubicBezTo>
                  <a:cubicBezTo>
                    <a:pt x="604" y="30"/>
                    <a:pt x="605" y="29"/>
                    <a:pt x="607" y="29"/>
                  </a:cubicBezTo>
                  <a:cubicBezTo>
                    <a:pt x="609" y="28"/>
                    <a:pt x="611" y="28"/>
                    <a:pt x="613" y="27"/>
                  </a:cubicBezTo>
                  <a:cubicBezTo>
                    <a:pt x="615" y="27"/>
                    <a:pt x="617" y="27"/>
                    <a:pt x="619" y="27"/>
                  </a:cubicBezTo>
                  <a:cubicBezTo>
                    <a:pt x="623" y="27"/>
                    <a:pt x="627" y="27"/>
                    <a:pt x="630" y="28"/>
                  </a:cubicBezTo>
                  <a:cubicBezTo>
                    <a:pt x="633" y="29"/>
                    <a:pt x="635" y="30"/>
                    <a:pt x="637" y="32"/>
                  </a:cubicBezTo>
                  <a:cubicBezTo>
                    <a:pt x="638" y="34"/>
                    <a:pt x="640" y="36"/>
                    <a:pt x="640" y="39"/>
                  </a:cubicBezTo>
                  <a:cubicBezTo>
                    <a:pt x="641" y="41"/>
                    <a:pt x="642" y="44"/>
                    <a:pt x="642" y="48"/>
                  </a:cubicBezTo>
                  <a:lnTo>
                    <a:pt x="642" y="86"/>
                  </a:lnTo>
                  <a:close/>
                  <a:moveTo>
                    <a:pt x="631" y="60"/>
                  </a:moveTo>
                  <a:lnTo>
                    <a:pt x="623" y="60"/>
                  </a:lnTo>
                  <a:cubicBezTo>
                    <a:pt x="620" y="60"/>
                    <a:pt x="617" y="60"/>
                    <a:pt x="615" y="61"/>
                  </a:cubicBezTo>
                  <a:cubicBezTo>
                    <a:pt x="613" y="61"/>
                    <a:pt x="611" y="62"/>
                    <a:pt x="610" y="63"/>
                  </a:cubicBezTo>
                  <a:cubicBezTo>
                    <a:pt x="609" y="64"/>
                    <a:pt x="608" y="65"/>
                    <a:pt x="607" y="66"/>
                  </a:cubicBezTo>
                  <a:cubicBezTo>
                    <a:pt x="606" y="68"/>
                    <a:pt x="606" y="69"/>
                    <a:pt x="606" y="71"/>
                  </a:cubicBezTo>
                  <a:cubicBezTo>
                    <a:pt x="606" y="74"/>
                    <a:pt x="607" y="76"/>
                    <a:pt x="609" y="78"/>
                  </a:cubicBezTo>
                  <a:cubicBezTo>
                    <a:pt x="611" y="80"/>
                    <a:pt x="613" y="80"/>
                    <a:pt x="617" y="80"/>
                  </a:cubicBezTo>
                  <a:cubicBezTo>
                    <a:pt x="619" y="80"/>
                    <a:pt x="622" y="80"/>
                    <a:pt x="624" y="78"/>
                  </a:cubicBezTo>
                  <a:cubicBezTo>
                    <a:pt x="626" y="77"/>
                    <a:pt x="629" y="75"/>
                    <a:pt x="631" y="72"/>
                  </a:cubicBezTo>
                  <a:lnTo>
                    <a:pt x="631" y="60"/>
                  </a:lnTo>
                  <a:close/>
                  <a:moveTo>
                    <a:pt x="696" y="86"/>
                  </a:moveTo>
                  <a:cubicBezTo>
                    <a:pt x="696" y="86"/>
                    <a:pt x="696" y="86"/>
                    <a:pt x="695" y="87"/>
                  </a:cubicBezTo>
                  <a:cubicBezTo>
                    <a:pt x="695" y="87"/>
                    <a:pt x="695" y="87"/>
                    <a:pt x="695" y="87"/>
                  </a:cubicBezTo>
                  <a:cubicBezTo>
                    <a:pt x="694" y="87"/>
                    <a:pt x="694" y="87"/>
                    <a:pt x="693" y="88"/>
                  </a:cubicBezTo>
                  <a:cubicBezTo>
                    <a:pt x="692" y="88"/>
                    <a:pt x="692" y="88"/>
                    <a:pt x="691" y="88"/>
                  </a:cubicBezTo>
                  <a:cubicBezTo>
                    <a:pt x="689" y="88"/>
                    <a:pt x="689" y="88"/>
                    <a:pt x="688" y="88"/>
                  </a:cubicBezTo>
                  <a:cubicBezTo>
                    <a:pt x="687" y="87"/>
                    <a:pt x="687" y="87"/>
                    <a:pt x="686" y="87"/>
                  </a:cubicBezTo>
                  <a:cubicBezTo>
                    <a:pt x="686" y="87"/>
                    <a:pt x="686" y="87"/>
                    <a:pt x="686" y="87"/>
                  </a:cubicBezTo>
                  <a:cubicBezTo>
                    <a:pt x="685" y="86"/>
                    <a:pt x="685" y="86"/>
                    <a:pt x="685" y="86"/>
                  </a:cubicBezTo>
                  <a:lnTo>
                    <a:pt x="685" y="53"/>
                  </a:lnTo>
                  <a:cubicBezTo>
                    <a:pt x="685" y="50"/>
                    <a:pt x="685" y="47"/>
                    <a:pt x="685" y="45"/>
                  </a:cubicBezTo>
                  <a:cubicBezTo>
                    <a:pt x="684" y="43"/>
                    <a:pt x="683" y="41"/>
                    <a:pt x="682" y="40"/>
                  </a:cubicBezTo>
                  <a:cubicBezTo>
                    <a:pt x="681" y="39"/>
                    <a:pt x="680" y="37"/>
                    <a:pt x="679" y="37"/>
                  </a:cubicBezTo>
                  <a:cubicBezTo>
                    <a:pt x="677" y="36"/>
                    <a:pt x="675" y="36"/>
                    <a:pt x="673" y="36"/>
                  </a:cubicBezTo>
                  <a:cubicBezTo>
                    <a:pt x="671" y="36"/>
                    <a:pt x="668" y="36"/>
                    <a:pt x="666" y="38"/>
                  </a:cubicBezTo>
                  <a:cubicBezTo>
                    <a:pt x="663" y="40"/>
                    <a:pt x="660" y="43"/>
                    <a:pt x="658" y="46"/>
                  </a:cubicBezTo>
                  <a:lnTo>
                    <a:pt x="658" y="86"/>
                  </a:lnTo>
                  <a:cubicBezTo>
                    <a:pt x="658" y="86"/>
                    <a:pt x="657" y="86"/>
                    <a:pt x="657" y="87"/>
                  </a:cubicBezTo>
                  <a:cubicBezTo>
                    <a:pt x="657" y="87"/>
                    <a:pt x="657" y="87"/>
                    <a:pt x="656" y="87"/>
                  </a:cubicBezTo>
                  <a:cubicBezTo>
                    <a:pt x="656" y="87"/>
                    <a:pt x="656" y="87"/>
                    <a:pt x="655" y="88"/>
                  </a:cubicBezTo>
                  <a:cubicBezTo>
                    <a:pt x="654" y="88"/>
                    <a:pt x="653" y="88"/>
                    <a:pt x="652" y="88"/>
                  </a:cubicBezTo>
                  <a:cubicBezTo>
                    <a:pt x="651" y="88"/>
                    <a:pt x="650" y="88"/>
                    <a:pt x="650" y="88"/>
                  </a:cubicBezTo>
                  <a:cubicBezTo>
                    <a:pt x="649" y="87"/>
                    <a:pt x="649" y="87"/>
                    <a:pt x="648" y="87"/>
                  </a:cubicBezTo>
                  <a:cubicBezTo>
                    <a:pt x="648" y="87"/>
                    <a:pt x="648" y="87"/>
                    <a:pt x="647" y="87"/>
                  </a:cubicBezTo>
                  <a:cubicBezTo>
                    <a:pt x="647" y="86"/>
                    <a:pt x="647" y="86"/>
                    <a:pt x="647" y="86"/>
                  </a:cubicBezTo>
                  <a:lnTo>
                    <a:pt x="647" y="29"/>
                  </a:lnTo>
                  <a:cubicBezTo>
                    <a:pt x="647" y="29"/>
                    <a:pt x="647" y="29"/>
                    <a:pt x="647" y="29"/>
                  </a:cubicBezTo>
                  <a:cubicBezTo>
                    <a:pt x="648" y="28"/>
                    <a:pt x="648" y="28"/>
                    <a:pt x="648" y="28"/>
                  </a:cubicBezTo>
                  <a:cubicBezTo>
                    <a:pt x="649" y="28"/>
                    <a:pt x="649" y="28"/>
                    <a:pt x="650" y="28"/>
                  </a:cubicBezTo>
                  <a:cubicBezTo>
                    <a:pt x="650" y="28"/>
                    <a:pt x="651" y="28"/>
                    <a:pt x="652" y="28"/>
                  </a:cubicBezTo>
                  <a:cubicBezTo>
                    <a:pt x="653" y="28"/>
                    <a:pt x="654" y="28"/>
                    <a:pt x="654" y="28"/>
                  </a:cubicBezTo>
                  <a:cubicBezTo>
                    <a:pt x="655" y="28"/>
                    <a:pt x="655" y="28"/>
                    <a:pt x="656" y="28"/>
                  </a:cubicBezTo>
                  <a:cubicBezTo>
                    <a:pt x="656" y="28"/>
                    <a:pt x="656" y="28"/>
                    <a:pt x="656" y="29"/>
                  </a:cubicBezTo>
                  <a:cubicBezTo>
                    <a:pt x="656" y="29"/>
                    <a:pt x="657" y="29"/>
                    <a:pt x="657" y="29"/>
                  </a:cubicBezTo>
                  <a:lnTo>
                    <a:pt x="657" y="37"/>
                  </a:lnTo>
                  <a:cubicBezTo>
                    <a:pt x="660" y="33"/>
                    <a:pt x="663" y="31"/>
                    <a:pt x="666" y="29"/>
                  </a:cubicBezTo>
                  <a:cubicBezTo>
                    <a:pt x="669" y="27"/>
                    <a:pt x="672" y="27"/>
                    <a:pt x="676" y="27"/>
                  </a:cubicBezTo>
                  <a:cubicBezTo>
                    <a:pt x="679" y="27"/>
                    <a:pt x="682" y="27"/>
                    <a:pt x="685" y="29"/>
                  </a:cubicBezTo>
                  <a:cubicBezTo>
                    <a:pt x="688" y="30"/>
                    <a:pt x="690" y="32"/>
                    <a:pt x="691" y="34"/>
                  </a:cubicBezTo>
                  <a:cubicBezTo>
                    <a:pt x="693" y="36"/>
                    <a:pt x="694" y="38"/>
                    <a:pt x="695" y="41"/>
                  </a:cubicBezTo>
                  <a:cubicBezTo>
                    <a:pt x="695" y="44"/>
                    <a:pt x="696" y="47"/>
                    <a:pt x="696" y="51"/>
                  </a:cubicBezTo>
                  <a:lnTo>
                    <a:pt x="696" y="86"/>
                  </a:lnTo>
                  <a:close/>
                  <a:moveTo>
                    <a:pt x="774" y="32"/>
                  </a:moveTo>
                  <a:cubicBezTo>
                    <a:pt x="774" y="33"/>
                    <a:pt x="774" y="35"/>
                    <a:pt x="774" y="35"/>
                  </a:cubicBezTo>
                  <a:cubicBezTo>
                    <a:pt x="773" y="36"/>
                    <a:pt x="773" y="36"/>
                    <a:pt x="772" y="36"/>
                  </a:cubicBezTo>
                  <a:lnTo>
                    <a:pt x="764" y="36"/>
                  </a:lnTo>
                  <a:cubicBezTo>
                    <a:pt x="765" y="38"/>
                    <a:pt x="766" y="39"/>
                    <a:pt x="767" y="41"/>
                  </a:cubicBezTo>
                  <a:cubicBezTo>
                    <a:pt x="768" y="43"/>
                    <a:pt x="768" y="45"/>
                    <a:pt x="768" y="47"/>
                  </a:cubicBezTo>
                  <a:cubicBezTo>
                    <a:pt x="768" y="50"/>
                    <a:pt x="767" y="53"/>
                    <a:pt x="766" y="55"/>
                  </a:cubicBezTo>
                  <a:cubicBezTo>
                    <a:pt x="765" y="58"/>
                    <a:pt x="764" y="60"/>
                    <a:pt x="762" y="62"/>
                  </a:cubicBezTo>
                  <a:cubicBezTo>
                    <a:pt x="760" y="63"/>
                    <a:pt x="758" y="65"/>
                    <a:pt x="755" y="66"/>
                  </a:cubicBezTo>
                  <a:cubicBezTo>
                    <a:pt x="752" y="67"/>
                    <a:pt x="749" y="67"/>
                    <a:pt x="746" y="67"/>
                  </a:cubicBezTo>
                  <a:cubicBezTo>
                    <a:pt x="744" y="67"/>
                    <a:pt x="742" y="67"/>
                    <a:pt x="740" y="66"/>
                  </a:cubicBezTo>
                  <a:cubicBezTo>
                    <a:pt x="738" y="66"/>
                    <a:pt x="736" y="65"/>
                    <a:pt x="735" y="64"/>
                  </a:cubicBezTo>
                  <a:cubicBezTo>
                    <a:pt x="734" y="65"/>
                    <a:pt x="733" y="65"/>
                    <a:pt x="733" y="66"/>
                  </a:cubicBezTo>
                  <a:cubicBezTo>
                    <a:pt x="732" y="67"/>
                    <a:pt x="732" y="69"/>
                    <a:pt x="732" y="70"/>
                  </a:cubicBezTo>
                  <a:cubicBezTo>
                    <a:pt x="732" y="71"/>
                    <a:pt x="733" y="72"/>
                    <a:pt x="734" y="73"/>
                  </a:cubicBezTo>
                  <a:cubicBezTo>
                    <a:pt x="736" y="74"/>
                    <a:pt x="737" y="75"/>
                    <a:pt x="740" y="75"/>
                  </a:cubicBezTo>
                  <a:lnTo>
                    <a:pt x="754" y="76"/>
                  </a:lnTo>
                  <a:cubicBezTo>
                    <a:pt x="757" y="76"/>
                    <a:pt x="760" y="76"/>
                    <a:pt x="762" y="77"/>
                  </a:cubicBezTo>
                  <a:cubicBezTo>
                    <a:pt x="764" y="77"/>
                    <a:pt x="766" y="78"/>
                    <a:pt x="768" y="80"/>
                  </a:cubicBezTo>
                  <a:cubicBezTo>
                    <a:pt x="770" y="81"/>
                    <a:pt x="771" y="83"/>
                    <a:pt x="772" y="84"/>
                  </a:cubicBezTo>
                  <a:cubicBezTo>
                    <a:pt x="773" y="86"/>
                    <a:pt x="774" y="88"/>
                    <a:pt x="774" y="91"/>
                  </a:cubicBezTo>
                  <a:cubicBezTo>
                    <a:pt x="774" y="93"/>
                    <a:pt x="773" y="96"/>
                    <a:pt x="772" y="98"/>
                  </a:cubicBezTo>
                  <a:cubicBezTo>
                    <a:pt x="771" y="101"/>
                    <a:pt x="769" y="103"/>
                    <a:pt x="767" y="104"/>
                  </a:cubicBezTo>
                  <a:cubicBezTo>
                    <a:pt x="765" y="106"/>
                    <a:pt x="762" y="108"/>
                    <a:pt x="758" y="109"/>
                  </a:cubicBezTo>
                  <a:cubicBezTo>
                    <a:pt x="755" y="110"/>
                    <a:pt x="751" y="110"/>
                    <a:pt x="746" y="110"/>
                  </a:cubicBezTo>
                  <a:cubicBezTo>
                    <a:pt x="742" y="110"/>
                    <a:pt x="738" y="110"/>
                    <a:pt x="735" y="109"/>
                  </a:cubicBezTo>
                  <a:cubicBezTo>
                    <a:pt x="731" y="108"/>
                    <a:pt x="729" y="107"/>
                    <a:pt x="727" y="106"/>
                  </a:cubicBezTo>
                  <a:cubicBezTo>
                    <a:pt x="725" y="104"/>
                    <a:pt x="723" y="103"/>
                    <a:pt x="722" y="101"/>
                  </a:cubicBezTo>
                  <a:cubicBezTo>
                    <a:pt x="721" y="99"/>
                    <a:pt x="721" y="97"/>
                    <a:pt x="721" y="95"/>
                  </a:cubicBezTo>
                  <a:cubicBezTo>
                    <a:pt x="721" y="94"/>
                    <a:pt x="721" y="92"/>
                    <a:pt x="721" y="91"/>
                  </a:cubicBezTo>
                  <a:cubicBezTo>
                    <a:pt x="722" y="90"/>
                    <a:pt x="722" y="88"/>
                    <a:pt x="723" y="87"/>
                  </a:cubicBezTo>
                  <a:cubicBezTo>
                    <a:pt x="724" y="86"/>
                    <a:pt x="725" y="85"/>
                    <a:pt x="726" y="84"/>
                  </a:cubicBezTo>
                  <a:cubicBezTo>
                    <a:pt x="727" y="83"/>
                    <a:pt x="728" y="82"/>
                    <a:pt x="729" y="81"/>
                  </a:cubicBezTo>
                  <a:cubicBezTo>
                    <a:pt x="727" y="80"/>
                    <a:pt x="726" y="78"/>
                    <a:pt x="725" y="77"/>
                  </a:cubicBezTo>
                  <a:cubicBezTo>
                    <a:pt x="724" y="75"/>
                    <a:pt x="723" y="74"/>
                    <a:pt x="723" y="72"/>
                  </a:cubicBezTo>
                  <a:cubicBezTo>
                    <a:pt x="723" y="69"/>
                    <a:pt x="724" y="67"/>
                    <a:pt x="725" y="65"/>
                  </a:cubicBezTo>
                  <a:cubicBezTo>
                    <a:pt x="726" y="63"/>
                    <a:pt x="727" y="61"/>
                    <a:pt x="729" y="60"/>
                  </a:cubicBezTo>
                  <a:cubicBezTo>
                    <a:pt x="727" y="58"/>
                    <a:pt x="726" y="56"/>
                    <a:pt x="725" y="54"/>
                  </a:cubicBezTo>
                  <a:cubicBezTo>
                    <a:pt x="725" y="52"/>
                    <a:pt x="724" y="50"/>
                    <a:pt x="724" y="47"/>
                  </a:cubicBezTo>
                  <a:cubicBezTo>
                    <a:pt x="724" y="44"/>
                    <a:pt x="725" y="41"/>
                    <a:pt x="726" y="39"/>
                  </a:cubicBezTo>
                  <a:cubicBezTo>
                    <a:pt x="727" y="36"/>
                    <a:pt x="729" y="34"/>
                    <a:pt x="730" y="32"/>
                  </a:cubicBezTo>
                  <a:cubicBezTo>
                    <a:pt x="732" y="30"/>
                    <a:pt x="735" y="29"/>
                    <a:pt x="737" y="28"/>
                  </a:cubicBezTo>
                  <a:cubicBezTo>
                    <a:pt x="740" y="27"/>
                    <a:pt x="743" y="27"/>
                    <a:pt x="746" y="27"/>
                  </a:cubicBezTo>
                  <a:cubicBezTo>
                    <a:pt x="748" y="27"/>
                    <a:pt x="749" y="27"/>
                    <a:pt x="751" y="27"/>
                  </a:cubicBezTo>
                  <a:cubicBezTo>
                    <a:pt x="752" y="27"/>
                    <a:pt x="754" y="27"/>
                    <a:pt x="755" y="28"/>
                  </a:cubicBezTo>
                  <a:lnTo>
                    <a:pt x="772" y="28"/>
                  </a:lnTo>
                  <a:cubicBezTo>
                    <a:pt x="773" y="28"/>
                    <a:pt x="773" y="28"/>
                    <a:pt x="774" y="29"/>
                  </a:cubicBezTo>
                  <a:cubicBezTo>
                    <a:pt x="774" y="30"/>
                    <a:pt x="774" y="31"/>
                    <a:pt x="774" y="32"/>
                  </a:cubicBezTo>
                  <a:close/>
                  <a:moveTo>
                    <a:pt x="758" y="47"/>
                  </a:moveTo>
                  <a:cubicBezTo>
                    <a:pt x="758" y="43"/>
                    <a:pt x="757" y="40"/>
                    <a:pt x="755" y="38"/>
                  </a:cubicBezTo>
                  <a:cubicBezTo>
                    <a:pt x="753" y="36"/>
                    <a:pt x="750" y="35"/>
                    <a:pt x="746" y="35"/>
                  </a:cubicBezTo>
                  <a:cubicBezTo>
                    <a:pt x="744" y="35"/>
                    <a:pt x="742" y="35"/>
                    <a:pt x="741" y="36"/>
                  </a:cubicBezTo>
                  <a:cubicBezTo>
                    <a:pt x="739" y="36"/>
                    <a:pt x="738" y="37"/>
                    <a:pt x="737" y="38"/>
                  </a:cubicBezTo>
                  <a:cubicBezTo>
                    <a:pt x="736" y="40"/>
                    <a:pt x="735" y="41"/>
                    <a:pt x="735" y="42"/>
                  </a:cubicBezTo>
                  <a:cubicBezTo>
                    <a:pt x="734" y="44"/>
                    <a:pt x="734" y="46"/>
                    <a:pt x="734" y="47"/>
                  </a:cubicBezTo>
                  <a:cubicBezTo>
                    <a:pt x="734" y="51"/>
                    <a:pt x="735" y="54"/>
                    <a:pt x="737" y="56"/>
                  </a:cubicBezTo>
                  <a:cubicBezTo>
                    <a:pt x="739" y="58"/>
                    <a:pt x="742" y="59"/>
                    <a:pt x="746" y="59"/>
                  </a:cubicBezTo>
                  <a:cubicBezTo>
                    <a:pt x="748" y="59"/>
                    <a:pt x="750" y="59"/>
                    <a:pt x="751" y="58"/>
                  </a:cubicBezTo>
                  <a:cubicBezTo>
                    <a:pt x="753" y="58"/>
                    <a:pt x="754" y="57"/>
                    <a:pt x="755" y="55"/>
                  </a:cubicBezTo>
                  <a:cubicBezTo>
                    <a:pt x="756" y="54"/>
                    <a:pt x="757" y="53"/>
                    <a:pt x="757" y="52"/>
                  </a:cubicBezTo>
                  <a:cubicBezTo>
                    <a:pt x="758" y="50"/>
                    <a:pt x="758" y="48"/>
                    <a:pt x="758" y="47"/>
                  </a:cubicBezTo>
                  <a:close/>
                  <a:moveTo>
                    <a:pt x="763" y="91"/>
                  </a:moveTo>
                  <a:cubicBezTo>
                    <a:pt x="763" y="89"/>
                    <a:pt x="762" y="87"/>
                    <a:pt x="760" y="86"/>
                  </a:cubicBezTo>
                  <a:cubicBezTo>
                    <a:pt x="758" y="84"/>
                    <a:pt x="756" y="84"/>
                    <a:pt x="752" y="84"/>
                  </a:cubicBezTo>
                  <a:lnTo>
                    <a:pt x="738" y="83"/>
                  </a:lnTo>
                  <a:cubicBezTo>
                    <a:pt x="736" y="84"/>
                    <a:pt x="735" y="85"/>
                    <a:pt x="734" y="86"/>
                  </a:cubicBezTo>
                  <a:cubicBezTo>
                    <a:pt x="734" y="87"/>
                    <a:pt x="733" y="88"/>
                    <a:pt x="732" y="89"/>
                  </a:cubicBezTo>
                  <a:cubicBezTo>
                    <a:pt x="732" y="90"/>
                    <a:pt x="732" y="91"/>
                    <a:pt x="731" y="91"/>
                  </a:cubicBezTo>
                  <a:cubicBezTo>
                    <a:pt x="731" y="92"/>
                    <a:pt x="731" y="93"/>
                    <a:pt x="731" y="94"/>
                  </a:cubicBezTo>
                  <a:cubicBezTo>
                    <a:pt x="731" y="97"/>
                    <a:pt x="732" y="99"/>
                    <a:pt x="735" y="100"/>
                  </a:cubicBezTo>
                  <a:cubicBezTo>
                    <a:pt x="738" y="102"/>
                    <a:pt x="742" y="102"/>
                    <a:pt x="747" y="102"/>
                  </a:cubicBezTo>
                  <a:cubicBezTo>
                    <a:pt x="750" y="102"/>
                    <a:pt x="752" y="102"/>
                    <a:pt x="755" y="101"/>
                  </a:cubicBezTo>
                  <a:cubicBezTo>
                    <a:pt x="757" y="101"/>
                    <a:pt x="758" y="100"/>
                    <a:pt x="760" y="99"/>
                  </a:cubicBezTo>
                  <a:cubicBezTo>
                    <a:pt x="761" y="98"/>
                    <a:pt x="762" y="97"/>
                    <a:pt x="762" y="95"/>
                  </a:cubicBezTo>
                  <a:cubicBezTo>
                    <a:pt x="763" y="94"/>
                    <a:pt x="763" y="93"/>
                    <a:pt x="763" y="91"/>
                  </a:cubicBezTo>
                  <a:close/>
                  <a:moveTo>
                    <a:pt x="823" y="55"/>
                  </a:moveTo>
                  <a:cubicBezTo>
                    <a:pt x="823" y="57"/>
                    <a:pt x="823" y="58"/>
                    <a:pt x="822" y="59"/>
                  </a:cubicBezTo>
                  <a:cubicBezTo>
                    <a:pt x="821" y="59"/>
                    <a:pt x="820" y="60"/>
                    <a:pt x="819" y="60"/>
                  </a:cubicBezTo>
                  <a:lnTo>
                    <a:pt x="782" y="60"/>
                  </a:lnTo>
                  <a:cubicBezTo>
                    <a:pt x="782" y="63"/>
                    <a:pt x="782" y="66"/>
                    <a:pt x="783" y="68"/>
                  </a:cubicBezTo>
                  <a:cubicBezTo>
                    <a:pt x="784" y="71"/>
                    <a:pt x="785" y="73"/>
                    <a:pt x="786" y="75"/>
                  </a:cubicBezTo>
                  <a:cubicBezTo>
                    <a:pt x="788" y="76"/>
                    <a:pt x="790" y="78"/>
                    <a:pt x="792" y="79"/>
                  </a:cubicBezTo>
                  <a:cubicBezTo>
                    <a:pt x="794" y="80"/>
                    <a:pt x="797" y="80"/>
                    <a:pt x="801" y="80"/>
                  </a:cubicBezTo>
                  <a:cubicBezTo>
                    <a:pt x="803" y="80"/>
                    <a:pt x="806" y="80"/>
                    <a:pt x="808" y="79"/>
                  </a:cubicBezTo>
                  <a:cubicBezTo>
                    <a:pt x="810" y="79"/>
                    <a:pt x="812" y="78"/>
                    <a:pt x="813" y="78"/>
                  </a:cubicBezTo>
                  <a:cubicBezTo>
                    <a:pt x="815" y="77"/>
                    <a:pt x="816" y="77"/>
                    <a:pt x="817" y="76"/>
                  </a:cubicBezTo>
                  <a:cubicBezTo>
                    <a:pt x="818" y="76"/>
                    <a:pt x="819" y="76"/>
                    <a:pt x="819" y="76"/>
                  </a:cubicBezTo>
                  <a:cubicBezTo>
                    <a:pt x="819" y="76"/>
                    <a:pt x="820" y="76"/>
                    <a:pt x="820" y="76"/>
                  </a:cubicBezTo>
                  <a:cubicBezTo>
                    <a:pt x="820" y="76"/>
                    <a:pt x="820" y="76"/>
                    <a:pt x="820" y="77"/>
                  </a:cubicBezTo>
                  <a:cubicBezTo>
                    <a:pt x="821" y="77"/>
                    <a:pt x="821" y="77"/>
                    <a:pt x="821" y="78"/>
                  </a:cubicBezTo>
                  <a:cubicBezTo>
                    <a:pt x="821" y="78"/>
                    <a:pt x="821" y="79"/>
                    <a:pt x="821" y="80"/>
                  </a:cubicBezTo>
                  <a:cubicBezTo>
                    <a:pt x="821" y="80"/>
                    <a:pt x="821" y="81"/>
                    <a:pt x="821" y="81"/>
                  </a:cubicBezTo>
                  <a:cubicBezTo>
                    <a:pt x="821" y="82"/>
                    <a:pt x="821" y="82"/>
                    <a:pt x="821" y="82"/>
                  </a:cubicBezTo>
                  <a:cubicBezTo>
                    <a:pt x="821" y="83"/>
                    <a:pt x="820" y="83"/>
                    <a:pt x="820" y="83"/>
                  </a:cubicBezTo>
                  <a:cubicBezTo>
                    <a:pt x="820" y="83"/>
                    <a:pt x="820" y="84"/>
                    <a:pt x="820" y="84"/>
                  </a:cubicBezTo>
                  <a:cubicBezTo>
                    <a:pt x="819" y="84"/>
                    <a:pt x="819" y="84"/>
                    <a:pt x="818" y="85"/>
                  </a:cubicBezTo>
                  <a:cubicBezTo>
                    <a:pt x="817" y="86"/>
                    <a:pt x="815" y="86"/>
                    <a:pt x="813" y="87"/>
                  </a:cubicBezTo>
                  <a:cubicBezTo>
                    <a:pt x="812" y="87"/>
                    <a:pt x="809" y="87"/>
                    <a:pt x="807" y="88"/>
                  </a:cubicBezTo>
                  <a:cubicBezTo>
                    <a:pt x="805" y="88"/>
                    <a:pt x="802" y="88"/>
                    <a:pt x="800" y="88"/>
                  </a:cubicBezTo>
                  <a:cubicBezTo>
                    <a:pt x="795" y="88"/>
                    <a:pt x="791" y="88"/>
                    <a:pt x="787" y="87"/>
                  </a:cubicBezTo>
                  <a:cubicBezTo>
                    <a:pt x="784" y="85"/>
                    <a:pt x="781" y="83"/>
                    <a:pt x="779" y="81"/>
                  </a:cubicBezTo>
                  <a:cubicBezTo>
                    <a:pt x="776" y="78"/>
                    <a:pt x="774" y="75"/>
                    <a:pt x="773" y="71"/>
                  </a:cubicBezTo>
                  <a:cubicBezTo>
                    <a:pt x="772" y="67"/>
                    <a:pt x="771" y="63"/>
                    <a:pt x="771" y="58"/>
                  </a:cubicBezTo>
                  <a:cubicBezTo>
                    <a:pt x="771" y="53"/>
                    <a:pt x="772" y="49"/>
                    <a:pt x="773" y="45"/>
                  </a:cubicBezTo>
                  <a:cubicBezTo>
                    <a:pt x="775" y="41"/>
                    <a:pt x="776" y="38"/>
                    <a:pt x="779" y="35"/>
                  </a:cubicBezTo>
                  <a:cubicBezTo>
                    <a:pt x="781" y="32"/>
                    <a:pt x="784" y="30"/>
                    <a:pt x="787" y="29"/>
                  </a:cubicBezTo>
                  <a:cubicBezTo>
                    <a:pt x="791" y="27"/>
                    <a:pt x="794" y="27"/>
                    <a:pt x="798" y="27"/>
                  </a:cubicBezTo>
                  <a:cubicBezTo>
                    <a:pt x="803" y="27"/>
                    <a:pt x="807" y="27"/>
                    <a:pt x="810" y="29"/>
                  </a:cubicBezTo>
                  <a:cubicBezTo>
                    <a:pt x="813" y="30"/>
                    <a:pt x="815" y="32"/>
                    <a:pt x="817" y="34"/>
                  </a:cubicBezTo>
                  <a:cubicBezTo>
                    <a:pt x="819" y="37"/>
                    <a:pt x="821" y="40"/>
                    <a:pt x="822" y="43"/>
                  </a:cubicBezTo>
                  <a:cubicBezTo>
                    <a:pt x="823" y="46"/>
                    <a:pt x="823" y="50"/>
                    <a:pt x="823" y="53"/>
                  </a:cubicBezTo>
                  <a:lnTo>
                    <a:pt x="823" y="55"/>
                  </a:lnTo>
                  <a:close/>
                  <a:moveTo>
                    <a:pt x="813" y="52"/>
                  </a:moveTo>
                  <a:cubicBezTo>
                    <a:pt x="813" y="47"/>
                    <a:pt x="812" y="42"/>
                    <a:pt x="809" y="39"/>
                  </a:cubicBezTo>
                  <a:cubicBezTo>
                    <a:pt x="807" y="36"/>
                    <a:pt x="803" y="35"/>
                    <a:pt x="798" y="35"/>
                  </a:cubicBezTo>
                  <a:cubicBezTo>
                    <a:pt x="795" y="35"/>
                    <a:pt x="793" y="35"/>
                    <a:pt x="791" y="36"/>
                  </a:cubicBezTo>
                  <a:cubicBezTo>
                    <a:pt x="789" y="37"/>
                    <a:pt x="788" y="38"/>
                    <a:pt x="786" y="40"/>
                  </a:cubicBezTo>
                  <a:cubicBezTo>
                    <a:pt x="785" y="42"/>
                    <a:pt x="784" y="43"/>
                    <a:pt x="783" y="45"/>
                  </a:cubicBezTo>
                  <a:cubicBezTo>
                    <a:pt x="783" y="48"/>
                    <a:pt x="782" y="50"/>
                    <a:pt x="782" y="52"/>
                  </a:cubicBezTo>
                  <a:lnTo>
                    <a:pt x="813" y="52"/>
                  </a:lnTo>
                  <a:close/>
                  <a:moveTo>
                    <a:pt x="887" y="86"/>
                  </a:moveTo>
                  <a:cubicBezTo>
                    <a:pt x="887" y="86"/>
                    <a:pt x="887" y="86"/>
                    <a:pt x="887" y="87"/>
                  </a:cubicBezTo>
                  <a:cubicBezTo>
                    <a:pt x="887" y="87"/>
                    <a:pt x="887" y="87"/>
                    <a:pt x="886" y="87"/>
                  </a:cubicBezTo>
                  <a:cubicBezTo>
                    <a:pt x="886" y="87"/>
                    <a:pt x="886" y="87"/>
                    <a:pt x="885" y="88"/>
                  </a:cubicBezTo>
                  <a:cubicBezTo>
                    <a:pt x="884" y="88"/>
                    <a:pt x="884" y="88"/>
                    <a:pt x="883" y="88"/>
                  </a:cubicBezTo>
                  <a:cubicBezTo>
                    <a:pt x="882" y="88"/>
                    <a:pt x="881" y="88"/>
                    <a:pt x="881" y="88"/>
                  </a:cubicBezTo>
                  <a:cubicBezTo>
                    <a:pt x="880" y="87"/>
                    <a:pt x="880" y="87"/>
                    <a:pt x="879" y="87"/>
                  </a:cubicBezTo>
                  <a:cubicBezTo>
                    <a:pt x="879" y="87"/>
                    <a:pt x="879" y="87"/>
                    <a:pt x="878" y="87"/>
                  </a:cubicBezTo>
                  <a:cubicBezTo>
                    <a:pt x="878" y="86"/>
                    <a:pt x="878" y="86"/>
                    <a:pt x="878" y="86"/>
                  </a:cubicBezTo>
                  <a:lnTo>
                    <a:pt x="878" y="78"/>
                  </a:lnTo>
                  <a:cubicBezTo>
                    <a:pt x="875" y="81"/>
                    <a:pt x="872" y="84"/>
                    <a:pt x="869" y="86"/>
                  </a:cubicBezTo>
                  <a:cubicBezTo>
                    <a:pt x="866" y="88"/>
                    <a:pt x="862" y="88"/>
                    <a:pt x="859" y="88"/>
                  </a:cubicBezTo>
                  <a:cubicBezTo>
                    <a:pt x="854" y="88"/>
                    <a:pt x="851" y="88"/>
                    <a:pt x="848" y="86"/>
                  </a:cubicBezTo>
                  <a:cubicBezTo>
                    <a:pt x="845" y="84"/>
                    <a:pt x="843" y="82"/>
                    <a:pt x="841" y="80"/>
                  </a:cubicBezTo>
                  <a:cubicBezTo>
                    <a:pt x="839" y="77"/>
                    <a:pt x="838" y="74"/>
                    <a:pt x="837" y="70"/>
                  </a:cubicBezTo>
                  <a:cubicBezTo>
                    <a:pt x="836" y="66"/>
                    <a:pt x="836" y="62"/>
                    <a:pt x="836" y="58"/>
                  </a:cubicBezTo>
                  <a:cubicBezTo>
                    <a:pt x="836" y="53"/>
                    <a:pt x="836" y="49"/>
                    <a:pt x="837" y="45"/>
                  </a:cubicBezTo>
                  <a:cubicBezTo>
                    <a:pt x="838" y="41"/>
                    <a:pt x="840" y="38"/>
                    <a:pt x="842" y="35"/>
                  </a:cubicBezTo>
                  <a:cubicBezTo>
                    <a:pt x="844" y="32"/>
                    <a:pt x="846" y="30"/>
                    <a:pt x="849" y="29"/>
                  </a:cubicBezTo>
                  <a:cubicBezTo>
                    <a:pt x="852" y="27"/>
                    <a:pt x="856" y="27"/>
                    <a:pt x="860" y="27"/>
                  </a:cubicBezTo>
                  <a:cubicBezTo>
                    <a:pt x="863" y="27"/>
                    <a:pt x="866" y="27"/>
                    <a:pt x="869" y="29"/>
                  </a:cubicBezTo>
                  <a:cubicBezTo>
                    <a:pt x="872" y="30"/>
                    <a:pt x="874" y="32"/>
                    <a:pt x="877" y="35"/>
                  </a:cubicBezTo>
                  <a:lnTo>
                    <a:pt x="877" y="2"/>
                  </a:lnTo>
                  <a:cubicBezTo>
                    <a:pt x="877" y="2"/>
                    <a:pt x="877" y="2"/>
                    <a:pt x="877" y="2"/>
                  </a:cubicBezTo>
                  <a:cubicBezTo>
                    <a:pt x="877" y="1"/>
                    <a:pt x="878" y="1"/>
                    <a:pt x="878" y="1"/>
                  </a:cubicBezTo>
                  <a:cubicBezTo>
                    <a:pt x="878" y="1"/>
                    <a:pt x="879" y="1"/>
                    <a:pt x="880" y="1"/>
                  </a:cubicBezTo>
                  <a:cubicBezTo>
                    <a:pt x="880" y="1"/>
                    <a:pt x="881" y="0"/>
                    <a:pt x="882" y="0"/>
                  </a:cubicBezTo>
                  <a:cubicBezTo>
                    <a:pt x="883" y="0"/>
                    <a:pt x="884" y="1"/>
                    <a:pt x="885" y="1"/>
                  </a:cubicBezTo>
                  <a:cubicBezTo>
                    <a:pt x="885" y="1"/>
                    <a:pt x="886" y="1"/>
                    <a:pt x="886" y="1"/>
                  </a:cubicBezTo>
                  <a:cubicBezTo>
                    <a:pt x="887" y="1"/>
                    <a:pt x="887" y="1"/>
                    <a:pt x="887" y="2"/>
                  </a:cubicBezTo>
                  <a:cubicBezTo>
                    <a:pt x="887" y="2"/>
                    <a:pt x="887" y="2"/>
                    <a:pt x="887" y="2"/>
                  </a:cubicBezTo>
                  <a:lnTo>
                    <a:pt x="887" y="86"/>
                  </a:lnTo>
                  <a:close/>
                  <a:moveTo>
                    <a:pt x="877" y="46"/>
                  </a:moveTo>
                  <a:cubicBezTo>
                    <a:pt x="874" y="43"/>
                    <a:pt x="872" y="40"/>
                    <a:pt x="869" y="38"/>
                  </a:cubicBezTo>
                  <a:cubicBezTo>
                    <a:pt x="866" y="36"/>
                    <a:pt x="864" y="36"/>
                    <a:pt x="861" y="36"/>
                  </a:cubicBezTo>
                  <a:cubicBezTo>
                    <a:pt x="858" y="36"/>
                    <a:pt x="856" y="36"/>
                    <a:pt x="854" y="37"/>
                  </a:cubicBezTo>
                  <a:cubicBezTo>
                    <a:pt x="852" y="39"/>
                    <a:pt x="851" y="40"/>
                    <a:pt x="850" y="42"/>
                  </a:cubicBezTo>
                  <a:cubicBezTo>
                    <a:pt x="848" y="44"/>
                    <a:pt x="848" y="47"/>
                    <a:pt x="847" y="49"/>
                  </a:cubicBezTo>
                  <a:cubicBezTo>
                    <a:pt x="847" y="52"/>
                    <a:pt x="846" y="54"/>
                    <a:pt x="846" y="57"/>
                  </a:cubicBezTo>
                  <a:cubicBezTo>
                    <a:pt x="846" y="60"/>
                    <a:pt x="847" y="63"/>
                    <a:pt x="847" y="65"/>
                  </a:cubicBezTo>
                  <a:cubicBezTo>
                    <a:pt x="847" y="68"/>
                    <a:pt x="848" y="71"/>
                    <a:pt x="849" y="73"/>
                  </a:cubicBezTo>
                  <a:cubicBezTo>
                    <a:pt x="850" y="75"/>
                    <a:pt x="852" y="76"/>
                    <a:pt x="854" y="78"/>
                  </a:cubicBezTo>
                  <a:cubicBezTo>
                    <a:pt x="855" y="79"/>
                    <a:pt x="858" y="80"/>
                    <a:pt x="860" y="80"/>
                  </a:cubicBezTo>
                  <a:cubicBezTo>
                    <a:pt x="862" y="80"/>
                    <a:pt x="863" y="79"/>
                    <a:pt x="864" y="79"/>
                  </a:cubicBezTo>
                  <a:cubicBezTo>
                    <a:pt x="866" y="79"/>
                    <a:pt x="867" y="78"/>
                    <a:pt x="868" y="77"/>
                  </a:cubicBezTo>
                  <a:cubicBezTo>
                    <a:pt x="870" y="76"/>
                    <a:pt x="871" y="75"/>
                    <a:pt x="872" y="74"/>
                  </a:cubicBezTo>
                  <a:cubicBezTo>
                    <a:pt x="874" y="72"/>
                    <a:pt x="875" y="71"/>
                    <a:pt x="877" y="69"/>
                  </a:cubicBezTo>
                  <a:lnTo>
                    <a:pt x="877" y="46"/>
                  </a:ln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6">
              <a:extLst>
                <a:ext uri="{FF2B5EF4-FFF2-40B4-BE49-F238E27FC236}">
                  <a16:creationId xmlns:a16="http://schemas.microsoft.com/office/drawing/2014/main" id="{254AF48E-82A7-41FB-82A1-823EB0C22AE9}"/>
                </a:ext>
              </a:extLst>
            </p:cNvPr>
            <p:cNvSpPr>
              <a:spLocks noEditPoints="1"/>
            </p:cNvSpPr>
            <p:nvPr/>
          </p:nvSpPr>
          <p:spPr bwMode="auto">
            <a:xfrm>
              <a:off x="5407" y="2370"/>
              <a:ext cx="127" cy="36"/>
            </a:xfrm>
            <a:custGeom>
              <a:avLst/>
              <a:gdLst>
                <a:gd name="T0" fmla="*/ 44 w 284"/>
                <a:gd name="T1" fmla="*/ 81 h 82"/>
                <a:gd name="T2" fmla="*/ 0 w 284"/>
                <a:gd name="T3" fmla="*/ 76 h 82"/>
                <a:gd name="T4" fmla="*/ 42 w 284"/>
                <a:gd name="T5" fmla="*/ 0 h 82"/>
                <a:gd name="T6" fmla="*/ 44 w 284"/>
                <a:gd name="T7" fmla="*/ 5 h 82"/>
                <a:gd name="T8" fmla="*/ 42 w 284"/>
                <a:gd name="T9" fmla="*/ 9 h 82"/>
                <a:gd name="T10" fmla="*/ 39 w 284"/>
                <a:gd name="T11" fmla="*/ 35 h 82"/>
                <a:gd name="T12" fmla="*/ 40 w 284"/>
                <a:gd name="T13" fmla="*/ 41 h 82"/>
                <a:gd name="T14" fmla="*/ 11 w 284"/>
                <a:gd name="T15" fmla="*/ 43 h 82"/>
                <a:gd name="T16" fmla="*/ 44 w 284"/>
                <a:gd name="T17" fmla="*/ 73 h 82"/>
                <a:gd name="T18" fmla="*/ 109 w 284"/>
                <a:gd name="T19" fmla="*/ 23 h 82"/>
                <a:gd name="T20" fmla="*/ 89 w 284"/>
                <a:gd name="T21" fmla="*/ 79 h 82"/>
                <a:gd name="T22" fmla="*/ 82 w 284"/>
                <a:gd name="T23" fmla="*/ 81 h 82"/>
                <a:gd name="T24" fmla="*/ 75 w 284"/>
                <a:gd name="T25" fmla="*/ 79 h 82"/>
                <a:gd name="T26" fmla="*/ 55 w 284"/>
                <a:gd name="T27" fmla="*/ 23 h 82"/>
                <a:gd name="T28" fmla="*/ 60 w 284"/>
                <a:gd name="T29" fmla="*/ 21 h 82"/>
                <a:gd name="T30" fmla="*/ 66 w 284"/>
                <a:gd name="T31" fmla="*/ 23 h 82"/>
                <a:gd name="T32" fmla="*/ 98 w 284"/>
                <a:gd name="T33" fmla="*/ 23 h 82"/>
                <a:gd name="T34" fmla="*/ 104 w 284"/>
                <a:gd name="T35" fmla="*/ 21 h 82"/>
                <a:gd name="T36" fmla="*/ 109 w 284"/>
                <a:gd name="T37" fmla="*/ 23 h 82"/>
                <a:gd name="T38" fmla="*/ 134 w 284"/>
                <a:gd name="T39" fmla="*/ 53 h 82"/>
                <a:gd name="T40" fmla="*/ 152 w 284"/>
                <a:gd name="T41" fmla="*/ 74 h 82"/>
                <a:gd name="T42" fmla="*/ 171 w 284"/>
                <a:gd name="T43" fmla="*/ 69 h 82"/>
                <a:gd name="T44" fmla="*/ 172 w 284"/>
                <a:gd name="T45" fmla="*/ 73 h 82"/>
                <a:gd name="T46" fmla="*/ 171 w 284"/>
                <a:gd name="T47" fmla="*/ 77 h 82"/>
                <a:gd name="T48" fmla="*/ 151 w 284"/>
                <a:gd name="T49" fmla="*/ 82 h 82"/>
                <a:gd name="T50" fmla="*/ 123 w 284"/>
                <a:gd name="T51" fmla="*/ 51 h 82"/>
                <a:gd name="T52" fmla="*/ 150 w 284"/>
                <a:gd name="T53" fmla="*/ 20 h 82"/>
                <a:gd name="T54" fmla="*/ 175 w 284"/>
                <a:gd name="T55" fmla="*/ 47 h 82"/>
                <a:gd name="T56" fmla="*/ 150 w 284"/>
                <a:gd name="T57" fmla="*/ 28 h 82"/>
                <a:gd name="T58" fmla="*/ 134 w 284"/>
                <a:gd name="T59" fmla="*/ 46 h 82"/>
                <a:gd name="T60" fmla="*/ 238 w 284"/>
                <a:gd name="T61" fmla="*/ 81 h 82"/>
                <a:gd name="T62" fmla="*/ 230 w 284"/>
                <a:gd name="T63" fmla="*/ 81 h 82"/>
                <a:gd name="T64" fmla="*/ 228 w 284"/>
                <a:gd name="T65" fmla="*/ 39 h 82"/>
                <a:gd name="T66" fmla="*/ 209 w 284"/>
                <a:gd name="T67" fmla="*/ 32 h 82"/>
                <a:gd name="T68" fmla="*/ 200 w 284"/>
                <a:gd name="T69" fmla="*/ 81 h 82"/>
                <a:gd name="T70" fmla="*/ 192 w 284"/>
                <a:gd name="T71" fmla="*/ 81 h 82"/>
                <a:gd name="T72" fmla="*/ 191 w 284"/>
                <a:gd name="T73" fmla="*/ 22 h 82"/>
                <a:gd name="T74" fmla="*/ 198 w 284"/>
                <a:gd name="T75" fmla="*/ 21 h 82"/>
                <a:gd name="T76" fmla="*/ 200 w 284"/>
                <a:gd name="T77" fmla="*/ 30 h 82"/>
                <a:gd name="T78" fmla="*/ 235 w 284"/>
                <a:gd name="T79" fmla="*/ 27 h 82"/>
                <a:gd name="T80" fmla="*/ 284 w 284"/>
                <a:gd name="T81" fmla="*/ 75 h 82"/>
                <a:gd name="T82" fmla="*/ 279 w 284"/>
                <a:gd name="T83" fmla="*/ 81 h 82"/>
                <a:gd name="T84" fmla="*/ 261 w 284"/>
                <a:gd name="T85" fmla="*/ 77 h 82"/>
                <a:gd name="T86" fmla="*/ 249 w 284"/>
                <a:gd name="T87" fmla="*/ 30 h 82"/>
                <a:gd name="T88" fmla="*/ 248 w 284"/>
                <a:gd name="T89" fmla="*/ 22 h 82"/>
                <a:gd name="T90" fmla="*/ 257 w 284"/>
                <a:gd name="T91" fmla="*/ 8 h 82"/>
                <a:gd name="T92" fmla="*/ 262 w 284"/>
                <a:gd name="T93" fmla="*/ 6 h 82"/>
                <a:gd name="T94" fmla="*/ 268 w 284"/>
                <a:gd name="T95" fmla="*/ 8 h 82"/>
                <a:gd name="T96" fmla="*/ 284 w 284"/>
                <a:gd name="T97" fmla="*/ 22 h 82"/>
                <a:gd name="T98" fmla="*/ 282 w 284"/>
                <a:gd name="T99" fmla="*/ 30 h 82"/>
                <a:gd name="T100" fmla="*/ 275 w 284"/>
                <a:gd name="T101" fmla="*/ 73 h 82"/>
                <a:gd name="T102" fmla="*/ 283 w 284"/>
                <a:gd name="T103" fmla="*/ 71 h 82"/>
                <a:gd name="T104" fmla="*/ 284 w 284"/>
                <a:gd name="T105" fmla="*/ 7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82">
                  <a:moveTo>
                    <a:pt x="45" y="76"/>
                  </a:moveTo>
                  <a:cubicBezTo>
                    <a:pt x="45" y="77"/>
                    <a:pt x="45" y="78"/>
                    <a:pt x="45" y="78"/>
                  </a:cubicBezTo>
                  <a:cubicBezTo>
                    <a:pt x="45" y="79"/>
                    <a:pt x="45" y="79"/>
                    <a:pt x="44" y="80"/>
                  </a:cubicBezTo>
                  <a:cubicBezTo>
                    <a:pt x="44" y="80"/>
                    <a:pt x="44" y="80"/>
                    <a:pt x="44" y="81"/>
                  </a:cubicBezTo>
                  <a:cubicBezTo>
                    <a:pt x="43" y="81"/>
                    <a:pt x="43" y="81"/>
                    <a:pt x="43" y="81"/>
                  </a:cubicBezTo>
                  <a:lnTo>
                    <a:pt x="4" y="81"/>
                  </a:lnTo>
                  <a:cubicBezTo>
                    <a:pt x="3" y="81"/>
                    <a:pt x="2" y="81"/>
                    <a:pt x="1" y="80"/>
                  </a:cubicBezTo>
                  <a:cubicBezTo>
                    <a:pt x="0" y="79"/>
                    <a:pt x="0" y="78"/>
                    <a:pt x="0" y="76"/>
                  </a:cubicBezTo>
                  <a:lnTo>
                    <a:pt x="0" y="4"/>
                  </a:lnTo>
                  <a:cubicBezTo>
                    <a:pt x="0" y="3"/>
                    <a:pt x="0" y="2"/>
                    <a:pt x="1" y="1"/>
                  </a:cubicBezTo>
                  <a:cubicBezTo>
                    <a:pt x="2" y="0"/>
                    <a:pt x="3" y="0"/>
                    <a:pt x="4" y="0"/>
                  </a:cubicBezTo>
                  <a:lnTo>
                    <a:pt x="42" y="0"/>
                  </a:lnTo>
                  <a:cubicBezTo>
                    <a:pt x="43" y="0"/>
                    <a:pt x="43" y="0"/>
                    <a:pt x="43" y="0"/>
                  </a:cubicBezTo>
                  <a:cubicBezTo>
                    <a:pt x="44" y="0"/>
                    <a:pt x="44" y="1"/>
                    <a:pt x="44" y="1"/>
                  </a:cubicBezTo>
                  <a:cubicBezTo>
                    <a:pt x="44" y="1"/>
                    <a:pt x="44" y="2"/>
                    <a:pt x="44" y="2"/>
                  </a:cubicBezTo>
                  <a:cubicBezTo>
                    <a:pt x="44" y="3"/>
                    <a:pt x="44" y="4"/>
                    <a:pt x="44" y="5"/>
                  </a:cubicBezTo>
                  <a:cubicBezTo>
                    <a:pt x="44" y="5"/>
                    <a:pt x="44" y="6"/>
                    <a:pt x="44" y="7"/>
                  </a:cubicBezTo>
                  <a:cubicBezTo>
                    <a:pt x="44" y="7"/>
                    <a:pt x="44" y="8"/>
                    <a:pt x="44" y="8"/>
                  </a:cubicBezTo>
                  <a:cubicBezTo>
                    <a:pt x="44" y="8"/>
                    <a:pt x="44" y="9"/>
                    <a:pt x="43" y="9"/>
                  </a:cubicBezTo>
                  <a:cubicBezTo>
                    <a:pt x="43" y="9"/>
                    <a:pt x="43" y="9"/>
                    <a:pt x="42" y="9"/>
                  </a:cubicBezTo>
                  <a:lnTo>
                    <a:pt x="11" y="9"/>
                  </a:lnTo>
                  <a:lnTo>
                    <a:pt x="11" y="34"/>
                  </a:lnTo>
                  <a:lnTo>
                    <a:pt x="38" y="34"/>
                  </a:lnTo>
                  <a:cubicBezTo>
                    <a:pt x="38" y="34"/>
                    <a:pt x="39" y="34"/>
                    <a:pt x="39" y="35"/>
                  </a:cubicBezTo>
                  <a:cubicBezTo>
                    <a:pt x="39" y="35"/>
                    <a:pt x="39" y="35"/>
                    <a:pt x="39" y="35"/>
                  </a:cubicBezTo>
                  <a:cubicBezTo>
                    <a:pt x="40" y="36"/>
                    <a:pt x="40" y="36"/>
                    <a:pt x="40" y="37"/>
                  </a:cubicBezTo>
                  <a:cubicBezTo>
                    <a:pt x="40" y="37"/>
                    <a:pt x="40" y="38"/>
                    <a:pt x="40" y="39"/>
                  </a:cubicBezTo>
                  <a:cubicBezTo>
                    <a:pt x="40" y="40"/>
                    <a:pt x="40" y="40"/>
                    <a:pt x="40" y="41"/>
                  </a:cubicBezTo>
                  <a:cubicBezTo>
                    <a:pt x="40" y="41"/>
                    <a:pt x="40" y="42"/>
                    <a:pt x="39" y="42"/>
                  </a:cubicBezTo>
                  <a:cubicBezTo>
                    <a:pt x="39" y="42"/>
                    <a:pt x="39" y="43"/>
                    <a:pt x="39" y="43"/>
                  </a:cubicBezTo>
                  <a:cubicBezTo>
                    <a:pt x="39" y="43"/>
                    <a:pt x="38" y="43"/>
                    <a:pt x="38" y="43"/>
                  </a:cubicBezTo>
                  <a:lnTo>
                    <a:pt x="11" y="43"/>
                  </a:lnTo>
                  <a:lnTo>
                    <a:pt x="11" y="72"/>
                  </a:lnTo>
                  <a:lnTo>
                    <a:pt x="43" y="72"/>
                  </a:lnTo>
                  <a:cubicBezTo>
                    <a:pt x="43" y="72"/>
                    <a:pt x="43" y="72"/>
                    <a:pt x="44" y="72"/>
                  </a:cubicBezTo>
                  <a:cubicBezTo>
                    <a:pt x="44" y="72"/>
                    <a:pt x="44" y="73"/>
                    <a:pt x="44" y="73"/>
                  </a:cubicBezTo>
                  <a:cubicBezTo>
                    <a:pt x="45" y="73"/>
                    <a:pt x="45" y="74"/>
                    <a:pt x="45" y="74"/>
                  </a:cubicBezTo>
                  <a:cubicBezTo>
                    <a:pt x="45" y="75"/>
                    <a:pt x="45" y="76"/>
                    <a:pt x="45" y="76"/>
                  </a:cubicBezTo>
                  <a:close/>
                  <a:moveTo>
                    <a:pt x="109" y="23"/>
                  </a:moveTo>
                  <a:cubicBezTo>
                    <a:pt x="109" y="23"/>
                    <a:pt x="109" y="23"/>
                    <a:pt x="109" y="23"/>
                  </a:cubicBezTo>
                  <a:cubicBezTo>
                    <a:pt x="109" y="24"/>
                    <a:pt x="109" y="24"/>
                    <a:pt x="109" y="24"/>
                  </a:cubicBezTo>
                  <a:cubicBezTo>
                    <a:pt x="109" y="24"/>
                    <a:pt x="109" y="24"/>
                    <a:pt x="109" y="25"/>
                  </a:cubicBezTo>
                  <a:cubicBezTo>
                    <a:pt x="109" y="25"/>
                    <a:pt x="109" y="25"/>
                    <a:pt x="108" y="26"/>
                  </a:cubicBezTo>
                  <a:lnTo>
                    <a:pt x="89" y="79"/>
                  </a:lnTo>
                  <a:cubicBezTo>
                    <a:pt x="89" y="79"/>
                    <a:pt x="89" y="80"/>
                    <a:pt x="89" y="80"/>
                  </a:cubicBezTo>
                  <a:cubicBezTo>
                    <a:pt x="88" y="80"/>
                    <a:pt x="88" y="81"/>
                    <a:pt x="87" y="81"/>
                  </a:cubicBezTo>
                  <a:cubicBezTo>
                    <a:pt x="87" y="81"/>
                    <a:pt x="86" y="81"/>
                    <a:pt x="85" y="81"/>
                  </a:cubicBezTo>
                  <a:cubicBezTo>
                    <a:pt x="84" y="81"/>
                    <a:pt x="83" y="81"/>
                    <a:pt x="82" y="81"/>
                  </a:cubicBezTo>
                  <a:cubicBezTo>
                    <a:pt x="81" y="81"/>
                    <a:pt x="80" y="81"/>
                    <a:pt x="79" y="81"/>
                  </a:cubicBezTo>
                  <a:cubicBezTo>
                    <a:pt x="78" y="81"/>
                    <a:pt x="78" y="81"/>
                    <a:pt x="77" y="81"/>
                  </a:cubicBezTo>
                  <a:cubicBezTo>
                    <a:pt x="77" y="81"/>
                    <a:pt x="76" y="80"/>
                    <a:pt x="76" y="80"/>
                  </a:cubicBezTo>
                  <a:cubicBezTo>
                    <a:pt x="76" y="80"/>
                    <a:pt x="75" y="79"/>
                    <a:pt x="75" y="79"/>
                  </a:cubicBezTo>
                  <a:lnTo>
                    <a:pt x="56" y="26"/>
                  </a:lnTo>
                  <a:cubicBezTo>
                    <a:pt x="56" y="25"/>
                    <a:pt x="56" y="25"/>
                    <a:pt x="56" y="24"/>
                  </a:cubicBezTo>
                  <a:cubicBezTo>
                    <a:pt x="55" y="24"/>
                    <a:pt x="55" y="24"/>
                    <a:pt x="55" y="23"/>
                  </a:cubicBezTo>
                  <a:cubicBezTo>
                    <a:pt x="55" y="23"/>
                    <a:pt x="55" y="23"/>
                    <a:pt x="55" y="23"/>
                  </a:cubicBezTo>
                  <a:cubicBezTo>
                    <a:pt x="55" y="23"/>
                    <a:pt x="55" y="22"/>
                    <a:pt x="56" y="22"/>
                  </a:cubicBezTo>
                  <a:cubicBezTo>
                    <a:pt x="56" y="22"/>
                    <a:pt x="56" y="22"/>
                    <a:pt x="56" y="21"/>
                  </a:cubicBezTo>
                  <a:cubicBezTo>
                    <a:pt x="57" y="21"/>
                    <a:pt x="57" y="21"/>
                    <a:pt x="58" y="21"/>
                  </a:cubicBezTo>
                  <a:cubicBezTo>
                    <a:pt x="59" y="21"/>
                    <a:pt x="59" y="21"/>
                    <a:pt x="60" y="21"/>
                  </a:cubicBezTo>
                  <a:cubicBezTo>
                    <a:pt x="62" y="21"/>
                    <a:pt x="63" y="21"/>
                    <a:pt x="63" y="21"/>
                  </a:cubicBezTo>
                  <a:cubicBezTo>
                    <a:pt x="64" y="21"/>
                    <a:pt x="65" y="21"/>
                    <a:pt x="65" y="22"/>
                  </a:cubicBezTo>
                  <a:cubicBezTo>
                    <a:pt x="65" y="22"/>
                    <a:pt x="66" y="22"/>
                    <a:pt x="66" y="22"/>
                  </a:cubicBezTo>
                  <a:cubicBezTo>
                    <a:pt x="66" y="22"/>
                    <a:pt x="66" y="23"/>
                    <a:pt x="66" y="23"/>
                  </a:cubicBezTo>
                  <a:lnTo>
                    <a:pt x="82" y="69"/>
                  </a:lnTo>
                  <a:lnTo>
                    <a:pt x="83" y="70"/>
                  </a:lnTo>
                  <a:lnTo>
                    <a:pt x="83" y="69"/>
                  </a:lnTo>
                  <a:lnTo>
                    <a:pt x="98" y="23"/>
                  </a:lnTo>
                  <a:cubicBezTo>
                    <a:pt x="99" y="23"/>
                    <a:pt x="99" y="22"/>
                    <a:pt x="99" y="22"/>
                  </a:cubicBezTo>
                  <a:cubicBezTo>
                    <a:pt x="99" y="22"/>
                    <a:pt x="99" y="22"/>
                    <a:pt x="100" y="22"/>
                  </a:cubicBezTo>
                  <a:cubicBezTo>
                    <a:pt x="100" y="21"/>
                    <a:pt x="101" y="21"/>
                    <a:pt x="101" y="21"/>
                  </a:cubicBezTo>
                  <a:cubicBezTo>
                    <a:pt x="102" y="21"/>
                    <a:pt x="103" y="21"/>
                    <a:pt x="104" y="21"/>
                  </a:cubicBezTo>
                  <a:cubicBezTo>
                    <a:pt x="105" y="21"/>
                    <a:pt x="106" y="21"/>
                    <a:pt x="106" y="21"/>
                  </a:cubicBezTo>
                  <a:cubicBezTo>
                    <a:pt x="107" y="21"/>
                    <a:pt x="108" y="21"/>
                    <a:pt x="108" y="21"/>
                  </a:cubicBezTo>
                  <a:cubicBezTo>
                    <a:pt x="108" y="22"/>
                    <a:pt x="109" y="22"/>
                    <a:pt x="109" y="22"/>
                  </a:cubicBezTo>
                  <a:cubicBezTo>
                    <a:pt x="109" y="22"/>
                    <a:pt x="109" y="23"/>
                    <a:pt x="109" y="23"/>
                  </a:cubicBezTo>
                  <a:close/>
                  <a:moveTo>
                    <a:pt x="175" y="49"/>
                  </a:moveTo>
                  <a:cubicBezTo>
                    <a:pt x="175" y="50"/>
                    <a:pt x="174" y="52"/>
                    <a:pt x="174" y="52"/>
                  </a:cubicBezTo>
                  <a:cubicBezTo>
                    <a:pt x="173" y="53"/>
                    <a:pt x="172" y="53"/>
                    <a:pt x="171" y="53"/>
                  </a:cubicBezTo>
                  <a:lnTo>
                    <a:pt x="134" y="53"/>
                  </a:lnTo>
                  <a:cubicBezTo>
                    <a:pt x="134" y="56"/>
                    <a:pt x="134" y="59"/>
                    <a:pt x="135" y="62"/>
                  </a:cubicBezTo>
                  <a:cubicBezTo>
                    <a:pt x="135" y="64"/>
                    <a:pt x="136" y="66"/>
                    <a:pt x="138" y="68"/>
                  </a:cubicBezTo>
                  <a:cubicBezTo>
                    <a:pt x="139" y="70"/>
                    <a:pt x="141" y="71"/>
                    <a:pt x="144" y="72"/>
                  </a:cubicBezTo>
                  <a:cubicBezTo>
                    <a:pt x="146" y="73"/>
                    <a:pt x="149" y="74"/>
                    <a:pt x="152" y="74"/>
                  </a:cubicBezTo>
                  <a:cubicBezTo>
                    <a:pt x="155" y="74"/>
                    <a:pt x="157" y="73"/>
                    <a:pt x="159" y="73"/>
                  </a:cubicBezTo>
                  <a:cubicBezTo>
                    <a:pt x="161" y="73"/>
                    <a:pt x="163" y="72"/>
                    <a:pt x="165" y="72"/>
                  </a:cubicBezTo>
                  <a:cubicBezTo>
                    <a:pt x="166" y="71"/>
                    <a:pt x="168" y="71"/>
                    <a:pt x="169" y="70"/>
                  </a:cubicBezTo>
                  <a:cubicBezTo>
                    <a:pt x="169" y="70"/>
                    <a:pt x="170" y="69"/>
                    <a:pt x="171" y="69"/>
                  </a:cubicBezTo>
                  <a:cubicBezTo>
                    <a:pt x="171" y="69"/>
                    <a:pt x="171" y="69"/>
                    <a:pt x="172" y="70"/>
                  </a:cubicBezTo>
                  <a:cubicBezTo>
                    <a:pt x="172" y="70"/>
                    <a:pt x="172" y="70"/>
                    <a:pt x="172" y="70"/>
                  </a:cubicBezTo>
                  <a:cubicBezTo>
                    <a:pt x="172" y="71"/>
                    <a:pt x="172" y="71"/>
                    <a:pt x="172" y="72"/>
                  </a:cubicBezTo>
                  <a:cubicBezTo>
                    <a:pt x="172" y="72"/>
                    <a:pt x="172" y="73"/>
                    <a:pt x="172" y="73"/>
                  </a:cubicBezTo>
                  <a:cubicBezTo>
                    <a:pt x="172" y="74"/>
                    <a:pt x="172" y="74"/>
                    <a:pt x="172" y="75"/>
                  </a:cubicBezTo>
                  <a:cubicBezTo>
                    <a:pt x="172" y="75"/>
                    <a:pt x="172" y="76"/>
                    <a:pt x="172" y="76"/>
                  </a:cubicBezTo>
                  <a:cubicBezTo>
                    <a:pt x="172" y="76"/>
                    <a:pt x="172" y="76"/>
                    <a:pt x="172" y="77"/>
                  </a:cubicBezTo>
                  <a:cubicBezTo>
                    <a:pt x="172" y="77"/>
                    <a:pt x="172" y="77"/>
                    <a:pt x="171" y="77"/>
                  </a:cubicBezTo>
                  <a:cubicBezTo>
                    <a:pt x="171" y="78"/>
                    <a:pt x="170" y="78"/>
                    <a:pt x="169" y="79"/>
                  </a:cubicBezTo>
                  <a:cubicBezTo>
                    <a:pt x="168" y="79"/>
                    <a:pt x="167" y="80"/>
                    <a:pt x="165" y="80"/>
                  </a:cubicBezTo>
                  <a:cubicBezTo>
                    <a:pt x="163" y="81"/>
                    <a:pt x="161" y="81"/>
                    <a:pt x="159" y="81"/>
                  </a:cubicBezTo>
                  <a:cubicBezTo>
                    <a:pt x="156" y="82"/>
                    <a:pt x="154" y="82"/>
                    <a:pt x="151" y="82"/>
                  </a:cubicBezTo>
                  <a:cubicBezTo>
                    <a:pt x="147" y="82"/>
                    <a:pt x="143" y="81"/>
                    <a:pt x="139" y="80"/>
                  </a:cubicBezTo>
                  <a:cubicBezTo>
                    <a:pt x="136" y="79"/>
                    <a:pt x="133" y="77"/>
                    <a:pt x="130" y="74"/>
                  </a:cubicBezTo>
                  <a:cubicBezTo>
                    <a:pt x="128" y="72"/>
                    <a:pt x="126" y="69"/>
                    <a:pt x="125" y="65"/>
                  </a:cubicBezTo>
                  <a:cubicBezTo>
                    <a:pt x="124" y="61"/>
                    <a:pt x="123" y="57"/>
                    <a:pt x="123" y="51"/>
                  </a:cubicBezTo>
                  <a:cubicBezTo>
                    <a:pt x="123" y="47"/>
                    <a:pt x="124" y="42"/>
                    <a:pt x="125" y="38"/>
                  </a:cubicBezTo>
                  <a:cubicBezTo>
                    <a:pt x="126" y="35"/>
                    <a:pt x="128" y="31"/>
                    <a:pt x="130" y="29"/>
                  </a:cubicBezTo>
                  <a:cubicBezTo>
                    <a:pt x="133" y="26"/>
                    <a:pt x="136" y="24"/>
                    <a:pt x="139" y="22"/>
                  </a:cubicBezTo>
                  <a:cubicBezTo>
                    <a:pt x="142" y="21"/>
                    <a:pt x="146" y="20"/>
                    <a:pt x="150" y="20"/>
                  </a:cubicBezTo>
                  <a:cubicBezTo>
                    <a:pt x="154" y="20"/>
                    <a:pt x="158" y="21"/>
                    <a:pt x="161" y="22"/>
                  </a:cubicBezTo>
                  <a:cubicBezTo>
                    <a:pt x="164" y="24"/>
                    <a:pt x="167" y="26"/>
                    <a:pt x="169" y="28"/>
                  </a:cubicBezTo>
                  <a:cubicBezTo>
                    <a:pt x="171" y="30"/>
                    <a:pt x="172" y="33"/>
                    <a:pt x="173" y="37"/>
                  </a:cubicBezTo>
                  <a:cubicBezTo>
                    <a:pt x="174" y="40"/>
                    <a:pt x="175" y="43"/>
                    <a:pt x="175" y="47"/>
                  </a:cubicBezTo>
                  <a:lnTo>
                    <a:pt x="175" y="49"/>
                  </a:lnTo>
                  <a:close/>
                  <a:moveTo>
                    <a:pt x="164" y="46"/>
                  </a:moveTo>
                  <a:cubicBezTo>
                    <a:pt x="165" y="40"/>
                    <a:pt x="163" y="36"/>
                    <a:pt x="161" y="33"/>
                  </a:cubicBezTo>
                  <a:cubicBezTo>
                    <a:pt x="158" y="30"/>
                    <a:pt x="155" y="28"/>
                    <a:pt x="150" y="28"/>
                  </a:cubicBezTo>
                  <a:cubicBezTo>
                    <a:pt x="147" y="28"/>
                    <a:pt x="145" y="29"/>
                    <a:pt x="143" y="30"/>
                  </a:cubicBezTo>
                  <a:cubicBezTo>
                    <a:pt x="141" y="31"/>
                    <a:pt x="139" y="32"/>
                    <a:pt x="138" y="34"/>
                  </a:cubicBezTo>
                  <a:cubicBezTo>
                    <a:pt x="137" y="35"/>
                    <a:pt x="136" y="37"/>
                    <a:pt x="135" y="39"/>
                  </a:cubicBezTo>
                  <a:cubicBezTo>
                    <a:pt x="134" y="41"/>
                    <a:pt x="134" y="43"/>
                    <a:pt x="134" y="46"/>
                  </a:cubicBezTo>
                  <a:lnTo>
                    <a:pt x="164" y="46"/>
                  </a:lnTo>
                  <a:close/>
                  <a:moveTo>
                    <a:pt x="239" y="79"/>
                  </a:moveTo>
                  <a:cubicBezTo>
                    <a:pt x="239" y="80"/>
                    <a:pt x="239" y="80"/>
                    <a:pt x="239" y="80"/>
                  </a:cubicBezTo>
                  <a:cubicBezTo>
                    <a:pt x="239" y="80"/>
                    <a:pt x="239" y="81"/>
                    <a:pt x="238" y="81"/>
                  </a:cubicBezTo>
                  <a:cubicBezTo>
                    <a:pt x="238" y="81"/>
                    <a:pt x="237" y="81"/>
                    <a:pt x="237" y="81"/>
                  </a:cubicBezTo>
                  <a:cubicBezTo>
                    <a:pt x="236" y="81"/>
                    <a:pt x="235" y="81"/>
                    <a:pt x="234" y="81"/>
                  </a:cubicBezTo>
                  <a:cubicBezTo>
                    <a:pt x="233" y="81"/>
                    <a:pt x="232" y="81"/>
                    <a:pt x="232" y="81"/>
                  </a:cubicBezTo>
                  <a:cubicBezTo>
                    <a:pt x="231" y="81"/>
                    <a:pt x="230" y="81"/>
                    <a:pt x="230" y="81"/>
                  </a:cubicBezTo>
                  <a:cubicBezTo>
                    <a:pt x="230" y="81"/>
                    <a:pt x="229" y="80"/>
                    <a:pt x="229" y="80"/>
                  </a:cubicBezTo>
                  <a:cubicBezTo>
                    <a:pt x="229" y="80"/>
                    <a:pt x="229" y="80"/>
                    <a:pt x="229" y="79"/>
                  </a:cubicBezTo>
                  <a:lnTo>
                    <a:pt x="229" y="46"/>
                  </a:lnTo>
                  <a:cubicBezTo>
                    <a:pt x="229" y="43"/>
                    <a:pt x="229" y="41"/>
                    <a:pt x="228" y="39"/>
                  </a:cubicBezTo>
                  <a:cubicBezTo>
                    <a:pt x="228" y="37"/>
                    <a:pt x="227" y="35"/>
                    <a:pt x="226" y="34"/>
                  </a:cubicBezTo>
                  <a:cubicBezTo>
                    <a:pt x="225" y="32"/>
                    <a:pt x="224" y="31"/>
                    <a:pt x="222" y="30"/>
                  </a:cubicBezTo>
                  <a:cubicBezTo>
                    <a:pt x="221" y="30"/>
                    <a:pt x="219" y="29"/>
                    <a:pt x="217" y="29"/>
                  </a:cubicBezTo>
                  <a:cubicBezTo>
                    <a:pt x="214" y="29"/>
                    <a:pt x="212" y="30"/>
                    <a:pt x="209" y="32"/>
                  </a:cubicBezTo>
                  <a:cubicBezTo>
                    <a:pt x="207" y="34"/>
                    <a:pt x="204" y="36"/>
                    <a:pt x="201" y="40"/>
                  </a:cubicBezTo>
                  <a:lnTo>
                    <a:pt x="201" y="79"/>
                  </a:lnTo>
                  <a:cubicBezTo>
                    <a:pt x="201" y="80"/>
                    <a:pt x="201" y="80"/>
                    <a:pt x="201" y="80"/>
                  </a:cubicBezTo>
                  <a:cubicBezTo>
                    <a:pt x="201" y="80"/>
                    <a:pt x="200" y="81"/>
                    <a:pt x="200" y="81"/>
                  </a:cubicBezTo>
                  <a:cubicBezTo>
                    <a:pt x="200" y="81"/>
                    <a:pt x="199" y="81"/>
                    <a:pt x="198" y="81"/>
                  </a:cubicBezTo>
                  <a:cubicBezTo>
                    <a:pt x="198" y="81"/>
                    <a:pt x="197" y="81"/>
                    <a:pt x="196" y="81"/>
                  </a:cubicBezTo>
                  <a:cubicBezTo>
                    <a:pt x="195" y="81"/>
                    <a:pt x="194" y="81"/>
                    <a:pt x="193" y="81"/>
                  </a:cubicBezTo>
                  <a:cubicBezTo>
                    <a:pt x="193" y="81"/>
                    <a:pt x="192" y="81"/>
                    <a:pt x="192" y="81"/>
                  </a:cubicBezTo>
                  <a:cubicBezTo>
                    <a:pt x="191" y="81"/>
                    <a:pt x="191" y="80"/>
                    <a:pt x="191" y="80"/>
                  </a:cubicBezTo>
                  <a:cubicBezTo>
                    <a:pt x="191" y="80"/>
                    <a:pt x="191" y="80"/>
                    <a:pt x="191" y="79"/>
                  </a:cubicBezTo>
                  <a:lnTo>
                    <a:pt x="191" y="23"/>
                  </a:lnTo>
                  <a:cubicBezTo>
                    <a:pt x="191" y="23"/>
                    <a:pt x="191" y="22"/>
                    <a:pt x="191" y="22"/>
                  </a:cubicBezTo>
                  <a:cubicBezTo>
                    <a:pt x="191" y="22"/>
                    <a:pt x="191" y="22"/>
                    <a:pt x="192" y="22"/>
                  </a:cubicBezTo>
                  <a:cubicBezTo>
                    <a:pt x="192" y="21"/>
                    <a:pt x="193" y="21"/>
                    <a:pt x="193" y="21"/>
                  </a:cubicBezTo>
                  <a:cubicBezTo>
                    <a:pt x="194" y="21"/>
                    <a:pt x="195" y="21"/>
                    <a:pt x="195" y="21"/>
                  </a:cubicBezTo>
                  <a:cubicBezTo>
                    <a:pt x="196" y="21"/>
                    <a:pt x="197" y="21"/>
                    <a:pt x="198" y="21"/>
                  </a:cubicBezTo>
                  <a:cubicBezTo>
                    <a:pt x="198" y="21"/>
                    <a:pt x="199" y="21"/>
                    <a:pt x="199" y="22"/>
                  </a:cubicBezTo>
                  <a:cubicBezTo>
                    <a:pt x="200" y="22"/>
                    <a:pt x="200" y="22"/>
                    <a:pt x="200" y="22"/>
                  </a:cubicBezTo>
                  <a:cubicBezTo>
                    <a:pt x="200" y="22"/>
                    <a:pt x="200" y="23"/>
                    <a:pt x="200" y="23"/>
                  </a:cubicBezTo>
                  <a:lnTo>
                    <a:pt x="200" y="30"/>
                  </a:lnTo>
                  <a:cubicBezTo>
                    <a:pt x="203" y="27"/>
                    <a:pt x="206" y="24"/>
                    <a:pt x="210" y="23"/>
                  </a:cubicBezTo>
                  <a:cubicBezTo>
                    <a:pt x="213" y="21"/>
                    <a:pt x="216" y="20"/>
                    <a:pt x="219" y="20"/>
                  </a:cubicBezTo>
                  <a:cubicBezTo>
                    <a:pt x="223" y="20"/>
                    <a:pt x="226" y="21"/>
                    <a:pt x="229" y="22"/>
                  </a:cubicBezTo>
                  <a:cubicBezTo>
                    <a:pt x="231" y="23"/>
                    <a:pt x="233" y="25"/>
                    <a:pt x="235" y="27"/>
                  </a:cubicBezTo>
                  <a:cubicBezTo>
                    <a:pt x="236" y="29"/>
                    <a:pt x="238" y="32"/>
                    <a:pt x="238" y="35"/>
                  </a:cubicBezTo>
                  <a:cubicBezTo>
                    <a:pt x="239" y="38"/>
                    <a:pt x="239" y="41"/>
                    <a:pt x="239" y="45"/>
                  </a:cubicBezTo>
                  <a:lnTo>
                    <a:pt x="239" y="79"/>
                  </a:lnTo>
                  <a:close/>
                  <a:moveTo>
                    <a:pt x="284" y="75"/>
                  </a:moveTo>
                  <a:cubicBezTo>
                    <a:pt x="284" y="76"/>
                    <a:pt x="284" y="77"/>
                    <a:pt x="284" y="78"/>
                  </a:cubicBezTo>
                  <a:cubicBezTo>
                    <a:pt x="284" y="79"/>
                    <a:pt x="283" y="79"/>
                    <a:pt x="283" y="80"/>
                  </a:cubicBezTo>
                  <a:cubicBezTo>
                    <a:pt x="283" y="80"/>
                    <a:pt x="282" y="80"/>
                    <a:pt x="282" y="81"/>
                  </a:cubicBezTo>
                  <a:cubicBezTo>
                    <a:pt x="281" y="81"/>
                    <a:pt x="280" y="81"/>
                    <a:pt x="279" y="81"/>
                  </a:cubicBezTo>
                  <a:cubicBezTo>
                    <a:pt x="278" y="81"/>
                    <a:pt x="278" y="82"/>
                    <a:pt x="277" y="82"/>
                  </a:cubicBezTo>
                  <a:cubicBezTo>
                    <a:pt x="276" y="82"/>
                    <a:pt x="275" y="82"/>
                    <a:pt x="274" y="82"/>
                  </a:cubicBezTo>
                  <a:cubicBezTo>
                    <a:pt x="271" y="82"/>
                    <a:pt x="268" y="82"/>
                    <a:pt x="266" y="81"/>
                  </a:cubicBezTo>
                  <a:cubicBezTo>
                    <a:pt x="264" y="80"/>
                    <a:pt x="262" y="79"/>
                    <a:pt x="261" y="77"/>
                  </a:cubicBezTo>
                  <a:cubicBezTo>
                    <a:pt x="260" y="76"/>
                    <a:pt x="259" y="74"/>
                    <a:pt x="258" y="71"/>
                  </a:cubicBezTo>
                  <a:cubicBezTo>
                    <a:pt x="258" y="69"/>
                    <a:pt x="257" y="66"/>
                    <a:pt x="257" y="63"/>
                  </a:cubicBezTo>
                  <a:lnTo>
                    <a:pt x="257" y="30"/>
                  </a:lnTo>
                  <a:lnTo>
                    <a:pt x="249" y="30"/>
                  </a:lnTo>
                  <a:cubicBezTo>
                    <a:pt x="249" y="30"/>
                    <a:pt x="248" y="30"/>
                    <a:pt x="248" y="29"/>
                  </a:cubicBezTo>
                  <a:cubicBezTo>
                    <a:pt x="247" y="28"/>
                    <a:pt x="247" y="27"/>
                    <a:pt x="247" y="26"/>
                  </a:cubicBezTo>
                  <a:cubicBezTo>
                    <a:pt x="247" y="25"/>
                    <a:pt x="247" y="24"/>
                    <a:pt x="247" y="24"/>
                  </a:cubicBezTo>
                  <a:cubicBezTo>
                    <a:pt x="248" y="23"/>
                    <a:pt x="248" y="23"/>
                    <a:pt x="248" y="22"/>
                  </a:cubicBezTo>
                  <a:cubicBezTo>
                    <a:pt x="248" y="22"/>
                    <a:pt x="248" y="22"/>
                    <a:pt x="249" y="22"/>
                  </a:cubicBezTo>
                  <a:cubicBezTo>
                    <a:pt x="249" y="21"/>
                    <a:pt x="249" y="21"/>
                    <a:pt x="249" y="21"/>
                  </a:cubicBezTo>
                  <a:lnTo>
                    <a:pt x="257" y="21"/>
                  </a:lnTo>
                  <a:lnTo>
                    <a:pt x="257" y="8"/>
                  </a:lnTo>
                  <a:cubicBezTo>
                    <a:pt x="257" y="8"/>
                    <a:pt x="257" y="7"/>
                    <a:pt x="257" y="7"/>
                  </a:cubicBezTo>
                  <a:cubicBezTo>
                    <a:pt x="258" y="7"/>
                    <a:pt x="258" y="7"/>
                    <a:pt x="258" y="7"/>
                  </a:cubicBezTo>
                  <a:cubicBezTo>
                    <a:pt x="259" y="6"/>
                    <a:pt x="259" y="6"/>
                    <a:pt x="260" y="6"/>
                  </a:cubicBezTo>
                  <a:cubicBezTo>
                    <a:pt x="261" y="6"/>
                    <a:pt x="261" y="6"/>
                    <a:pt x="262" y="6"/>
                  </a:cubicBezTo>
                  <a:cubicBezTo>
                    <a:pt x="263" y="6"/>
                    <a:pt x="264" y="6"/>
                    <a:pt x="265" y="6"/>
                  </a:cubicBezTo>
                  <a:cubicBezTo>
                    <a:pt x="266" y="6"/>
                    <a:pt x="266" y="6"/>
                    <a:pt x="266" y="7"/>
                  </a:cubicBezTo>
                  <a:cubicBezTo>
                    <a:pt x="267" y="7"/>
                    <a:pt x="267" y="7"/>
                    <a:pt x="267" y="7"/>
                  </a:cubicBezTo>
                  <a:cubicBezTo>
                    <a:pt x="267" y="7"/>
                    <a:pt x="268" y="8"/>
                    <a:pt x="268" y="8"/>
                  </a:cubicBezTo>
                  <a:lnTo>
                    <a:pt x="268" y="21"/>
                  </a:lnTo>
                  <a:lnTo>
                    <a:pt x="282" y="21"/>
                  </a:lnTo>
                  <a:cubicBezTo>
                    <a:pt x="282" y="21"/>
                    <a:pt x="283" y="21"/>
                    <a:pt x="283" y="22"/>
                  </a:cubicBezTo>
                  <a:cubicBezTo>
                    <a:pt x="283" y="22"/>
                    <a:pt x="283" y="22"/>
                    <a:pt x="284" y="22"/>
                  </a:cubicBezTo>
                  <a:cubicBezTo>
                    <a:pt x="284" y="23"/>
                    <a:pt x="284" y="23"/>
                    <a:pt x="284" y="24"/>
                  </a:cubicBezTo>
                  <a:cubicBezTo>
                    <a:pt x="284" y="24"/>
                    <a:pt x="284" y="25"/>
                    <a:pt x="284" y="26"/>
                  </a:cubicBezTo>
                  <a:cubicBezTo>
                    <a:pt x="284" y="27"/>
                    <a:pt x="284" y="28"/>
                    <a:pt x="283" y="29"/>
                  </a:cubicBezTo>
                  <a:cubicBezTo>
                    <a:pt x="283" y="30"/>
                    <a:pt x="283" y="30"/>
                    <a:pt x="282" y="30"/>
                  </a:cubicBezTo>
                  <a:lnTo>
                    <a:pt x="268" y="30"/>
                  </a:lnTo>
                  <a:lnTo>
                    <a:pt x="268" y="61"/>
                  </a:lnTo>
                  <a:cubicBezTo>
                    <a:pt x="268" y="65"/>
                    <a:pt x="268" y="68"/>
                    <a:pt x="269" y="70"/>
                  </a:cubicBezTo>
                  <a:cubicBezTo>
                    <a:pt x="270" y="72"/>
                    <a:pt x="272" y="73"/>
                    <a:pt x="275" y="73"/>
                  </a:cubicBezTo>
                  <a:cubicBezTo>
                    <a:pt x="276" y="73"/>
                    <a:pt x="277" y="73"/>
                    <a:pt x="278" y="73"/>
                  </a:cubicBezTo>
                  <a:cubicBezTo>
                    <a:pt x="279" y="73"/>
                    <a:pt x="279" y="72"/>
                    <a:pt x="280" y="72"/>
                  </a:cubicBezTo>
                  <a:cubicBezTo>
                    <a:pt x="281" y="72"/>
                    <a:pt x="281" y="72"/>
                    <a:pt x="281" y="72"/>
                  </a:cubicBezTo>
                  <a:cubicBezTo>
                    <a:pt x="282" y="71"/>
                    <a:pt x="282" y="71"/>
                    <a:pt x="283" y="71"/>
                  </a:cubicBezTo>
                  <a:cubicBezTo>
                    <a:pt x="283" y="71"/>
                    <a:pt x="283" y="71"/>
                    <a:pt x="283" y="72"/>
                  </a:cubicBezTo>
                  <a:cubicBezTo>
                    <a:pt x="283" y="72"/>
                    <a:pt x="284" y="72"/>
                    <a:pt x="284" y="72"/>
                  </a:cubicBezTo>
                  <a:cubicBezTo>
                    <a:pt x="284" y="72"/>
                    <a:pt x="284" y="73"/>
                    <a:pt x="284" y="73"/>
                  </a:cubicBezTo>
                  <a:cubicBezTo>
                    <a:pt x="284" y="74"/>
                    <a:pt x="284" y="74"/>
                    <a:pt x="284" y="75"/>
                  </a:cubicBez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7">
              <a:extLst>
                <a:ext uri="{FF2B5EF4-FFF2-40B4-BE49-F238E27FC236}">
                  <a16:creationId xmlns:a16="http://schemas.microsoft.com/office/drawing/2014/main" id="{5612D0EF-8D57-4052-AD96-3D3BEDCFEAE1}"/>
                </a:ext>
              </a:extLst>
            </p:cNvPr>
            <p:cNvSpPr>
              <a:spLocks noEditPoints="1"/>
            </p:cNvSpPr>
            <p:nvPr/>
          </p:nvSpPr>
          <p:spPr bwMode="auto">
            <a:xfrm>
              <a:off x="4989" y="2942"/>
              <a:ext cx="970" cy="90"/>
            </a:xfrm>
            <a:custGeom>
              <a:avLst/>
              <a:gdLst>
                <a:gd name="T0" fmla="*/ 2164 w 2167"/>
                <a:gd name="T1" fmla="*/ 0 h 200"/>
                <a:gd name="T2" fmla="*/ 2068 w 2167"/>
                <a:gd name="T3" fmla="*/ 29 h 200"/>
                <a:gd name="T4" fmla="*/ 2047 w 2167"/>
                <a:gd name="T5" fmla="*/ 37 h 200"/>
                <a:gd name="T6" fmla="*/ 2048 w 2167"/>
                <a:gd name="T7" fmla="*/ 34 h 200"/>
                <a:gd name="T8" fmla="*/ 1951 w 2167"/>
                <a:gd name="T9" fmla="*/ 58 h 200"/>
                <a:gd name="T10" fmla="*/ 1899 w 2167"/>
                <a:gd name="T11" fmla="*/ 77 h 200"/>
                <a:gd name="T12" fmla="*/ 1927 w 2167"/>
                <a:gd name="T13" fmla="*/ 64 h 200"/>
                <a:gd name="T14" fmla="*/ 1830 w 2167"/>
                <a:gd name="T15" fmla="*/ 89 h 200"/>
                <a:gd name="T16" fmla="*/ 1808 w 2167"/>
                <a:gd name="T17" fmla="*/ 96 h 200"/>
                <a:gd name="T18" fmla="*/ 1810 w 2167"/>
                <a:gd name="T19" fmla="*/ 93 h 200"/>
                <a:gd name="T20" fmla="*/ 1712 w 2167"/>
                <a:gd name="T21" fmla="*/ 111 h 200"/>
                <a:gd name="T22" fmla="*/ 1653 w 2167"/>
                <a:gd name="T23" fmla="*/ 128 h 200"/>
                <a:gd name="T24" fmla="*/ 1688 w 2167"/>
                <a:gd name="T25" fmla="*/ 121 h 200"/>
                <a:gd name="T26" fmla="*/ 1627 w 2167"/>
                <a:gd name="T27" fmla="*/ 128 h 200"/>
                <a:gd name="T28" fmla="*/ 1528 w 2167"/>
                <a:gd name="T29" fmla="*/ 145 h 200"/>
                <a:gd name="T30" fmla="*/ 1506 w 2167"/>
                <a:gd name="T31" fmla="*/ 151 h 200"/>
                <a:gd name="T32" fmla="*/ 1508 w 2167"/>
                <a:gd name="T33" fmla="*/ 148 h 200"/>
                <a:gd name="T34" fmla="*/ 1409 w 2167"/>
                <a:gd name="T35" fmla="*/ 160 h 200"/>
                <a:gd name="T36" fmla="*/ 1358 w 2167"/>
                <a:gd name="T37" fmla="*/ 172 h 200"/>
                <a:gd name="T38" fmla="*/ 1383 w 2167"/>
                <a:gd name="T39" fmla="*/ 163 h 200"/>
                <a:gd name="T40" fmla="*/ 1284 w 2167"/>
                <a:gd name="T41" fmla="*/ 176 h 200"/>
                <a:gd name="T42" fmla="*/ 1262 w 2167"/>
                <a:gd name="T43" fmla="*/ 180 h 200"/>
                <a:gd name="T44" fmla="*/ 1264 w 2167"/>
                <a:gd name="T45" fmla="*/ 177 h 200"/>
                <a:gd name="T46" fmla="*/ 1164 w 2167"/>
                <a:gd name="T47" fmla="*/ 183 h 200"/>
                <a:gd name="T48" fmla="*/ 1103 w 2167"/>
                <a:gd name="T49" fmla="*/ 193 h 200"/>
                <a:gd name="T50" fmla="*/ 1139 w 2167"/>
                <a:gd name="T51" fmla="*/ 190 h 200"/>
                <a:gd name="T52" fmla="*/ 1078 w 2167"/>
                <a:gd name="T53" fmla="*/ 190 h 200"/>
                <a:gd name="T54" fmla="*/ 978 w 2167"/>
                <a:gd name="T55" fmla="*/ 194 h 200"/>
                <a:gd name="T56" fmla="*/ 955 w 2167"/>
                <a:gd name="T57" fmla="*/ 197 h 200"/>
                <a:gd name="T58" fmla="*/ 957 w 2167"/>
                <a:gd name="T59" fmla="*/ 195 h 200"/>
                <a:gd name="T60" fmla="*/ 858 w 2167"/>
                <a:gd name="T61" fmla="*/ 194 h 200"/>
                <a:gd name="T62" fmla="*/ 811 w 2167"/>
                <a:gd name="T63" fmla="*/ 200 h 200"/>
                <a:gd name="T64" fmla="*/ 832 w 2167"/>
                <a:gd name="T65" fmla="*/ 195 h 200"/>
                <a:gd name="T66" fmla="*/ 732 w 2167"/>
                <a:gd name="T67" fmla="*/ 195 h 200"/>
                <a:gd name="T68" fmla="*/ 709 w 2167"/>
                <a:gd name="T69" fmla="*/ 196 h 200"/>
                <a:gd name="T70" fmla="*/ 712 w 2167"/>
                <a:gd name="T71" fmla="*/ 194 h 200"/>
                <a:gd name="T72" fmla="*/ 612 w 2167"/>
                <a:gd name="T73" fmla="*/ 188 h 200"/>
                <a:gd name="T74" fmla="*/ 551 w 2167"/>
                <a:gd name="T75" fmla="*/ 191 h 200"/>
                <a:gd name="T76" fmla="*/ 586 w 2167"/>
                <a:gd name="T77" fmla="*/ 192 h 200"/>
                <a:gd name="T78" fmla="*/ 525 w 2167"/>
                <a:gd name="T79" fmla="*/ 184 h 200"/>
                <a:gd name="T80" fmla="*/ 426 w 2167"/>
                <a:gd name="T81" fmla="*/ 176 h 200"/>
                <a:gd name="T82" fmla="*/ 403 w 2167"/>
                <a:gd name="T83" fmla="*/ 176 h 200"/>
                <a:gd name="T84" fmla="*/ 405 w 2167"/>
                <a:gd name="T85" fmla="*/ 174 h 200"/>
                <a:gd name="T86" fmla="*/ 306 w 2167"/>
                <a:gd name="T87" fmla="*/ 161 h 200"/>
                <a:gd name="T88" fmla="*/ 280 w 2167"/>
                <a:gd name="T89" fmla="*/ 164 h 200"/>
                <a:gd name="T90" fmla="*/ 263 w 2167"/>
                <a:gd name="T91" fmla="*/ 157 h 200"/>
                <a:gd name="T92" fmla="*/ 184 w 2167"/>
                <a:gd name="T93" fmla="*/ 149 h 200"/>
                <a:gd name="T94" fmla="*/ 219 w 2167"/>
                <a:gd name="T95" fmla="*/ 155 h 200"/>
                <a:gd name="T96" fmla="*/ 160 w 2167"/>
                <a:gd name="T97" fmla="*/ 140 h 200"/>
                <a:gd name="T98" fmla="*/ 61 w 2167"/>
                <a:gd name="T99" fmla="*/ 127 h 200"/>
                <a:gd name="T100" fmla="*/ 38 w 2167"/>
                <a:gd name="T101" fmla="*/ 126 h 200"/>
                <a:gd name="T102" fmla="*/ 40 w 2167"/>
                <a:gd name="T103" fmla="*/ 12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7" h="200">
                  <a:moveTo>
                    <a:pt x="2165" y="5"/>
                  </a:moveTo>
                  <a:lnTo>
                    <a:pt x="2131" y="14"/>
                  </a:lnTo>
                  <a:cubicBezTo>
                    <a:pt x="2129" y="15"/>
                    <a:pt x="2128" y="14"/>
                    <a:pt x="2127" y="13"/>
                  </a:cubicBezTo>
                  <a:cubicBezTo>
                    <a:pt x="2127" y="11"/>
                    <a:pt x="2128" y="10"/>
                    <a:pt x="2129" y="9"/>
                  </a:cubicBezTo>
                  <a:lnTo>
                    <a:pt x="2164" y="0"/>
                  </a:lnTo>
                  <a:cubicBezTo>
                    <a:pt x="2165" y="0"/>
                    <a:pt x="2167" y="0"/>
                    <a:pt x="2167" y="2"/>
                  </a:cubicBezTo>
                  <a:cubicBezTo>
                    <a:pt x="2167" y="3"/>
                    <a:pt x="2167" y="5"/>
                    <a:pt x="2165" y="5"/>
                  </a:cubicBezTo>
                  <a:close/>
                  <a:moveTo>
                    <a:pt x="2106" y="21"/>
                  </a:moveTo>
                  <a:lnTo>
                    <a:pt x="2071" y="30"/>
                  </a:lnTo>
                  <a:cubicBezTo>
                    <a:pt x="2070" y="31"/>
                    <a:pt x="2068" y="30"/>
                    <a:pt x="2068" y="29"/>
                  </a:cubicBezTo>
                  <a:cubicBezTo>
                    <a:pt x="2068" y="27"/>
                    <a:pt x="2069" y="26"/>
                    <a:pt x="2070" y="25"/>
                  </a:cubicBezTo>
                  <a:lnTo>
                    <a:pt x="2105" y="16"/>
                  </a:lnTo>
                  <a:cubicBezTo>
                    <a:pt x="2106" y="16"/>
                    <a:pt x="2107" y="16"/>
                    <a:pt x="2108" y="18"/>
                  </a:cubicBezTo>
                  <a:cubicBezTo>
                    <a:pt x="2108" y="19"/>
                    <a:pt x="2107" y="21"/>
                    <a:pt x="2106" y="21"/>
                  </a:cubicBezTo>
                  <a:close/>
                  <a:moveTo>
                    <a:pt x="2047" y="37"/>
                  </a:moveTo>
                  <a:lnTo>
                    <a:pt x="2012" y="46"/>
                  </a:lnTo>
                  <a:cubicBezTo>
                    <a:pt x="2011" y="47"/>
                    <a:pt x="2009" y="46"/>
                    <a:pt x="2009" y="45"/>
                  </a:cubicBezTo>
                  <a:cubicBezTo>
                    <a:pt x="2008" y="43"/>
                    <a:pt x="2009" y="42"/>
                    <a:pt x="2011" y="41"/>
                  </a:cubicBezTo>
                  <a:lnTo>
                    <a:pt x="2045" y="32"/>
                  </a:lnTo>
                  <a:cubicBezTo>
                    <a:pt x="2047" y="32"/>
                    <a:pt x="2048" y="33"/>
                    <a:pt x="2048" y="34"/>
                  </a:cubicBezTo>
                  <a:cubicBezTo>
                    <a:pt x="2049" y="35"/>
                    <a:pt x="2048" y="37"/>
                    <a:pt x="2047" y="37"/>
                  </a:cubicBezTo>
                  <a:close/>
                  <a:moveTo>
                    <a:pt x="1987" y="53"/>
                  </a:moveTo>
                  <a:lnTo>
                    <a:pt x="1953" y="62"/>
                  </a:lnTo>
                  <a:cubicBezTo>
                    <a:pt x="1951" y="63"/>
                    <a:pt x="1950" y="62"/>
                    <a:pt x="1950" y="61"/>
                  </a:cubicBezTo>
                  <a:cubicBezTo>
                    <a:pt x="1949" y="59"/>
                    <a:pt x="1950" y="58"/>
                    <a:pt x="1951" y="58"/>
                  </a:cubicBezTo>
                  <a:lnTo>
                    <a:pt x="1986" y="48"/>
                  </a:lnTo>
                  <a:cubicBezTo>
                    <a:pt x="1987" y="48"/>
                    <a:pt x="1989" y="49"/>
                    <a:pt x="1989" y="50"/>
                  </a:cubicBezTo>
                  <a:cubicBezTo>
                    <a:pt x="1989" y="51"/>
                    <a:pt x="1989" y="53"/>
                    <a:pt x="1987" y="53"/>
                  </a:cubicBezTo>
                  <a:close/>
                  <a:moveTo>
                    <a:pt x="1928" y="69"/>
                  </a:moveTo>
                  <a:lnTo>
                    <a:pt x="1899" y="77"/>
                  </a:lnTo>
                  <a:lnTo>
                    <a:pt x="1893" y="78"/>
                  </a:lnTo>
                  <a:cubicBezTo>
                    <a:pt x="1892" y="78"/>
                    <a:pt x="1890" y="78"/>
                    <a:pt x="1890" y="76"/>
                  </a:cubicBezTo>
                  <a:cubicBezTo>
                    <a:pt x="1890" y="75"/>
                    <a:pt x="1891" y="73"/>
                    <a:pt x="1892" y="73"/>
                  </a:cubicBezTo>
                  <a:lnTo>
                    <a:pt x="1898" y="72"/>
                  </a:lnTo>
                  <a:lnTo>
                    <a:pt x="1927" y="64"/>
                  </a:lnTo>
                  <a:cubicBezTo>
                    <a:pt x="1928" y="64"/>
                    <a:pt x="1929" y="65"/>
                    <a:pt x="1930" y="66"/>
                  </a:cubicBezTo>
                  <a:cubicBezTo>
                    <a:pt x="1930" y="67"/>
                    <a:pt x="1929" y="69"/>
                    <a:pt x="1928" y="69"/>
                  </a:cubicBezTo>
                  <a:close/>
                  <a:moveTo>
                    <a:pt x="1868" y="83"/>
                  </a:moveTo>
                  <a:lnTo>
                    <a:pt x="1833" y="91"/>
                  </a:lnTo>
                  <a:cubicBezTo>
                    <a:pt x="1832" y="91"/>
                    <a:pt x="1830" y="90"/>
                    <a:pt x="1830" y="89"/>
                  </a:cubicBezTo>
                  <a:cubicBezTo>
                    <a:pt x="1830" y="87"/>
                    <a:pt x="1831" y="86"/>
                    <a:pt x="1832" y="86"/>
                  </a:cubicBezTo>
                  <a:lnTo>
                    <a:pt x="1867" y="78"/>
                  </a:lnTo>
                  <a:cubicBezTo>
                    <a:pt x="1868" y="78"/>
                    <a:pt x="1870" y="79"/>
                    <a:pt x="1870" y="80"/>
                  </a:cubicBezTo>
                  <a:cubicBezTo>
                    <a:pt x="1870" y="82"/>
                    <a:pt x="1869" y="83"/>
                    <a:pt x="1868" y="83"/>
                  </a:cubicBezTo>
                  <a:close/>
                  <a:moveTo>
                    <a:pt x="1808" y="96"/>
                  </a:moveTo>
                  <a:lnTo>
                    <a:pt x="1773" y="103"/>
                  </a:lnTo>
                  <a:cubicBezTo>
                    <a:pt x="1771" y="104"/>
                    <a:pt x="1770" y="103"/>
                    <a:pt x="1770" y="101"/>
                  </a:cubicBezTo>
                  <a:cubicBezTo>
                    <a:pt x="1770" y="100"/>
                    <a:pt x="1770" y="99"/>
                    <a:pt x="1772" y="98"/>
                  </a:cubicBezTo>
                  <a:lnTo>
                    <a:pt x="1807" y="91"/>
                  </a:lnTo>
                  <a:cubicBezTo>
                    <a:pt x="1808" y="91"/>
                    <a:pt x="1810" y="92"/>
                    <a:pt x="1810" y="93"/>
                  </a:cubicBezTo>
                  <a:cubicBezTo>
                    <a:pt x="1810" y="94"/>
                    <a:pt x="1809" y="96"/>
                    <a:pt x="1808" y="96"/>
                  </a:cubicBezTo>
                  <a:close/>
                  <a:moveTo>
                    <a:pt x="1748" y="108"/>
                  </a:moveTo>
                  <a:lnTo>
                    <a:pt x="1713" y="116"/>
                  </a:lnTo>
                  <a:cubicBezTo>
                    <a:pt x="1711" y="116"/>
                    <a:pt x="1710" y="115"/>
                    <a:pt x="1710" y="114"/>
                  </a:cubicBezTo>
                  <a:cubicBezTo>
                    <a:pt x="1709" y="112"/>
                    <a:pt x="1710" y="111"/>
                    <a:pt x="1712" y="111"/>
                  </a:cubicBezTo>
                  <a:lnTo>
                    <a:pt x="1747" y="103"/>
                  </a:lnTo>
                  <a:cubicBezTo>
                    <a:pt x="1748" y="103"/>
                    <a:pt x="1749" y="104"/>
                    <a:pt x="1750" y="105"/>
                  </a:cubicBezTo>
                  <a:cubicBezTo>
                    <a:pt x="1750" y="107"/>
                    <a:pt x="1749" y="108"/>
                    <a:pt x="1748" y="108"/>
                  </a:cubicBezTo>
                  <a:close/>
                  <a:moveTo>
                    <a:pt x="1688" y="121"/>
                  </a:moveTo>
                  <a:lnTo>
                    <a:pt x="1653" y="128"/>
                  </a:lnTo>
                  <a:cubicBezTo>
                    <a:pt x="1651" y="129"/>
                    <a:pt x="1650" y="128"/>
                    <a:pt x="1650" y="126"/>
                  </a:cubicBezTo>
                  <a:cubicBezTo>
                    <a:pt x="1649" y="125"/>
                    <a:pt x="1650" y="124"/>
                    <a:pt x="1651" y="123"/>
                  </a:cubicBezTo>
                  <a:lnTo>
                    <a:pt x="1687" y="116"/>
                  </a:lnTo>
                  <a:cubicBezTo>
                    <a:pt x="1688" y="116"/>
                    <a:pt x="1689" y="117"/>
                    <a:pt x="1690" y="118"/>
                  </a:cubicBezTo>
                  <a:cubicBezTo>
                    <a:pt x="1690" y="119"/>
                    <a:pt x="1689" y="121"/>
                    <a:pt x="1688" y="121"/>
                  </a:cubicBezTo>
                  <a:close/>
                  <a:moveTo>
                    <a:pt x="1627" y="133"/>
                  </a:moveTo>
                  <a:lnTo>
                    <a:pt x="1592" y="138"/>
                  </a:lnTo>
                  <a:cubicBezTo>
                    <a:pt x="1590" y="139"/>
                    <a:pt x="1589" y="138"/>
                    <a:pt x="1589" y="136"/>
                  </a:cubicBezTo>
                  <a:cubicBezTo>
                    <a:pt x="1589" y="135"/>
                    <a:pt x="1590" y="134"/>
                    <a:pt x="1591" y="133"/>
                  </a:cubicBezTo>
                  <a:lnTo>
                    <a:pt x="1627" y="128"/>
                  </a:lnTo>
                  <a:cubicBezTo>
                    <a:pt x="1628" y="128"/>
                    <a:pt x="1629" y="129"/>
                    <a:pt x="1629" y="130"/>
                  </a:cubicBezTo>
                  <a:cubicBezTo>
                    <a:pt x="1630" y="132"/>
                    <a:pt x="1629" y="133"/>
                    <a:pt x="1627" y="133"/>
                  </a:cubicBezTo>
                  <a:close/>
                  <a:moveTo>
                    <a:pt x="1566" y="142"/>
                  </a:moveTo>
                  <a:lnTo>
                    <a:pt x="1531" y="147"/>
                  </a:lnTo>
                  <a:cubicBezTo>
                    <a:pt x="1530" y="147"/>
                    <a:pt x="1528" y="146"/>
                    <a:pt x="1528" y="145"/>
                  </a:cubicBezTo>
                  <a:cubicBezTo>
                    <a:pt x="1528" y="144"/>
                    <a:pt x="1529" y="142"/>
                    <a:pt x="1530" y="142"/>
                  </a:cubicBezTo>
                  <a:lnTo>
                    <a:pt x="1566" y="137"/>
                  </a:lnTo>
                  <a:cubicBezTo>
                    <a:pt x="1567" y="137"/>
                    <a:pt x="1568" y="138"/>
                    <a:pt x="1569" y="139"/>
                  </a:cubicBezTo>
                  <a:cubicBezTo>
                    <a:pt x="1569" y="141"/>
                    <a:pt x="1568" y="142"/>
                    <a:pt x="1566" y="142"/>
                  </a:cubicBezTo>
                  <a:close/>
                  <a:moveTo>
                    <a:pt x="1506" y="151"/>
                  </a:moveTo>
                  <a:lnTo>
                    <a:pt x="1470" y="156"/>
                  </a:lnTo>
                  <a:cubicBezTo>
                    <a:pt x="1469" y="156"/>
                    <a:pt x="1468" y="155"/>
                    <a:pt x="1467" y="154"/>
                  </a:cubicBezTo>
                  <a:cubicBezTo>
                    <a:pt x="1467" y="152"/>
                    <a:pt x="1468" y="151"/>
                    <a:pt x="1469" y="151"/>
                  </a:cubicBezTo>
                  <a:lnTo>
                    <a:pt x="1505" y="146"/>
                  </a:lnTo>
                  <a:cubicBezTo>
                    <a:pt x="1506" y="146"/>
                    <a:pt x="1508" y="147"/>
                    <a:pt x="1508" y="148"/>
                  </a:cubicBezTo>
                  <a:cubicBezTo>
                    <a:pt x="1508" y="149"/>
                    <a:pt x="1507" y="151"/>
                    <a:pt x="1506" y="151"/>
                  </a:cubicBezTo>
                  <a:close/>
                  <a:moveTo>
                    <a:pt x="1445" y="160"/>
                  </a:moveTo>
                  <a:lnTo>
                    <a:pt x="1409" y="165"/>
                  </a:lnTo>
                  <a:cubicBezTo>
                    <a:pt x="1408" y="165"/>
                    <a:pt x="1407" y="164"/>
                    <a:pt x="1406" y="162"/>
                  </a:cubicBezTo>
                  <a:cubicBezTo>
                    <a:pt x="1406" y="161"/>
                    <a:pt x="1407" y="160"/>
                    <a:pt x="1409" y="160"/>
                  </a:cubicBezTo>
                  <a:lnTo>
                    <a:pt x="1444" y="154"/>
                  </a:lnTo>
                  <a:cubicBezTo>
                    <a:pt x="1446" y="154"/>
                    <a:pt x="1447" y="155"/>
                    <a:pt x="1447" y="157"/>
                  </a:cubicBezTo>
                  <a:cubicBezTo>
                    <a:pt x="1447" y="158"/>
                    <a:pt x="1446" y="159"/>
                    <a:pt x="1445" y="160"/>
                  </a:cubicBezTo>
                  <a:close/>
                  <a:moveTo>
                    <a:pt x="1384" y="168"/>
                  </a:moveTo>
                  <a:lnTo>
                    <a:pt x="1358" y="172"/>
                  </a:lnTo>
                  <a:lnTo>
                    <a:pt x="1348" y="173"/>
                  </a:lnTo>
                  <a:cubicBezTo>
                    <a:pt x="1347" y="173"/>
                    <a:pt x="1346" y="172"/>
                    <a:pt x="1346" y="170"/>
                  </a:cubicBezTo>
                  <a:cubicBezTo>
                    <a:pt x="1345" y="169"/>
                    <a:pt x="1347" y="168"/>
                    <a:pt x="1348" y="168"/>
                  </a:cubicBezTo>
                  <a:lnTo>
                    <a:pt x="1357" y="167"/>
                  </a:lnTo>
                  <a:lnTo>
                    <a:pt x="1383" y="163"/>
                  </a:lnTo>
                  <a:cubicBezTo>
                    <a:pt x="1385" y="163"/>
                    <a:pt x="1386" y="164"/>
                    <a:pt x="1386" y="165"/>
                  </a:cubicBezTo>
                  <a:cubicBezTo>
                    <a:pt x="1386" y="167"/>
                    <a:pt x="1385" y="168"/>
                    <a:pt x="1384" y="168"/>
                  </a:cubicBezTo>
                  <a:close/>
                  <a:moveTo>
                    <a:pt x="1323" y="175"/>
                  </a:moveTo>
                  <a:lnTo>
                    <a:pt x="1287" y="178"/>
                  </a:lnTo>
                  <a:cubicBezTo>
                    <a:pt x="1286" y="178"/>
                    <a:pt x="1285" y="177"/>
                    <a:pt x="1284" y="176"/>
                  </a:cubicBezTo>
                  <a:cubicBezTo>
                    <a:pt x="1284" y="174"/>
                    <a:pt x="1285" y="173"/>
                    <a:pt x="1287" y="173"/>
                  </a:cubicBezTo>
                  <a:lnTo>
                    <a:pt x="1322" y="170"/>
                  </a:lnTo>
                  <a:cubicBezTo>
                    <a:pt x="1324" y="170"/>
                    <a:pt x="1325" y="171"/>
                    <a:pt x="1325" y="172"/>
                  </a:cubicBezTo>
                  <a:cubicBezTo>
                    <a:pt x="1325" y="174"/>
                    <a:pt x="1324" y="175"/>
                    <a:pt x="1323" y="175"/>
                  </a:cubicBezTo>
                  <a:close/>
                  <a:moveTo>
                    <a:pt x="1262" y="180"/>
                  </a:moveTo>
                  <a:lnTo>
                    <a:pt x="1226" y="183"/>
                  </a:lnTo>
                  <a:cubicBezTo>
                    <a:pt x="1225" y="183"/>
                    <a:pt x="1223" y="182"/>
                    <a:pt x="1223" y="181"/>
                  </a:cubicBezTo>
                  <a:cubicBezTo>
                    <a:pt x="1223" y="179"/>
                    <a:pt x="1224" y="178"/>
                    <a:pt x="1226" y="178"/>
                  </a:cubicBezTo>
                  <a:lnTo>
                    <a:pt x="1261" y="175"/>
                  </a:lnTo>
                  <a:cubicBezTo>
                    <a:pt x="1263" y="175"/>
                    <a:pt x="1264" y="176"/>
                    <a:pt x="1264" y="177"/>
                  </a:cubicBezTo>
                  <a:cubicBezTo>
                    <a:pt x="1264" y="179"/>
                    <a:pt x="1263" y="180"/>
                    <a:pt x="1262" y="180"/>
                  </a:cubicBezTo>
                  <a:close/>
                  <a:moveTo>
                    <a:pt x="1200" y="185"/>
                  </a:moveTo>
                  <a:lnTo>
                    <a:pt x="1165" y="188"/>
                  </a:lnTo>
                  <a:cubicBezTo>
                    <a:pt x="1163" y="188"/>
                    <a:pt x="1162" y="187"/>
                    <a:pt x="1162" y="186"/>
                  </a:cubicBezTo>
                  <a:cubicBezTo>
                    <a:pt x="1162" y="185"/>
                    <a:pt x="1163" y="183"/>
                    <a:pt x="1164" y="183"/>
                  </a:cubicBezTo>
                  <a:lnTo>
                    <a:pt x="1200" y="180"/>
                  </a:lnTo>
                  <a:cubicBezTo>
                    <a:pt x="1201" y="180"/>
                    <a:pt x="1203" y="181"/>
                    <a:pt x="1203" y="183"/>
                  </a:cubicBezTo>
                  <a:cubicBezTo>
                    <a:pt x="1203" y="184"/>
                    <a:pt x="1202" y="185"/>
                    <a:pt x="1200" y="185"/>
                  </a:cubicBezTo>
                  <a:close/>
                  <a:moveTo>
                    <a:pt x="1139" y="190"/>
                  </a:moveTo>
                  <a:lnTo>
                    <a:pt x="1103" y="193"/>
                  </a:lnTo>
                  <a:cubicBezTo>
                    <a:pt x="1102" y="194"/>
                    <a:pt x="1101" y="193"/>
                    <a:pt x="1101" y="191"/>
                  </a:cubicBezTo>
                  <a:cubicBezTo>
                    <a:pt x="1101" y="190"/>
                    <a:pt x="1102" y="188"/>
                    <a:pt x="1103" y="188"/>
                  </a:cubicBezTo>
                  <a:lnTo>
                    <a:pt x="1139" y="185"/>
                  </a:lnTo>
                  <a:cubicBezTo>
                    <a:pt x="1140" y="185"/>
                    <a:pt x="1141" y="186"/>
                    <a:pt x="1142" y="188"/>
                  </a:cubicBezTo>
                  <a:cubicBezTo>
                    <a:pt x="1142" y="189"/>
                    <a:pt x="1141" y="190"/>
                    <a:pt x="1139" y="190"/>
                  </a:cubicBezTo>
                  <a:close/>
                  <a:moveTo>
                    <a:pt x="1078" y="195"/>
                  </a:moveTo>
                  <a:lnTo>
                    <a:pt x="1042" y="196"/>
                  </a:lnTo>
                  <a:cubicBezTo>
                    <a:pt x="1041" y="196"/>
                    <a:pt x="1039" y="195"/>
                    <a:pt x="1039" y="193"/>
                  </a:cubicBezTo>
                  <a:cubicBezTo>
                    <a:pt x="1039" y="192"/>
                    <a:pt x="1040" y="191"/>
                    <a:pt x="1042" y="191"/>
                  </a:cubicBezTo>
                  <a:lnTo>
                    <a:pt x="1078" y="190"/>
                  </a:lnTo>
                  <a:cubicBezTo>
                    <a:pt x="1079" y="190"/>
                    <a:pt x="1080" y="191"/>
                    <a:pt x="1080" y="193"/>
                  </a:cubicBezTo>
                  <a:cubicBezTo>
                    <a:pt x="1080" y="194"/>
                    <a:pt x="1079" y="195"/>
                    <a:pt x="1078" y="195"/>
                  </a:cubicBezTo>
                  <a:close/>
                  <a:moveTo>
                    <a:pt x="1016" y="196"/>
                  </a:moveTo>
                  <a:lnTo>
                    <a:pt x="981" y="197"/>
                  </a:lnTo>
                  <a:cubicBezTo>
                    <a:pt x="979" y="197"/>
                    <a:pt x="978" y="196"/>
                    <a:pt x="978" y="194"/>
                  </a:cubicBezTo>
                  <a:cubicBezTo>
                    <a:pt x="978" y="193"/>
                    <a:pt x="979" y="192"/>
                    <a:pt x="980" y="192"/>
                  </a:cubicBezTo>
                  <a:lnTo>
                    <a:pt x="1016" y="191"/>
                  </a:lnTo>
                  <a:cubicBezTo>
                    <a:pt x="1018" y="191"/>
                    <a:pt x="1019" y="192"/>
                    <a:pt x="1019" y="194"/>
                  </a:cubicBezTo>
                  <a:cubicBezTo>
                    <a:pt x="1019" y="195"/>
                    <a:pt x="1018" y="196"/>
                    <a:pt x="1016" y="196"/>
                  </a:cubicBezTo>
                  <a:close/>
                  <a:moveTo>
                    <a:pt x="955" y="197"/>
                  </a:moveTo>
                  <a:lnTo>
                    <a:pt x="919" y="198"/>
                  </a:lnTo>
                  <a:cubicBezTo>
                    <a:pt x="918" y="198"/>
                    <a:pt x="917" y="197"/>
                    <a:pt x="917" y="196"/>
                  </a:cubicBezTo>
                  <a:cubicBezTo>
                    <a:pt x="916" y="194"/>
                    <a:pt x="918" y="193"/>
                    <a:pt x="919" y="193"/>
                  </a:cubicBezTo>
                  <a:lnTo>
                    <a:pt x="955" y="192"/>
                  </a:lnTo>
                  <a:cubicBezTo>
                    <a:pt x="956" y="192"/>
                    <a:pt x="957" y="193"/>
                    <a:pt x="957" y="195"/>
                  </a:cubicBezTo>
                  <a:cubicBezTo>
                    <a:pt x="957" y="196"/>
                    <a:pt x="956" y="197"/>
                    <a:pt x="955" y="197"/>
                  </a:cubicBezTo>
                  <a:close/>
                  <a:moveTo>
                    <a:pt x="894" y="199"/>
                  </a:moveTo>
                  <a:lnTo>
                    <a:pt x="858" y="199"/>
                  </a:lnTo>
                  <a:cubicBezTo>
                    <a:pt x="856" y="199"/>
                    <a:pt x="855" y="198"/>
                    <a:pt x="855" y="197"/>
                  </a:cubicBezTo>
                  <a:cubicBezTo>
                    <a:pt x="855" y="195"/>
                    <a:pt x="856" y="194"/>
                    <a:pt x="858" y="194"/>
                  </a:cubicBezTo>
                  <a:lnTo>
                    <a:pt x="893" y="193"/>
                  </a:lnTo>
                  <a:cubicBezTo>
                    <a:pt x="895" y="193"/>
                    <a:pt x="896" y="194"/>
                    <a:pt x="896" y="196"/>
                  </a:cubicBezTo>
                  <a:cubicBezTo>
                    <a:pt x="896" y="197"/>
                    <a:pt x="895" y="198"/>
                    <a:pt x="894" y="199"/>
                  </a:cubicBezTo>
                  <a:close/>
                  <a:moveTo>
                    <a:pt x="832" y="200"/>
                  </a:moveTo>
                  <a:lnTo>
                    <a:pt x="811" y="200"/>
                  </a:lnTo>
                  <a:lnTo>
                    <a:pt x="796" y="200"/>
                  </a:lnTo>
                  <a:cubicBezTo>
                    <a:pt x="795" y="199"/>
                    <a:pt x="794" y="198"/>
                    <a:pt x="794" y="197"/>
                  </a:cubicBezTo>
                  <a:cubicBezTo>
                    <a:pt x="794" y="195"/>
                    <a:pt x="795" y="194"/>
                    <a:pt x="796" y="194"/>
                  </a:cubicBezTo>
                  <a:lnTo>
                    <a:pt x="810" y="195"/>
                  </a:lnTo>
                  <a:lnTo>
                    <a:pt x="832" y="195"/>
                  </a:lnTo>
                  <a:cubicBezTo>
                    <a:pt x="833" y="194"/>
                    <a:pt x="835" y="196"/>
                    <a:pt x="835" y="197"/>
                  </a:cubicBezTo>
                  <a:cubicBezTo>
                    <a:pt x="835" y="198"/>
                    <a:pt x="834" y="200"/>
                    <a:pt x="832" y="200"/>
                  </a:cubicBezTo>
                  <a:close/>
                  <a:moveTo>
                    <a:pt x="771" y="199"/>
                  </a:moveTo>
                  <a:lnTo>
                    <a:pt x="735" y="197"/>
                  </a:lnTo>
                  <a:cubicBezTo>
                    <a:pt x="733" y="197"/>
                    <a:pt x="732" y="196"/>
                    <a:pt x="732" y="195"/>
                  </a:cubicBezTo>
                  <a:cubicBezTo>
                    <a:pt x="732" y="193"/>
                    <a:pt x="734" y="192"/>
                    <a:pt x="735" y="192"/>
                  </a:cubicBezTo>
                  <a:lnTo>
                    <a:pt x="771" y="193"/>
                  </a:lnTo>
                  <a:cubicBezTo>
                    <a:pt x="772" y="194"/>
                    <a:pt x="773" y="195"/>
                    <a:pt x="773" y="196"/>
                  </a:cubicBezTo>
                  <a:cubicBezTo>
                    <a:pt x="773" y="198"/>
                    <a:pt x="772" y="199"/>
                    <a:pt x="771" y="199"/>
                  </a:cubicBezTo>
                  <a:close/>
                  <a:moveTo>
                    <a:pt x="709" y="196"/>
                  </a:moveTo>
                  <a:lnTo>
                    <a:pt x="673" y="195"/>
                  </a:lnTo>
                  <a:cubicBezTo>
                    <a:pt x="672" y="195"/>
                    <a:pt x="671" y="194"/>
                    <a:pt x="671" y="192"/>
                  </a:cubicBezTo>
                  <a:cubicBezTo>
                    <a:pt x="671" y="191"/>
                    <a:pt x="672" y="190"/>
                    <a:pt x="674" y="190"/>
                  </a:cubicBezTo>
                  <a:lnTo>
                    <a:pt x="709" y="191"/>
                  </a:lnTo>
                  <a:cubicBezTo>
                    <a:pt x="711" y="191"/>
                    <a:pt x="712" y="192"/>
                    <a:pt x="712" y="194"/>
                  </a:cubicBezTo>
                  <a:cubicBezTo>
                    <a:pt x="712" y="195"/>
                    <a:pt x="711" y="196"/>
                    <a:pt x="709" y="196"/>
                  </a:cubicBezTo>
                  <a:close/>
                  <a:moveTo>
                    <a:pt x="648" y="194"/>
                  </a:moveTo>
                  <a:lnTo>
                    <a:pt x="612" y="193"/>
                  </a:lnTo>
                  <a:cubicBezTo>
                    <a:pt x="611" y="193"/>
                    <a:pt x="609" y="192"/>
                    <a:pt x="609" y="190"/>
                  </a:cubicBezTo>
                  <a:cubicBezTo>
                    <a:pt x="610" y="189"/>
                    <a:pt x="611" y="188"/>
                    <a:pt x="612" y="188"/>
                  </a:cubicBezTo>
                  <a:lnTo>
                    <a:pt x="648" y="189"/>
                  </a:lnTo>
                  <a:cubicBezTo>
                    <a:pt x="649" y="189"/>
                    <a:pt x="650" y="190"/>
                    <a:pt x="650" y="192"/>
                  </a:cubicBezTo>
                  <a:cubicBezTo>
                    <a:pt x="650" y="193"/>
                    <a:pt x="649" y="194"/>
                    <a:pt x="648" y="194"/>
                  </a:cubicBezTo>
                  <a:close/>
                  <a:moveTo>
                    <a:pt x="586" y="192"/>
                  </a:moveTo>
                  <a:lnTo>
                    <a:pt x="551" y="191"/>
                  </a:lnTo>
                  <a:cubicBezTo>
                    <a:pt x="549" y="190"/>
                    <a:pt x="548" y="189"/>
                    <a:pt x="548" y="188"/>
                  </a:cubicBezTo>
                  <a:cubicBezTo>
                    <a:pt x="548" y="186"/>
                    <a:pt x="549" y="185"/>
                    <a:pt x="551" y="185"/>
                  </a:cubicBezTo>
                  <a:lnTo>
                    <a:pt x="587" y="187"/>
                  </a:lnTo>
                  <a:cubicBezTo>
                    <a:pt x="588" y="187"/>
                    <a:pt x="589" y="188"/>
                    <a:pt x="589" y="189"/>
                  </a:cubicBezTo>
                  <a:cubicBezTo>
                    <a:pt x="589" y="191"/>
                    <a:pt x="588" y="192"/>
                    <a:pt x="586" y="192"/>
                  </a:cubicBezTo>
                  <a:close/>
                  <a:moveTo>
                    <a:pt x="525" y="189"/>
                  </a:moveTo>
                  <a:lnTo>
                    <a:pt x="489" y="185"/>
                  </a:lnTo>
                  <a:cubicBezTo>
                    <a:pt x="488" y="185"/>
                    <a:pt x="487" y="184"/>
                    <a:pt x="487" y="182"/>
                  </a:cubicBezTo>
                  <a:cubicBezTo>
                    <a:pt x="487" y="181"/>
                    <a:pt x="488" y="180"/>
                    <a:pt x="490" y="180"/>
                  </a:cubicBezTo>
                  <a:lnTo>
                    <a:pt x="525" y="184"/>
                  </a:lnTo>
                  <a:cubicBezTo>
                    <a:pt x="527" y="184"/>
                    <a:pt x="528" y="185"/>
                    <a:pt x="528" y="187"/>
                  </a:cubicBezTo>
                  <a:cubicBezTo>
                    <a:pt x="528" y="188"/>
                    <a:pt x="526" y="189"/>
                    <a:pt x="525" y="189"/>
                  </a:cubicBezTo>
                  <a:close/>
                  <a:moveTo>
                    <a:pt x="464" y="183"/>
                  </a:moveTo>
                  <a:lnTo>
                    <a:pt x="428" y="179"/>
                  </a:lnTo>
                  <a:cubicBezTo>
                    <a:pt x="427" y="179"/>
                    <a:pt x="426" y="178"/>
                    <a:pt x="426" y="176"/>
                  </a:cubicBezTo>
                  <a:cubicBezTo>
                    <a:pt x="426" y="175"/>
                    <a:pt x="427" y="174"/>
                    <a:pt x="429" y="174"/>
                  </a:cubicBezTo>
                  <a:lnTo>
                    <a:pt x="464" y="178"/>
                  </a:lnTo>
                  <a:cubicBezTo>
                    <a:pt x="466" y="178"/>
                    <a:pt x="467" y="179"/>
                    <a:pt x="467" y="180"/>
                  </a:cubicBezTo>
                  <a:cubicBezTo>
                    <a:pt x="466" y="182"/>
                    <a:pt x="465" y="183"/>
                    <a:pt x="464" y="183"/>
                  </a:cubicBezTo>
                  <a:close/>
                  <a:moveTo>
                    <a:pt x="403" y="176"/>
                  </a:moveTo>
                  <a:lnTo>
                    <a:pt x="367" y="173"/>
                  </a:lnTo>
                  <a:cubicBezTo>
                    <a:pt x="366" y="173"/>
                    <a:pt x="365" y="171"/>
                    <a:pt x="365" y="170"/>
                  </a:cubicBezTo>
                  <a:cubicBezTo>
                    <a:pt x="365" y="169"/>
                    <a:pt x="366" y="167"/>
                    <a:pt x="368" y="168"/>
                  </a:cubicBezTo>
                  <a:lnTo>
                    <a:pt x="403" y="171"/>
                  </a:lnTo>
                  <a:cubicBezTo>
                    <a:pt x="405" y="171"/>
                    <a:pt x="406" y="173"/>
                    <a:pt x="405" y="174"/>
                  </a:cubicBezTo>
                  <a:cubicBezTo>
                    <a:pt x="405" y="175"/>
                    <a:pt x="404" y="177"/>
                    <a:pt x="403" y="176"/>
                  </a:cubicBezTo>
                  <a:close/>
                  <a:moveTo>
                    <a:pt x="342" y="170"/>
                  </a:moveTo>
                  <a:lnTo>
                    <a:pt x="306" y="166"/>
                  </a:lnTo>
                  <a:cubicBezTo>
                    <a:pt x="304" y="166"/>
                    <a:pt x="303" y="165"/>
                    <a:pt x="304" y="164"/>
                  </a:cubicBezTo>
                  <a:cubicBezTo>
                    <a:pt x="304" y="162"/>
                    <a:pt x="305" y="161"/>
                    <a:pt x="306" y="161"/>
                  </a:cubicBezTo>
                  <a:lnTo>
                    <a:pt x="306" y="161"/>
                  </a:lnTo>
                  <a:lnTo>
                    <a:pt x="342" y="165"/>
                  </a:lnTo>
                  <a:cubicBezTo>
                    <a:pt x="343" y="165"/>
                    <a:pt x="344" y="166"/>
                    <a:pt x="344" y="168"/>
                  </a:cubicBezTo>
                  <a:cubicBezTo>
                    <a:pt x="344" y="169"/>
                    <a:pt x="343" y="170"/>
                    <a:pt x="342" y="170"/>
                  </a:cubicBezTo>
                  <a:close/>
                  <a:moveTo>
                    <a:pt x="280" y="164"/>
                  </a:moveTo>
                  <a:lnTo>
                    <a:pt x="262" y="162"/>
                  </a:lnTo>
                  <a:lnTo>
                    <a:pt x="245" y="159"/>
                  </a:lnTo>
                  <a:cubicBezTo>
                    <a:pt x="243" y="159"/>
                    <a:pt x="242" y="158"/>
                    <a:pt x="243" y="156"/>
                  </a:cubicBezTo>
                  <a:cubicBezTo>
                    <a:pt x="243" y="155"/>
                    <a:pt x="244" y="154"/>
                    <a:pt x="246" y="154"/>
                  </a:cubicBezTo>
                  <a:lnTo>
                    <a:pt x="263" y="157"/>
                  </a:lnTo>
                  <a:lnTo>
                    <a:pt x="281" y="159"/>
                  </a:lnTo>
                  <a:cubicBezTo>
                    <a:pt x="282" y="159"/>
                    <a:pt x="283" y="160"/>
                    <a:pt x="283" y="162"/>
                  </a:cubicBezTo>
                  <a:cubicBezTo>
                    <a:pt x="283" y="163"/>
                    <a:pt x="282" y="164"/>
                    <a:pt x="280" y="164"/>
                  </a:cubicBezTo>
                  <a:close/>
                  <a:moveTo>
                    <a:pt x="219" y="155"/>
                  </a:moveTo>
                  <a:lnTo>
                    <a:pt x="184" y="149"/>
                  </a:lnTo>
                  <a:cubicBezTo>
                    <a:pt x="183" y="149"/>
                    <a:pt x="182" y="148"/>
                    <a:pt x="182" y="146"/>
                  </a:cubicBezTo>
                  <a:cubicBezTo>
                    <a:pt x="182" y="145"/>
                    <a:pt x="184" y="144"/>
                    <a:pt x="185" y="144"/>
                  </a:cubicBezTo>
                  <a:lnTo>
                    <a:pt x="220" y="150"/>
                  </a:lnTo>
                  <a:cubicBezTo>
                    <a:pt x="222" y="150"/>
                    <a:pt x="223" y="152"/>
                    <a:pt x="222" y="153"/>
                  </a:cubicBezTo>
                  <a:cubicBezTo>
                    <a:pt x="222" y="154"/>
                    <a:pt x="221" y="155"/>
                    <a:pt x="219" y="155"/>
                  </a:cubicBezTo>
                  <a:close/>
                  <a:moveTo>
                    <a:pt x="159" y="145"/>
                  </a:moveTo>
                  <a:lnTo>
                    <a:pt x="123" y="140"/>
                  </a:lnTo>
                  <a:cubicBezTo>
                    <a:pt x="122" y="139"/>
                    <a:pt x="121" y="138"/>
                    <a:pt x="121" y="137"/>
                  </a:cubicBezTo>
                  <a:cubicBezTo>
                    <a:pt x="122" y="135"/>
                    <a:pt x="123" y="134"/>
                    <a:pt x="124" y="135"/>
                  </a:cubicBezTo>
                  <a:lnTo>
                    <a:pt x="160" y="140"/>
                  </a:lnTo>
                  <a:cubicBezTo>
                    <a:pt x="161" y="140"/>
                    <a:pt x="162" y="142"/>
                    <a:pt x="162" y="143"/>
                  </a:cubicBezTo>
                  <a:cubicBezTo>
                    <a:pt x="162" y="145"/>
                    <a:pt x="160" y="146"/>
                    <a:pt x="159" y="145"/>
                  </a:cubicBezTo>
                  <a:close/>
                  <a:moveTo>
                    <a:pt x="98" y="135"/>
                  </a:moveTo>
                  <a:lnTo>
                    <a:pt x="63" y="130"/>
                  </a:lnTo>
                  <a:cubicBezTo>
                    <a:pt x="61" y="130"/>
                    <a:pt x="60" y="128"/>
                    <a:pt x="61" y="127"/>
                  </a:cubicBezTo>
                  <a:cubicBezTo>
                    <a:pt x="61" y="125"/>
                    <a:pt x="62" y="124"/>
                    <a:pt x="64" y="125"/>
                  </a:cubicBezTo>
                  <a:lnTo>
                    <a:pt x="99" y="130"/>
                  </a:lnTo>
                  <a:cubicBezTo>
                    <a:pt x="100" y="131"/>
                    <a:pt x="101" y="132"/>
                    <a:pt x="101" y="133"/>
                  </a:cubicBezTo>
                  <a:cubicBezTo>
                    <a:pt x="101" y="135"/>
                    <a:pt x="100" y="136"/>
                    <a:pt x="98" y="135"/>
                  </a:cubicBezTo>
                  <a:close/>
                  <a:moveTo>
                    <a:pt x="38" y="126"/>
                  </a:moveTo>
                  <a:lnTo>
                    <a:pt x="2" y="120"/>
                  </a:lnTo>
                  <a:cubicBezTo>
                    <a:pt x="1" y="120"/>
                    <a:pt x="0" y="118"/>
                    <a:pt x="0" y="117"/>
                  </a:cubicBezTo>
                  <a:cubicBezTo>
                    <a:pt x="0" y="116"/>
                    <a:pt x="2" y="115"/>
                    <a:pt x="3" y="115"/>
                  </a:cubicBezTo>
                  <a:lnTo>
                    <a:pt x="38" y="121"/>
                  </a:lnTo>
                  <a:cubicBezTo>
                    <a:pt x="40" y="121"/>
                    <a:pt x="41" y="122"/>
                    <a:pt x="40" y="124"/>
                  </a:cubicBezTo>
                  <a:cubicBezTo>
                    <a:pt x="40" y="125"/>
                    <a:pt x="39" y="126"/>
                    <a:pt x="38" y="126"/>
                  </a:cubicBezTo>
                  <a:close/>
                </a:path>
              </a:pathLst>
            </a:custGeom>
            <a:solidFill>
              <a:srgbClr val="0000CC"/>
            </a:solidFill>
            <a:ln w="0" cap="flat">
              <a:solidFill>
                <a:srgbClr val="0000C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8">
              <a:extLst>
                <a:ext uri="{FF2B5EF4-FFF2-40B4-BE49-F238E27FC236}">
                  <a16:creationId xmlns:a16="http://schemas.microsoft.com/office/drawing/2014/main" id="{113A439A-AE63-483C-9AEC-020A076BBEA0}"/>
                </a:ext>
              </a:extLst>
            </p:cNvPr>
            <p:cNvSpPr>
              <a:spLocks/>
            </p:cNvSpPr>
            <p:nvPr/>
          </p:nvSpPr>
          <p:spPr bwMode="auto">
            <a:xfrm>
              <a:off x="4940" y="2969"/>
              <a:ext cx="57" cy="52"/>
            </a:xfrm>
            <a:custGeom>
              <a:avLst/>
              <a:gdLst>
                <a:gd name="T0" fmla="*/ 46 w 57"/>
                <a:gd name="T1" fmla="*/ 52 h 52"/>
                <a:gd name="T2" fmla="*/ 0 w 57"/>
                <a:gd name="T3" fmla="*/ 16 h 52"/>
                <a:gd name="T4" fmla="*/ 57 w 57"/>
                <a:gd name="T5" fmla="*/ 0 h 52"/>
                <a:gd name="T6" fmla="*/ 46 w 57"/>
                <a:gd name="T7" fmla="*/ 52 h 52"/>
              </a:gdLst>
              <a:ahLst/>
              <a:cxnLst>
                <a:cxn ang="0">
                  <a:pos x="T0" y="T1"/>
                </a:cxn>
                <a:cxn ang="0">
                  <a:pos x="T2" y="T3"/>
                </a:cxn>
                <a:cxn ang="0">
                  <a:pos x="T4" y="T5"/>
                </a:cxn>
                <a:cxn ang="0">
                  <a:pos x="T6" y="T7"/>
                </a:cxn>
              </a:cxnLst>
              <a:rect l="0" t="0" r="r" b="b"/>
              <a:pathLst>
                <a:path w="57" h="52">
                  <a:moveTo>
                    <a:pt x="46" y="52"/>
                  </a:moveTo>
                  <a:lnTo>
                    <a:pt x="0" y="16"/>
                  </a:lnTo>
                  <a:lnTo>
                    <a:pt x="57" y="0"/>
                  </a:lnTo>
                  <a:lnTo>
                    <a:pt x="46" y="52"/>
                  </a:lnTo>
                  <a:close/>
                </a:path>
              </a:pathLst>
            </a:custGeom>
            <a:solidFill>
              <a:srgbClr val="000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9">
              <a:extLst>
                <a:ext uri="{FF2B5EF4-FFF2-40B4-BE49-F238E27FC236}">
                  <a16:creationId xmlns:a16="http://schemas.microsoft.com/office/drawing/2014/main" id="{63F8C13F-B26A-4B0D-9160-AD0057AAC4A6}"/>
                </a:ext>
              </a:extLst>
            </p:cNvPr>
            <p:cNvSpPr>
              <a:spLocks noChangeArrowheads="1"/>
            </p:cNvSpPr>
            <p:nvPr/>
          </p:nvSpPr>
          <p:spPr bwMode="auto">
            <a:xfrm>
              <a:off x="5270" y="2960"/>
              <a:ext cx="362" cy="1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70">
              <a:extLst>
                <a:ext uri="{FF2B5EF4-FFF2-40B4-BE49-F238E27FC236}">
                  <a16:creationId xmlns:a16="http://schemas.microsoft.com/office/drawing/2014/main" id="{16A40577-4E4B-4032-B112-23EF69D96976}"/>
                </a:ext>
              </a:extLst>
            </p:cNvPr>
            <p:cNvSpPr>
              <a:spLocks noEditPoints="1"/>
            </p:cNvSpPr>
            <p:nvPr/>
          </p:nvSpPr>
          <p:spPr bwMode="auto">
            <a:xfrm>
              <a:off x="5275" y="2973"/>
              <a:ext cx="357" cy="40"/>
            </a:xfrm>
            <a:custGeom>
              <a:avLst/>
              <a:gdLst>
                <a:gd name="T0" fmla="*/ 48 w 796"/>
                <a:gd name="T1" fmla="*/ 86 h 89"/>
                <a:gd name="T2" fmla="*/ 1 w 796"/>
                <a:gd name="T3" fmla="*/ 87 h 89"/>
                <a:gd name="T4" fmla="*/ 10 w 796"/>
                <a:gd name="T5" fmla="*/ 7 h 89"/>
                <a:gd name="T6" fmla="*/ 53 w 796"/>
                <a:gd name="T7" fmla="*/ 6 h 89"/>
                <a:gd name="T8" fmla="*/ 117 w 796"/>
                <a:gd name="T9" fmla="*/ 88 h 89"/>
                <a:gd name="T10" fmla="*/ 77 w 796"/>
                <a:gd name="T11" fmla="*/ 79 h 89"/>
                <a:gd name="T12" fmla="*/ 108 w 796"/>
                <a:gd name="T13" fmla="*/ 39 h 89"/>
                <a:gd name="T14" fmla="*/ 78 w 796"/>
                <a:gd name="T15" fmla="*/ 39 h 89"/>
                <a:gd name="T16" fmla="*/ 116 w 796"/>
                <a:gd name="T17" fmla="*/ 32 h 89"/>
                <a:gd name="T18" fmla="*/ 86 w 796"/>
                <a:gd name="T19" fmla="*/ 71 h 89"/>
                <a:gd name="T20" fmla="*/ 189 w 796"/>
                <a:gd name="T21" fmla="*/ 88 h 89"/>
                <a:gd name="T22" fmla="*/ 175 w 796"/>
                <a:gd name="T23" fmla="*/ 37 h 89"/>
                <a:gd name="T24" fmla="*/ 146 w 796"/>
                <a:gd name="T25" fmla="*/ 88 h 89"/>
                <a:gd name="T26" fmla="*/ 150 w 796"/>
                <a:gd name="T27" fmla="*/ 28 h 89"/>
                <a:gd name="T28" fmla="*/ 190 w 796"/>
                <a:gd name="T29" fmla="*/ 41 h 89"/>
                <a:gd name="T30" fmla="*/ 247 w 796"/>
                <a:gd name="T31" fmla="*/ 87 h 89"/>
                <a:gd name="T32" fmla="*/ 203 w 796"/>
                <a:gd name="T33" fmla="*/ 58 h 89"/>
                <a:gd name="T34" fmla="*/ 246 w 796"/>
                <a:gd name="T35" fmla="*/ 1 h 89"/>
                <a:gd name="T36" fmla="*/ 237 w 796"/>
                <a:gd name="T37" fmla="*/ 38 h 89"/>
                <a:gd name="T38" fmla="*/ 228 w 796"/>
                <a:gd name="T39" fmla="*/ 80 h 89"/>
                <a:gd name="T40" fmla="*/ 279 w 796"/>
                <a:gd name="T41" fmla="*/ 88 h 89"/>
                <a:gd name="T42" fmla="*/ 274 w 796"/>
                <a:gd name="T43" fmla="*/ 1 h 89"/>
                <a:gd name="T44" fmla="*/ 347 w 796"/>
                <a:gd name="T45" fmla="*/ 60 h 89"/>
                <a:gd name="T46" fmla="*/ 347 w 796"/>
                <a:gd name="T47" fmla="*/ 76 h 89"/>
                <a:gd name="T48" fmla="*/ 346 w 796"/>
                <a:gd name="T49" fmla="*/ 85 h 89"/>
                <a:gd name="T50" fmla="*/ 307 w 796"/>
                <a:gd name="T51" fmla="*/ 35 h 89"/>
                <a:gd name="T52" fmla="*/ 337 w 796"/>
                <a:gd name="T53" fmla="*/ 40 h 89"/>
                <a:gd name="T54" fmla="*/ 442 w 796"/>
                <a:gd name="T55" fmla="*/ 50 h 89"/>
                <a:gd name="T56" fmla="*/ 403 w 796"/>
                <a:gd name="T57" fmla="*/ 88 h 89"/>
                <a:gd name="T58" fmla="*/ 433 w 796"/>
                <a:gd name="T59" fmla="*/ 8 h 89"/>
                <a:gd name="T60" fmla="*/ 421 w 796"/>
                <a:gd name="T61" fmla="*/ 15 h 89"/>
                <a:gd name="T62" fmla="*/ 496 w 796"/>
                <a:gd name="T63" fmla="*/ 36 h 89"/>
                <a:gd name="T64" fmla="*/ 481 w 796"/>
                <a:gd name="T65" fmla="*/ 39 h 89"/>
                <a:gd name="T66" fmla="*/ 464 w 796"/>
                <a:gd name="T67" fmla="*/ 87 h 89"/>
                <a:gd name="T68" fmla="*/ 471 w 796"/>
                <a:gd name="T69" fmla="*/ 28 h 89"/>
                <a:gd name="T70" fmla="*/ 492 w 796"/>
                <a:gd name="T71" fmla="*/ 27 h 89"/>
                <a:gd name="T72" fmla="*/ 556 w 796"/>
                <a:gd name="T73" fmla="*/ 80 h 89"/>
                <a:gd name="T74" fmla="*/ 523 w 796"/>
                <a:gd name="T75" fmla="*/ 29 h 89"/>
                <a:gd name="T76" fmla="*/ 544 w 796"/>
                <a:gd name="T77" fmla="*/ 37 h 89"/>
                <a:gd name="T78" fmla="*/ 535 w 796"/>
                <a:gd name="T79" fmla="*/ 80 h 89"/>
                <a:gd name="T80" fmla="*/ 619 w 796"/>
                <a:gd name="T81" fmla="*/ 88 h 89"/>
                <a:gd name="T82" fmla="*/ 577 w 796"/>
                <a:gd name="T83" fmla="*/ 80 h 89"/>
                <a:gd name="T84" fmla="*/ 613 w 796"/>
                <a:gd name="T85" fmla="*/ 3 h 89"/>
                <a:gd name="T86" fmla="*/ 623 w 796"/>
                <a:gd name="T87" fmla="*/ 86 h 89"/>
                <a:gd name="T88" fmla="*/ 585 w 796"/>
                <a:gd name="T89" fmla="*/ 73 h 89"/>
                <a:gd name="T90" fmla="*/ 687 w 796"/>
                <a:gd name="T91" fmla="*/ 87 h 89"/>
                <a:gd name="T92" fmla="*/ 668 w 796"/>
                <a:gd name="T93" fmla="*/ 86 h 89"/>
                <a:gd name="T94" fmla="*/ 641 w 796"/>
                <a:gd name="T95" fmla="*/ 28 h 89"/>
                <a:gd name="T96" fmla="*/ 656 w 796"/>
                <a:gd name="T97" fmla="*/ 79 h 89"/>
                <a:gd name="T98" fmla="*/ 685 w 796"/>
                <a:gd name="T99" fmla="*/ 28 h 89"/>
                <a:gd name="T100" fmla="*/ 742 w 796"/>
                <a:gd name="T101" fmla="*/ 83 h 89"/>
                <a:gd name="T102" fmla="*/ 701 w 796"/>
                <a:gd name="T103" fmla="*/ 44 h 89"/>
                <a:gd name="T104" fmla="*/ 743 w 796"/>
                <a:gd name="T105" fmla="*/ 35 h 89"/>
                <a:gd name="T106" fmla="*/ 714 w 796"/>
                <a:gd name="T107" fmla="*/ 41 h 89"/>
                <a:gd name="T108" fmla="*/ 742 w 796"/>
                <a:gd name="T109" fmla="*/ 73 h 89"/>
                <a:gd name="T110" fmla="*/ 792 w 796"/>
                <a:gd name="T111" fmla="*/ 88 h 89"/>
                <a:gd name="T112" fmla="*/ 760 w 796"/>
                <a:gd name="T113" fmla="*/ 36 h 89"/>
                <a:gd name="T114" fmla="*/ 771 w 796"/>
                <a:gd name="T115" fmla="*/ 13 h 89"/>
                <a:gd name="T116" fmla="*/ 795 w 796"/>
                <a:gd name="T117" fmla="*/ 28 h 89"/>
                <a:gd name="T118" fmla="*/ 788 w 796"/>
                <a:gd name="T119" fmla="*/ 8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89">
                  <a:moveTo>
                    <a:pt x="58" y="86"/>
                  </a:moveTo>
                  <a:cubicBezTo>
                    <a:pt x="58" y="86"/>
                    <a:pt x="58" y="86"/>
                    <a:pt x="58" y="87"/>
                  </a:cubicBezTo>
                  <a:cubicBezTo>
                    <a:pt x="58" y="87"/>
                    <a:pt x="58" y="87"/>
                    <a:pt x="57" y="87"/>
                  </a:cubicBezTo>
                  <a:cubicBezTo>
                    <a:pt x="57" y="87"/>
                    <a:pt x="56" y="88"/>
                    <a:pt x="56" y="88"/>
                  </a:cubicBezTo>
                  <a:cubicBezTo>
                    <a:pt x="55" y="88"/>
                    <a:pt x="54" y="88"/>
                    <a:pt x="53" y="88"/>
                  </a:cubicBezTo>
                  <a:cubicBezTo>
                    <a:pt x="52" y="88"/>
                    <a:pt x="51" y="88"/>
                    <a:pt x="51" y="88"/>
                  </a:cubicBezTo>
                  <a:cubicBezTo>
                    <a:pt x="50" y="88"/>
                    <a:pt x="49" y="87"/>
                    <a:pt x="49" y="87"/>
                  </a:cubicBezTo>
                  <a:cubicBezTo>
                    <a:pt x="49" y="87"/>
                    <a:pt x="48" y="87"/>
                    <a:pt x="48" y="87"/>
                  </a:cubicBezTo>
                  <a:cubicBezTo>
                    <a:pt x="48" y="86"/>
                    <a:pt x="48" y="86"/>
                    <a:pt x="48" y="86"/>
                  </a:cubicBezTo>
                  <a:lnTo>
                    <a:pt x="48" y="50"/>
                  </a:lnTo>
                  <a:lnTo>
                    <a:pt x="11" y="50"/>
                  </a:lnTo>
                  <a:lnTo>
                    <a:pt x="11" y="86"/>
                  </a:lnTo>
                  <a:cubicBezTo>
                    <a:pt x="11" y="86"/>
                    <a:pt x="11" y="86"/>
                    <a:pt x="11" y="87"/>
                  </a:cubicBezTo>
                  <a:cubicBezTo>
                    <a:pt x="11" y="87"/>
                    <a:pt x="10" y="87"/>
                    <a:pt x="10" y="87"/>
                  </a:cubicBezTo>
                  <a:cubicBezTo>
                    <a:pt x="9" y="87"/>
                    <a:pt x="9" y="88"/>
                    <a:pt x="8" y="88"/>
                  </a:cubicBezTo>
                  <a:cubicBezTo>
                    <a:pt x="8" y="88"/>
                    <a:pt x="7" y="88"/>
                    <a:pt x="6" y="88"/>
                  </a:cubicBezTo>
                  <a:cubicBezTo>
                    <a:pt x="5" y="88"/>
                    <a:pt x="4" y="88"/>
                    <a:pt x="3" y="88"/>
                  </a:cubicBezTo>
                  <a:cubicBezTo>
                    <a:pt x="2" y="88"/>
                    <a:pt x="2" y="87"/>
                    <a:pt x="1" y="87"/>
                  </a:cubicBezTo>
                  <a:cubicBezTo>
                    <a:pt x="1" y="87"/>
                    <a:pt x="1" y="87"/>
                    <a:pt x="0" y="87"/>
                  </a:cubicBezTo>
                  <a:cubicBezTo>
                    <a:pt x="0" y="86"/>
                    <a:pt x="0" y="86"/>
                    <a:pt x="0" y="86"/>
                  </a:cubicBezTo>
                  <a:lnTo>
                    <a:pt x="0" y="8"/>
                  </a:lnTo>
                  <a:cubicBezTo>
                    <a:pt x="0" y="8"/>
                    <a:pt x="0" y="8"/>
                    <a:pt x="0" y="7"/>
                  </a:cubicBezTo>
                  <a:cubicBezTo>
                    <a:pt x="1" y="7"/>
                    <a:pt x="1" y="7"/>
                    <a:pt x="1" y="7"/>
                  </a:cubicBezTo>
                  <a:cubicBezTo>
                    <a:pt x="2" y="7"/>
                    <a:pt x="2" y="6"/>
                    <a:pt x="3" y="6"/>
                  </a:cubicBezTo>
                  <a:cubicBezTo>
                    <a:pt x="4" y="6"/>
                    <a:pt x="5" y="6"/>
                    <a:pt x="6" y="6"/>
                  </a:cubicBezTo>
                  <a:cubicBezTo>
                    <a:pt x="7" y="6"/>
                    <a:pt x="8" y="6"/>
                    <a:pt x="8" y="6"/>
                  </a:cubicBezTo>
                  <a:cubicBezTo>
                    <a:pt x="9" y="6"/>
                    <a:pt x="9" y="7"/>
                    <a:pt x="10" y="7"/>
                  </a:cubicBezTo>
                  <a:cubicBezTo>
                    <a:pt x="10" y="7"/>
                    <a:pt x="11" y="7"/>
                    <a:pt x="11" y="7"/>
                  </a:cubicBezTo>
                  <a:cubicBezTo>
                    <a:pt x="11" y="8"/>
                    <a:pt x="11" y="8"/>
                    <a:pt x="11" y="8"/>
                  </a:cubicBezTo>
                  <a:lnTo>
                    <a:pt x="11" y="41"/>
                  </a:lnTo>
                  <a:lnTo>
                    <a:pt x="48" y="41"/>
                  </a:lnTo>
                  <a:lnTo>
                    <a:pt x="48" y="8"/>
                  </a:lnTo>
                  <a:cubicBezTo>
                    <a:pt x="48" y="8"/>
                    <a:pt x="48" y="8"/>
                    <a:pt x="48" y="7"/>
                  </a:cubicBezTo>
                  <a:cubicBezTo>
                    <a:pt x="48" y="7"/>
                    <a:pt x="49" y="7"/>
                    <a:pt x="49" y="7"/>
                  </a:cubicBezTo>
                  <a:cubicBezTo>
                    <a:pt x="49" y="7"/>
                    <a:pt x="50" y="6"/>
                    <a:pt x="51" y="6"/>
                  </a:cubicBezTo>
                  <a:cubicBezTo>
                    <a:pt x="51" y="6"/>
                    <a:pt x="52" y="6"/>
                    <a:pt x="53" y="6"/>
                  </a:cubicBezTo>
                  <a:cubicBezTo>
                    <a:pt x="54" y="6"/>
                    <a:pt x="55" y="6"/>
                    <a:pt x="56" y="6"/>
                  </a:cubicBezTo>
                  <a:cubicBezTo>
                    <a:pt x="56" y="6"/>
                    <a:pt x="57" y="7"/>
                    <a:pt x="57" y="7"/>
                  </a:cubicBezTo>
                  <a:cubicBezTo>
                    <a:pt x="58" y="7"/>
                    <a:pt x="58" y="7"/>
                    <a:pt x="58" y="7"/>
                  </a:cubicBezTo>
                  <a:cubicBezTo>
                    <a:pt x="58" y="8"/>
                    <a:pt x="58" y="8"/>
                    <a:pt x="58" y="8"/>
                  </a:cubicBezTo>
                  <a:lnTo>
                    <a:pt x="58" y="86"/>
                  </a:lnTo>
                  <a:close/>
                  <a:moveTo>
                    <a:pt x="121" y="86"/>
                  </a:moveTo>
                  <a:cubicBezTo>
                    <a:pt x="121" y="86"/>
                    <a:pt x="121" y="87"/>
                    <a:pt x="121" y="87"/>
                  </a:cubicBezTo>
                  <a:cubicBezTo>
                    <a:pt x="121" y="87"/>
                    <a:pt x="120" y="88"/>
                    <a:pt x="120" y="88"/>
                  </a:cubicBezTo>
                  <a:cubicBezTo>
                    <a:pt x="119" y="88"/>
                    <a:pt x="118" y="88"/>
                    <a:pt x="117" y="88"/>
                  </a:cubicBezTo>
                  <a:cubicBezTo>
                    <a:pt x="116" y="88"/>
                    <a:pt x="115" y="88"/>
                    <a:pt x="114" y="88"/>
                  </a:cubicBezTo>
                  <a:cubicBezTo>
                    <a:pt x="114" y="88"/>
                    <a:pt x="113" y="87"/>
                    <a:pt x="113" y="87"/>
                  </a:cubicBezTo>
                  <a:cubicBezTo>
                    <a:pt x="113" y="87"/>
                    <a:pt x="113" y="86"/>
                    <a:pt x="113" y="86"/>
                  </a:cubicBezTo>
                  <a:lnTo>
                    <a:pt x="113" y="80"/>
                  </a:lnTo>
                  <a:cubicBezTo>
                    <a:pt x="110" y="83"/>
                    <a:pt x="107" y="85"/>
                    <a:pt x="104" y="86"/>
                  </a:cubicBezTo>
                  <a:cubicBezTo>
                    <a:pt x="101" y="88"/>
                    <a:pt x="98" y="89"/>
                    <a:pt x="95" y="89"/>
                  </a:cubicBezTo>
                  <a:cubicBezTo>
                    <a:pt x="92" y="89"/>
                    <a:pt x="89" y="88"/>
                    <a:pt x="87" y="87"/>
                  </a:cubicBezTo>
                  <a:cubicBezTo>
                    <a:pt x="84" y="87"/>
                    <a:pt x="82" y="86"/>
                    <a:pt x="81" y="84"/>
                  </a:cubicBezTo>
                  <a:cubicBezTo>
                    <a:pt x="79" y="83"/>
                    <a:pt x="78" y="81"/>
                    <a:pt x="77" y="79"/>
                  </a:cubicBezTo>
                  <a:cubicBezTo>
                    <a:pt x="76" y="77"/>
                    <a:pt x="75" y="74"/>
                    <a:pt x="75" y="72"/>
                  </a:cubicBezTo>
                  <a:cubicBezTo>
                    <a:pt x="75" y="68"/>
                    <a:pt x="76" y="66"/>
                    <a:pt x="77" y="63"/>
                  </a:cubicBezTo>
                  <a:cubicBezTo>
                    <a:pt x="78" y="61"/>
                    <a:pt x="80" y="59"/>
                    <a:pt x="83" y="57"/>
                  </a:cubicBezTo>
                  <a:cubicBezTo>
                    <a:pt x="85" y="56"/>
                    <a:pt x="88" y="55"/>
                    <a:pt x="92" y="54"/>
                  </a:cubicBezTo>
                  <a:cubicBezTo>
                    <a:pt x="95" y="53"/>
                    <a:pt x="99" y="53"/>
                    <a:pt x="103" y="53"/>
                  </a:cubicBezTo>
                  <a:lnTo>
                    <a:pt x="111" y="53"/>
                  </a:lnTo>
                  <a:lnTo>
                    <a:pt x="111" y="48"/>
                  </a:lnTo>
                  <a:cubicBezTo>
                    <a:pt x="111" y="46"/>
                    <a:pt x="111" y="44"/>
                    <a:pt x="110" y="43"/>
                  </a:cubicBezTo>
                  <a:cubicBezTo>
                    <a:pt x="110" y="41"/>
                    <a:pt x="109" y="40"/>
                    <a:pt x="108" y="39"/>
                  </a:cubicBezTo>
                  <a:cubicBezTo>
                    <a:pt x="107" y="37"/>
                    <a:pt x="106" y="37"/>
                    <a:pt x="104" y="36"/>
                  </a:cubicBezTo>
                  <a:cubicBezTo>
                    <a:pt x="103" y="35"/>
                    <a:pt x="101" y="35"/>
                    <a:pt x="98" y="35"/>
                  </a:cubicBezTo>
                  <a:cubicBezTo>
                    <a:pt x="96" y="35"/>
                    <a:pt x="93" y="35"/>
                    <a:pt x="91" y="36"/>
                  </a:cubicBezTo>
                  <a:cubicBezTo>
                    <a:pt x="89" y="37"/>
                    <a:pt x="88" y="37"/>
                    <a:pt x="86" y="38"/>
                  </a:cubicBezTo>
                  <a:cubicBezTo>
                    <a:pt x="85" y="39"/>
                    <a:pt x="83" y="39"/>
                    <a:pt x="82" y="40"/>
                  </a:cubicBezTo>
                  <a:cubicBezTo>
                    <a:pt x="81" y="41"/>
                    <a:pt x="81" y="41"/>
                    <a:pt x="80" y="41"/>
                  </a:cubicBezTo>
                  <a:cubicBezTo>
                    <a:pt x="80" y="41"/>
                    <a:pt x="79" y="41"/>
                    <a:pt x="79" y="41"/>
                  </a:cubicBezTo>
                  <a:cubicBezTo>
                    <a:pt x="79" y="41"/>
                    <a:pt x="79" y="40"/>
                    <a:pt x="79" y="40"/>
                  </a:cubicBezTo>
                  <a:cubicBezTo>
                    <a:pt x="78" y="40"/>
                    <a:pt x="78" y="39"/>
                    <a:pt x="78" y="39"/>
                  </a:cubicBezTo>
                  <a:cubicBezTo>
                    <a:pt x="78" y="38"/>
                    <a:pt x="78" y="38"/>
                    <a:pt x="78" y="37"/>
                  </a:cubicBezTo>
                  <a:cubicBezTo>
                    <a:pt x="78" y="36"/>
                    <a:pt x="78" y="35"/>
                    <a:pt x="78" y="35"/>
                  </a:cubicBezTo>
                  <a:cubicBezTo>
                    <a:pt x="78" y="34"/>
                    <a:pt x="79" y="33"/>
                    <a:pt x="79" y="33"/>
                  </a:cubicBezTo>
                  <a:cubicBezTo>
                    <a:pt x="80" y="32"/>
                    <a:pt x="81" y="32"/>
                    <a:pt x="82" y="31"/>
                  </a:cubicBezTo>
                  <a:cubicBezTo>
                    <a:pt x="84" y="30"/>
                    <a:pt x="85" y="30"/>
                    <a:pt x="87" y="29"/>
                  </a:cubicBezTo>
                  <a:cubicBezTo>
                    <a:pt x="89" y="28"/>
                    <a:pt x="91" y="28"/>
                    <a:pt x="93" y="27"/>
                  </a:cubicBezTo>
                  <a:cubicBezTo>
                    <a:pt x="95" y="27"/>
                    <a:pt x="97" y="27"/>
                    <a:pt x="99" y="27"/>
                  </a:cubicBezTo>
                  <a:cubicBezTo>
                    <a:pt x="103" y="27"/>
                    <a:pt x="107" y="27"/>
                    <a:pt x="110" y="28"/>
                  </a:cubicBezTo>
                  <a:cubicBezTo>
                    <a:pt x="112" y="29"/>
                    <a:pt x="115" y="30"/>
                    <a:pt x="116" y="32"/>
                  </a:cubicBezTo>
                  <a:cubicBezTo>
                    <a:pt x="118" y="34"/>
                    <a:pt x="119" y="36"/>
                    <a:pt x="120" y="39"/>
                  </a:cubicBezTo>
                  <a:cubicBezTo>
                    <a:pt x="121" y="41"/>
                    <a:pt x="121" y="45"/>
                    <a:pt x="121" y="48"/>
                  </a:cubicBezTo>
                  <a:lnTo>
                    <a:pt x="121" y="86"/>
                  </a:lnTo>
                  <a:close/>
                  <a:moveTo>
                    <a:pt x="111" y="60"/>
                  </a:moveTo>
                  <a:lnTo>
                    <a:pt x="102" y="60"/>
                  </a:lnTo>
                  <a:cubicBezTo>
                    <a:pt x="100" y="60"/>
                    <a:pt x="97" y="60"/>
                    <a:pt x="95" y="61"/>
                  </a:cubicBezTo>
                  <a:cubicBezTo>
                    <a:pt x="93" y="61"/>
                    <a:pt x="91" y="62"/>
                    <a:pt x="90" y="63"/>
                  </a:cubicBezTo>
                  <a:cubicBezTo>
                    <a:pt x="88" y="64"/>
                    <a:pt x="87" y="65"/>
                    <a:pt x="87" y="66"/>
                  </a:cubicBezTo>
                  <a:cubicBezTo>
                    <a:pt x="86" y="68"/>
                    <a:pt x="86" y="69"/>
                    <a:pt x="86" y="71"/>
                  </a:cubicBezTo>
                  <a:cubicBezTo>
                    <a:pt x="86" y="74"/>
                    <a:pt x="87" y="76"/>
                    <a:pt x="89" y="78"/>
                  </a:cubicBezTo>
                  <a:cubicBezTo>
                    <a:pt x="90" y="80"/>
                    <a:pt x="93" y="81"/>
                    <a:pt x="96" y="81"/>
                  </a:cubicBezTo>
                  <a:cubicBezTo>
                    <a:pt x="99" y="81"/>
                    <a:pt x="102" y="80"/>
                    <a:pt x="104" y="79"/>
                  </a:cubicBezTo>
                  <a:cubicBezTo>
                    <a:pt x="106" y="77"/>
                    <a:pt x="109" y="75"/>
                    <a:pt x="111" y="72"/>
                  </a:cubicBezTo>
                  <a:lnTo>
                    <a:pt x="111" y="60"/>
                  </a:lnTo>
                  <a:close/>
                  <a:moveTo>
                    <a:pt x="191" y="86"/>
                  </a:moveTo>
                  <a:cubicBezTo>
                    <a:pt x="191" y="86"/>
                    <a:pt x="191" y="86"/>
                    <a:pt x="191" y="87"/>
                  </a:cubicBezTo>
                  <a:cubicBezTo>
                    <a:pt x="191" y="87"/>
                    <a:pt x="191" y="87"/>
                    <a:pt x="190" y="87"/>
                  </a:cubicBezTo>
                  <a:cubicBezTo>
                    <a:pt x="190" y="87"/>
                    <a:pt x="190" y="88"/>
                    <a:pt x="189" y="88"/>
                  </a:cubicBezTo>
                  <a:cubicBezTo>
                    <a:pt x="188" y="88"/>
                    <a:pt x="187" y="88"/>
                    <a:pt x="186" y="88"/>
                  </a:cubicBezTo>
                  <a:cubicBezTo>
                    <a:pt x="185" y="88"/>
                    <a:pt x="184" y="88"/>
                    <a:pt x="184" y="88"/>
                  </a:cubicBezTo>
                  <a:cubicBezTo>
                    <a:pt x="183" y="88"/>
                    <a:pt x="183" y="87"/>
                    <a:pt x="182" y="87"/>
                  </a:cubicBezTo>
                  <a:cubicBezTo>
                    <a:pt x="182" y="87"/>
                    <a:pt x="182" y="87"/>
                    <a:pt x="181" y="87"/>
                  </a:cubicBezTo>
                  <a:cubicBezTo>
                    <a:pt x="181" y="86"/>
                    <a:pt x="181" y="86"/>
                    <a:pt x="181" y="86"/>
                  </a:cubicBezTo>
                  <a:lnTo>
                    <a:pt x="181" y="53"/>
                  </a:lnTo>
                  <a:cubicBezTo>
                    <a:pt x="181" y="50"/>
                    <a:pt x="181" y="47"/>
                    <a:pt x="180" y="45"/>
                  </a:cubicBezTo>
                  <a:cubicBezTo>
                    <a:pt x="180" y="43"/>
                    <a:pt x="179" y="42"/>
                    <a:pt x="178" y="40"/>
                  </a:cubicBezTo>
                  <a:cubicBezTo>
                    <a:pt x="177" y="39"/>
                    <a:pt x="176" y="38"/>
                    <a:pt x="175" y="37"/>
                  </a:cubicBezTo>
                  <a:cubicBezTo>
                    <a:pt x="173" y="36"/>
                    <a:pt x="171" y="36"/>
                    <a:pt x="169" y="36"/>
                  </a:cubicBezTo>
                  <a:cubicBezTo>
                    <a:pt x="167" y="36"/>
                    <a:pt x="164" y="37"/>
                    <a:pt x="161" y="39"/>
                  </a:cubicBezTo>
                  <a:cubicBezTo>
                    <a:pt x="159" y="40"/>
                    <a:pt x="156" y="43"/>
                    <a:pt x="153" y="47"/>
                  </a:cubicBezTo>
                  <a:lnTo>
                    <a:pt x="153" y="86"/>
                  </a:lnTo>
                  <a:cubicBezTo>
                    <a:pt x="153" y="86"/>
                    <a:pt x="153" y="86"/>
                    <a:pt x="153" y="87"/>
                  </a:cubicBezTo>
                  <a:cubicBezTo>
                    <a:pt x="153" y="87"/>
                    <a:pt x="153" y="87"/>
                    <a:pt x="152" y="87"/>
                  </a:cubicBezTo>
                  <a:cubicBezTo>
                    <a:pt x="152" y="87"/>
                    <a:pt x="151" y="88"/>
                    <a:pt x="151" y="88"/>
                  </a:cubicBezTo>
                  <a:cubicBezTo>
                    <a:pt x="150" y="88"/>
                    <a:pt x="149" y="88"/>
                    <a:pt x="148" y="88"/>
                  </a:cubicBezTo>
                  <a:cubicBezTo>
                    <a:pt x="147" y="88"/>
                    <a:pt x="146" y="88"/>
                    <a:pt x="146" y="88"/>
                  </a:cubicBezTo>
                  <a:cubicBezTo>
                    <a:pt x="145" y="88"/>
                    <a:pt x="144" y="87"/>
                    <a:pt x="144" y="87"/>
                  </a:cubicBezTo>
                  <a:cubicBezTo>
                    <a:pt x="144" y="87"/>
                    <a:pt x="143" y="87"/>
                    <a:pt x="143" y="87"/>
                  </a:cubicBezTo>
                  <a:cubicBezTo>
                    <a:pt x="143" y="86"/>
                    <a:pt x="143" y="86"/>
                    <a:pt x="143" y="86"/>
                  </a:cubicBezTo>
                  <a:lnTo>
                    <a:pt x="143" y="30"/>
                  </a:lnTo>
                  <a:cubicBezTo>
                    <a:pt x="143" y="29"/>
                    <a:pt x="143" y="29"/>
                    <a:pt x="143" y="29"/>
                  </a:cubicBezTo>
                  <a:cubicBezTo>
                    <a:pt x="143" y="29"/>
                    <a:pt x="144" y="28"/>
                    <a:pt x="144" y="28"/>
                  </a:cubicBezTo>
                  <a:cubicBezTo>
                    <a:pt x="144" y="28"/>
                    <a:pt x="145" y="28"/>
                    <a:pt x="145" y="28"/>
                  </a:cubicBezTo>
                  <a:cubicBezTo>
                    <a:pt x="146" y="28"/>
                    <a:pt x="147" y="28"/>
                    <a:pt x="148" y="28"/>
                  </a:cubicBezTo>
                  <a:cubicBezTo>
                    <a:pt x="149" y="28"/>
                    <a:pt x="149" y="28"/>
                    <a:pt x="150" y="28"/>
                  </a:cubicBezTo>
                  <a:cubicBezTo>
                    <a:pt x="151" y="28"/>
                    <a:pt x="151" y="28"/>
                    <a:pt x="151" y="28"/>
                  </a:cubicBezTo>
                  <a:cubicBezTo>
                    <a:pt x="152" y="28"/>
                    <a:pt x="152" y="29"/>
                    <a:pt x="152" y="29"/>
                  </a:cubicBezTo>
                  <a:cubicBezTo>
                    <a:pt x="152" y="29"/>
                    <a:pt x="152" y="29"/>
                    <a:pt x="152" y="30"/>
                  </a:cubicBezTo>
                  <a:lnTo>
                    <a:pt x="152" y="37"/>
                  </a:lnTo>
                  <a:cubicBezTo>
                    <a:pt x="156" y="34"/>
                    <a:pt x="159" y="31"/>
                    <a:pt x="162" y="29"/>
                  </a:cubicBezTo>
                  <a:cubicBezTo>
                    <a:pt x="165" y="28"/>
                    <a:pt x="168" y="27"/>
                    <a:pt x="171" y="27"/>
                  </a:cubicBezTo>
                  <a:cubicBezTo>
                    <a:pt x="175" y="27"/>
                    <a:pt x="178" y="27"/>
                    <a:pt x="181" y="29"/>
                  </a:cubicBezTo>
                  <a:cubicBezTo>
                    <a:pt x="183" y="30"/>
                    <a:pt x="185" y="32"/>
                    <a:pt x="187" y="34"/>
                  </a:cubicBezTo>
                  <a:cubicBezTo>
                    <a:pt x="189" y="36"/>
                    <a:pt x="190" y="38"/>
                    <a:pt x="190" y="41"/>
                  </a:cubicBezTo>
                  <a:cubicBezTo>
                    <a:pt x="191" y="44"/>
                    <a:pt x="191" y="48"/>
                    <a:pt x="191" y="52"/>
                  </a:cubicBezTo>
                  <a:lnTo>
                    <a:pt x="191" y="86"/>
                  </a:lnTo>
                  <a:close/>
                  <a:moveTo>
                    <a:pt x="255" y="86"/>
                  </a:moveTo>
                  <a:cubicBezTo>
                    <a:pt x="255" y="86"/>
                    <a:pt x="255" y="87"/>
                    <a:pt x="255" y="87"/>
                  </a:cubicBezTo>
                  <a:cubicBezTo>
                    <a:pt x="255" y="87"/>
                    <a:pt x="255" y="87"/>
                    <a:pt x="254" y="87"/>
                  </a:cubicBezTo>
                  <a:cubicBezTo>
                    <a:pt x="254" y="87"/>
                    <a:pt x="253" y="88"/>
                    <a:pt x="253" y="88"/>
                  </a:cubicBezTo>
                  <a:cubicBezTo>
                    <a:pt x="252" y="88"/>
                    <a:pt x="252" y="88"/>
                    <a:pt x="251" y="88"/>
                  </a:cubicBezTo>
                  <a:cubicBezTo>
                    <a:pt x="250" y="88"/>
                    <a:pt x="249" y="88"/>
                    <a:pt x="249" y="88"/>
                  </a:cubicBezTo>
                  <a:cubicBezTo>
                    <a:pt x="248" y="88"/>
                    <a:pt x="247" y="87"/>
                    <a:pt x="247" y="87"/>
                  </a:cubicBezTo>
                  <a:cubicBezTo>
                    <a:pt x="247" y="87"/>
                    <a:pt x="246" y="87"/>
                    <a:pt x="246" y="87"/>
                  </a:cubicBezTo>
                  <a:cubicBezTo>
                    <a:pt x="246" y="87"/>
                    <a:pt x="246" y="86"/>
                    <a:pt x="246" y="86"/>
                  </a:cubicBezTo>
                  <a:lnTo>
                    <a:pt x="246" y="78"/>
                  </a:lnTo>
                  <a:cubicBezTo>
                    <a:pt x="243" y="82"/>
                    <a:pt x="240" y="84"/>
                    <a:pt x="237" y="86"/>
                  </a:cubicBezTo>
                  <a:cubicBezTo>
                    <a:pt x="234" y="88"/>
                    <a:pt x="230" y="89"/>
                    <a:pt x="226" y="89"/>
                  </a:cubicBezTo>
                  <a:cubicBezTo>
                    <a:pt x="222" y="89"/>
                    <a:pt x="219" y="88"/>
                    <a:pt x="216" y="86"/>
                  </a:cubicBezTo>
                  <a:cubicBezTo>
                    <a:pt x="213" y="85"/>
                    <a:pt x="211" y="82"/>
                    <a:pt x="209" y="80"/>
                  </a:cubicBezTo>
                  <a:cubicBezTo>
                    <a:pt x="207" y="77"/>
                    <a:pt x="206" y="74"/>
                    <a:pt x="205" y="70"/>
                  </a:cubicBezTo>
                  <a:cubicBezTo>
                    <a:pt x="204" y="66"/>
                    <a:pt x="203" y="63"/>
                    <a:pt x="203" y="58"/>
                  </a:cubicBezTo>
                  <a:cubicBezTo>
                    <a:pt x="203" y="54"/>
                    <a:pt x="204" y="49"/>
                    <a:pt x="205" y="45"/>
                  </a:cubicBezTo>
                  <a:cubicBezTo>
                    <a:pt x="206" y="41"/>
                    <a:pt x="208" y="38"/>
                    <a:pt x="210" y="35"/>
                  </a:cubicBezTo>
                  <a:cubicBezTo>
                    <a:pt x="212" y="33"/>
                    <a:pt x="214" y="31"/>
                    <a:pt x="217" y="29"/>
                  </a:cubicBezTo>
                  <a:cubicBezTo>
                    <a:pt x="220" y="28"/>
                    <a:pt x="224" y="27"/>
                    <a:pt x="228" y="27"/>
                  </a:cubicBezTo>
                  <a:cubicBezTo>
                    <a:pt x="231" y="27"/>
                    <a:pt x="234" y="28"/>
                    <a:pt x="237" y="29"/>
                  </a:cubicBezTo>
                  <a:cubicBezTo>
                    <a:pt x="239" y="30"/>
                    <a:pt x="242" y="33"/>
                    <a:pt x="245" y="35"/>
                  </a:cubicBezTo>
                  <a:lnTo>
                    <a:pt x="245" y="3"/>
                  </a:lnTo>
                  <a:cubicBezTo>
                    <a:pt x="245" y="2"/>
                    <a:pt x="245" y="2"/>
                    <a:pt x="245" y="2"/>
                  </a:cubicBezTo>
                  <a:cubicBezTo>
                    <a:pt x="245" y="2"/>
                    <a:pt x="246" y="1"/>
                    <a:pt x="246" y="1"/>
                  </a:cubicBezTo>
                  <a:cubicBezTo>
                    <a:pt x="246" y="1"/>
                    <a:pt x="247" y="1"/>
                    <a:pt x="248" y="1"/>
                  </a:cubicBezTo>
                  <a:cubicBezTo>
                    <a:pt x="248" y="1"/>
                    <a:pt x="249" y="1"/>
                    <a:pt x="250" y="1"/>
                  </a:cubicBezTo>
                  <a:cubicBezTo>
                    <a:pt x="251" y="1"/>
                    <a:pt x="252" y="1"/>
                    <a:pt x="253" y="1"/>
                  </a:cubicBezTo>
                  <a:cubicBezTo>
                    <a:pt x="253" y="1"/>
                    <a:pt x="254" y="1"/>
                    <a:pt x="254" y="1"/>
                  </a:cubicBezTo>
                  <a:cubicBezTo>
                    <a:pt x="254" y="1"/>
                    <a:pt x="255" y="2"/>
                    <a:pt x="255" y="2"/>
                  </a:cubicBezTo>
                  <a:cubicBezTo>
                    <a:pt x="255" y="2"/>
                    <a:pt x="255" y="2"/>
                    <a:pt x="255" y="3"/>
                  </a:cubicBezTo>
                  <a:lnTo>
                    <a:pt x="255" y="86"/>
                  </a:lnTo>
                  <a:close/>
                  <a:moveTo>
                    <a:pt x="245" y="46"/>
                  </a:moveTo>
                  <a:cubicBezTo>
                    <a:pt x="242" y="43"/>
                    <a:pt x="239" y="40"/>
                    <a:pt x="237" y="38"/>
                  </a:cubicBezTo>
                  <a:cubicBezTo>
                    <a:pt x="234" y="37"/>
                    <a:pt x="231" y="36"/>
                    <a:pt x="229" y="36"/>
                  </a:cubicBezTo>
                  <a:cubicBezTo>
                    <a:pt x="226" y="36"/>
                    <a:pt x="224" y="36"/>
                    <a:pt x="222" y="38"/>
                  </a:cubicBezTo>
                  <a:cubicBezTo>
                    <a:pt x="220" y="39"/>
                    <a:pt x="219" y="40"/>
                    <a:pt x="217" y="43"/>
                  </a:cubicBezTo>
                  <a:cubicBezTo>
                    <a:pt x="216" y="45"/>
                    <a:pt x="215" y="47"/>
                    <a:pt x="215" y="49"/>
                  </a:cubicBezTo>
                  <a:cubicBezTo>
                    <a:pt x="214" y="52"/>
                    <a:pt x="214" y="55"/>
                    <a:pt x="214" y="57"/>
                  </a:cubicBezTo>
                  <a:cubicBezTo>
                    <a:pt x="214" y="60"/>
                    <a:pt x="214" y="63"/>
                    <a:pt x="215" y="66"/>
                  </a:cubicBezTo>
                  <a:cubicBezTo>
                    <a:pt x="215" y="68"/>
                    <a:pt x="216" y="71"/>
                    <a:pt x="217" y="73"/>
                  </a:cubicBezTo>
                  <a:cubicBezTo>
                    <a:pt x="218" y="75"/>
                    <a:pt x="220" y="77"/>
                    <a:pt x="221" y="78"/>
                  </a:cubicBezTo>
                  <a:cubicBezTo>
                    <a:pt x="223" y="79"/>
                    <a:pt x="225" y="80"/>
                    <a:pt x="228" y="80"/>
                  </a:cubicBezTo>
                  <a:cubicBezTo>
                    <a:pt x="230" y="80"/>
                    <a:pt x="231" y="80"/>
                    <a:pt x="232" y="79"/>
                  </a:cubicBezTo>
                  <a:cubicBezTo>
                    <a:pt x="233" y="79"/>
                    <a:pt x="235" y="78"/>
                    <a:pt x="236" y="77"/>
                  </a:cubicBezTo>
                  <a:cubicBezTo>
                    <a:pt x="237" y="77"/>
                    <a:pt x="239" y="75"/>
                    <a:pt x="240" y="74"/>
                  </a:cubicBezTo>
                  <a:cubicBezTo>
                    <a:pt x="242" y="73"/>
                    <a:pt x="243" y="71"/>
                    <a:pt x="245" y="69"/>
                  </a:cubicBezTo>
                  <a:lnTo>
                    <a:pt x="245" y="46"/>
                  </a:lnTo>
                  <a:close/>
                  <a:moveTo>
                    <a:pt x="281" y="86"/>
                  </a:moveTo>
                  <a:cubicBezTo>
                    <a:pt x="281" y="86"/>
                    <a:pt x="281" y="86"/>
                    <a:pt x="281" y="87"/>
                  </a:cubicBezTo>
                  <a:cubicBezTo>
                    <a:pt x="281" y="87"/>
                    <a:pt x="281" y="87"/>
                    <a:pt x="280" y="87"/>
                  </a:cubicBezTo>
                  <a:cubicBezTo>
                    <a:pt x="280" y="87"/>
                    <a:pt x="279" y="88"/>
                    <a:pt x="279" y="88"/>
                  </a:cubicBezTo>
                  <a:cubicBezTo>
                    <a:pt x="278" y="88"/>
                    <a:pt x="277" y="88"/>
                    <a:pt x="276" y="88"/>
                  </a:cubicBezTo>
                  <a:cubicBezTo>
                    <a:pt x="275" y="88"/>
                    <a:pt x="274" y="88"/>
                    <a:pt x="274" y="88"/>
                  </a:cubicBezTo>
                  <a:cubicBezTo>
                    <a:pt x="273" y="88"/>
                    <a:pt x="272" y="87"/>
                    <a:pt x="272" y="87"/>
                  </a:cubicBezTo>
                  <a:cubicBezTo>
                    <a:pt x="272" y="87"/>
                    <a:pt x="271" y="87"/>
                    <a:pt x="271" y="87"/>
                  </a:cubicBezTo>
                  <a:cubicBezTo>
                    <a:pt x="271" y="86"/>
                    <a:pt x="271" y="86"/>
                    <a:pt x="271" y="86"/>
                  </a:cubicBezTo>
                  <a:lnTo>
                    <a:pt x="271" y="2"/>
                  </a:lnTo>
                  <a:cubicBezTo>
                    <a:pt x="271" y="2"/>
                    <a:pt x="271" y="2"/>
                    <a:pt x="271" y="2"/>
                  </a:cubicBezTo>
                  <a:cubicBezTo>
                    <a:pt x="271" y="1"/>
                    <a:pt x="272" y="1"/>
                    <a:pt x="272" y="1"/>
                  </a:cubicBezTo>
                  <a:cubicBezTo>
                    <a:pt x="272" y="1"/>
                    <a:pt x="273" y="1"/>
                    <a:pt x="274" y="1"/>
                  </a:cubicBezTo>
                  <a:cubicBezTo>
                    <a:pt x="274" y="0"/>
                    <a:pt x="275" y="0"/>
                    <a:pt x="276" y="0"/>
                  </a:cubicBezTo>
                  <a:cubicBezTo>
                    <a:pt x="277" y="0"/>
                    <a:pt x="278" y="0"/>
                    <a:pt x="279" y="1"/>
                  </a:cubicBezTo>
                  <a:cubicBezTo>
                    <a:pt x="279" y="1"/>
                    <a:pt x="280" y="1"/>
                    <a:pt x="280" y="1"/>
                  </a:cubicBezTo>
                  <a:cubicBezTo>
                    <a:pt x="281" y="1"/>
                    <a:pt x="281" y="1"/>
                    <a:pt x="281" y="2"/>
                  </a:cubicBezTo>
                  <a:cubicBezTo>
                    <a:pt x="281" y="2"/>
                    <a:pt x="281" y="2"/>
                    <a:pt x="281" y="2"/>
                  </a:cubicBezTo>
                  <a:lnTo>
                    <a:pt x="281" y="86"/>
                  </a:lnTo>
                  <a:close/>
                  <a:moveTo>
                    <a:pt x="351" y="55"/>
                  </a:moveTo>
                  <a:cubicBezTo>
                    <a:pt x="351" y="57"/>
                    <a:pt x="351" y="58"/>
                    <a:pt x="350" y="59"/>
                  </a:cubicBezTo>
                  <a:cubicBezTo>
                    <a:pt x="349" y="59"/>
                    <a:pt x="348" y="60"/>
                    <a:pt x="347" y="60"/>
                  </a:cubicBezTo>
                  <a:lnTo>
                    <a:pt x="310" y="60"/>
                  </a:lnTo>
                  <a:cubicBezTo>
                    <a:pt x="310" y="63"/>
                    <a:pt x="310" y="66"/>
                    <a:pt x="311" y="68"/>
                  </a:cubicBezTo>
                  <a:cubicBezTo>
                    <a:pt x="312" y="71"/>
                    <a:pt x="313" y="73"/>
                    <a:pt x="314" y="75"/>
                  </a:cubicBezTo>
                  <a:cubicBezTo>
                    <a:pt x="316" y="76"/>
                    <a:pt x="317" y="78"/>
                    <a:pt x="320" y="79"/>
                  </a:cubicBezTo>
                  <a:cubicBezTo>
                    <a:pt x="322" y="80"/>
                    <a:pt x="325" y="80"/>
                    <a:pt x="328" y="80"/>
                  </a:cubicBezTo>
                  <a:cubicBezTo>
                    <a:pt x="331" y="80"/>
                    <a:pt x="333" y="80"/>
                    <a:pt x="336" y="80"/>
                  </a:cubicBezTo>
                  <a:cubicBezTo>
                    <a:pt x="338" y="79"/>
                    <a:pt x="339" y="79"/>
                    <a:pt x="341" y="78"/>
                  </a:cubicBezTo>
                  <a:cubicBezTo>
                    <a:pt x="343" y="78"/>
                    <a:pt x="344" y="77"/>
                    <a:pt x="345" y="77"/>
                  </a:cubicBezTo>
                  <a:cubicBezTo>
                    <a:pt x="346" y="76"/>
                    <a:pt x="346" y="76"/>
                    <a:pt x="347" y="76"/>
                  </a:cubicBezTo>
                  <a:cubicBezTo>
                    <a:pt x="347" y="76"/>
                    <a:pt x="348" y="76"/>
                    <a:pt x="348" y="76"/>
                  </a:cubicBezTo>
                  <a:cubicBezTo>
                    <a:pt x="348" y="76"/>
                    <a:pt x="348" y="77"/>
                    <a:pt x="348" y="77"/>
                  </a:cubicBezTo>
                  <a:cubicBezTo>
                    <a:pt x="348" y="77"/>
                    <a:pt x="349" y="78"/>
                    <a:pt x="349" y="78"/>
                  </a:cubicBezTo>
                  <a:cubicBezTo>
                    <a:pt x="349" y="79"/>
                    <a:pt x="349" y="79"/>
                    <a:pt x="349" y="80"/>
                  </a:cubicBezTo>
                  <a:cubicBezTo>
                    <a:pt x="349" y="81"/>
                    <a:pt x="349" y="81"/>
                    <a:pt x="349" y="81"/>
                  </a:cubicBezTo>
                  <a:cubicBezTo>
                    <a:pt x="349" y="82"/>
                    <a:pt x="349" y="82"/>
                    <a:pt x="348" y="82"/>
                  </a:cubicBezTo>
                  <a:cubicBezTo>
                    <a:pt x="348" y="83"/>
                    <a:pt x="348" y="83"/>
                    <a:pt x="348" y="83"/>
                  </a:cubicBezTo>
                  <a:cubicBezTo>
                    <a:pt x="348" y="84"/>
                    <a:pt x="348" y="84"/>
                    <a:pt x="348" y="84"/>
                  </a:cubicBezTo>
                  <a:cubicBezTo>
                    <a:pt x="347" y="84"/>
                    <a:pt x="347" y="85"/>
                    <a:pt x="346" y="85"/>
                  </a:cubicBezTo>
                  <a:cubicBezTo>
                    <a:pt x="344" y="86"/>
                    <a:pt x="343" y="86"/>
                    <a:pt x="341" y="87"/>
                  </a:cubicBezTo>
                  <a:cubicBezTo>
                    <a:pt x="339" y="87"/>
                    <a:pt x="337" y="88"/>
                    <a:pt x="335" y="88"/>
                  </a:cubicBezTo>
                  <a:cubicBezTo>
                    <a:pt x="333" y="88"/>
                    <a:pt x="330" y="89"/>
                    <a:pt x="327" y="89"/>
                  </a:cubicBezTo>
                  <a:cubicBezTo>
                    <a:pt x="323" y="89"/>
                    <a:pt x="319" y="88"/>
                    <a:pt x="315" y="87"/>
                  </a:cubicBezTo>
                  <a:cubicBezTo>
                    <a:pt x="312" y="85"/>
                    <a:pt x="309" y="83"/>
                    <a:pt x="306" y="81"/>
                  </a:cubicBezTo>
                  <a:cubicBezTo>
                    <a:pt x="304" y="78"/>
                    <a:pt x="302" y="75"/>
                    <a:pt x="301" y="71"/>
                  </a:cubicBezTo>
                  <a:cubicBezTo>
                    <a:pt x="300" y="68"/>
                    <a:pt x="299" y="63"/>
                    <a:pt x="299" y="58"/>
                  </a:cubicBezTo>
                  <a:cubicBezTo>
                    <a:pt x="299" y="53"/>
                    <a:pt x="300" y="49"/>
                    <a:pt x="301" y="45"/>
                  </a:cubicBezTo>
                  <a:cubicBezTo>
                    <a:pt x="302" y="41"/>
                    <a:pt x="304" y="38"/>
                    <a:pt x="307" y="35"/>
                  </a:cubicBezTo>
                  <a:cubicBezTo>
                    <a:pt x="309" y="32"/>
                    <a:pt x="312" y="30"/>
                    <a:pt x="315" y="29"/>
                  </a:cubicBezTo>
                  <a:cubicBezTo>
                    <a:pt x="318" y="28"/>
                    <a:pt x="322" y="27"/>
                    <a:pt x="326" y="27"/>
                  </a:cubicBezTo>
                  <a:cubicBezTo>
                    <a:pt x="331" y="27"/>
                    <a:pt x="334" y="28"/>
                    <a:pt x="338" y="29"/>
                  </a:cubicBezTo>
                  <a:cubicBezTo>
                    <a:pt x="341" y="30"/>
                    <a:pt x="343" y="32"/>
                    <a:pt x="345" y="35"/>
                  </a:cubicBezTo>
                  <a:cubicBezTo>
                    <a:pt x="347" y="37"/>
                    <a:pt x="349" y="40"/>
                    <a:pt x="350" y="43"/>
                  </a:cubicBezTo>
                  <a:cubicBezTo>
                    <a:pt x="351" y="46"/>
                    <a:pt x="351" y="50"/>
                    <a:pt x="351" y="53"/>
                  </a:cubicBezTo>
                  <a:lnTo>
                    <a:pt x="351" y="55"/>
                  </a:lnTo>
                  <a:close/>
                  <a:moveTo>
                    <a:pt x="341" y="52"/>
                  </a:moveTo>
                  <a:cubicBezTo>
                    <a:pt x="341" y="47"/>
                    <a:pt x="340" y="43"/>
                    <a:pt x="337" y="40"/>
                  </a:cubicBezTo>
                  <a:cubicBezTo>
                    <a:pt x="335" y="36"/>
                    <a:pt x="331" y="35"/>
                    <a:pt x="326" y="35"/>
                  </a:cubicBezTo>
                  <a:cubicBezTo>
                    <a:pt x="323" y="35"/>
                    <a:pt x="321" y="35"/>
                    <a:pt x="319" y="36"/>
                  </a:cubicBezTo>
                  <a:cubicBezTo>
                    <a:pt x="317" y="37"/>
                    <a:pt x="315" y="39"/>
                    <a:pt x="314" y="40"/>
                  </a:cubicBezTo>
                  <a:cubicBezTo>
                    <a:pt x="313" y="42"/>
                    <a:pt x="312" y="44"/>
                    <a:pt x="311" y="46"/>
                  </a:cubicBezTo>
                  <a:cubicBezTo>
                    <a:pt x="310" y="48"/>
                    <a:pt x="310" y="50"/>
                    <a:pt x="310" y="52"/>
                  </a:cubicBezTo>
                  <a:lnTo>
                    <a:pt x="341" y="52"/>
                  </a:lnTo>
                  <a:close/>
                  <a:moveTo>
                    <a:pt x="450" y="30"/>
                  </a:moveTo>
                  <a:cubicBezTo>
                    <a:pt x="450" y="34"/>
                    <a:pt x="449" y="38"/>
                    <a:pt x="448" y="41"/>
                  </a:cubicBezTo>
                  <a:cubicBezTo>
                    <a:pt x="447" y="44"/>
                    <a:pt x="445" y="47"/>
                    <a:pt x="442" y="50"/>
                  </a:cubicBezTo>
                  <a:cubicBezTo>
                    <a:pt x="440" y="52"/>
                    <a:pt x="437" y="54"/>
                    <a:pt x="433" y="55"/>
                  </a:cubicBezTo>
                  <a:cubicBezTo>
                    <a:pt x="429" y="56"/>
                    <a:pt x="425" y="57"/>
                    <a:pt x="420" y="57"/>
                  </a:cubicBezTo>
                  <a:lnTo>
                    <a:pt x="411" y="57"/>
                  </a:lnTo>
                  <a:lnTo>
                    <a:pt x="411" y="86"/>
                  </a:lnTo>
                  <a:cubicBezTo>
                    <a:pt x="411" y="86"/>
                    <a:pt x="411" y="86"/>
                    <a:pt x="411" y="87"/>
                  </a:cubicBezTo>
                  <a:cubicBezTo>
                    <a:pt x="411" y="87"/>
                    <a:pt x="410" y="87"/>
                    <a:pt x="410" y="87"/>
                  </a:cubicBezTo>
                  <a:cubicBezTo>
                    <a:pt x="409" y="87"/>
                    <a:pt x="409" y="88"/>
                    <a:pt x="408" y="88"/>
                  </a:cubicBezTo>
                  <a:cubicBezTo>
                    <a:pt x="408" y="88"/>
                    <a:pt x="407" y="88"/>
                    <a:pt x="406" y="88"/>
                  </a:cubicBezTo>
                  <a:cubicBezTo>
                    <a:pt x="405" y="88"/>
                    <a:pt x="404" y="88"/>
                    <a:pt x="403" y="88"/>
                  </a:cubicBezTo>
                  <a:cubicBezTo>
                    <a:pt x="402" y="88"/>
                    <a:pt x="402" y="87"/>
                    <a:pt x="401" y="87"/>
                  </a:cubicBezTo>
                  <a:cubicBezTo>
                    <a:pt x="401" y="87"/>
                    <a:pt x="401" y="87"/>
                    <a:pt x="400" y="87"/>
                  </a:cubicBezTo>
                  <a:cubicBezTo>
                    <a:pt x="400" y="86"/>
                    <a:pt x="400" y="86"/>
                    <a:pt x="400" y="86"/>
                  </a:cubicBezTo>
                  <a:lnTo>
                    <a:pt x="400" y="11"/>
                  </a:lnTo>
                  <a:cubicBezTo>
                    <a:pt x="400" y="10"/>
                    <a:pt x="401" y="8"/>
                    <a:pt x="402" y="8"/>
                  </a:cubicBezTo>
                  <a:cubicBezTo>
                    <a:pt x="402" y="7"/>
                    <a:pt x="403" y="7"/>
                    <a:pt x="404" y="7"/>
                  </a:cubicBezTo>
                  <a:lnTo>
                    <a:pt x="422" y="7"/>
                  </a:lnTo>
                  <a:cubicBezTo>
                    <a:pt x="424" y="7"/>
                    <a:pt x="425" y="7"/>
                    <a:pt x="427" y="7"/>
                  </a:cubicBezTo>
                  <a:cubicBezTo>
                    <a:pt x="428" y="7"/>
                    <a:pt x="430" y="7"/>
                    <a:pt x="433" y="8"/>
                  </a:cubicBezTo>
                  <a:cubicBezTo>
                    <a:pt x="435" y="8"/>
                    <a:pt x="437" y="9"/>
                    <a:pt x="439" y="10"/>
                  </a:cubicBezTo>
                  <a:cubicBezTo>
                    <a:pt x="441" y="12"/>
                    <a:pt x="443" y="13"/>
                    <a:pt x="445" y="15"/>
                  </a:cubicBezTo>
                  <a:cubicBezTo>
                    <a:pt x="447" y="17"/>
                    <a:pt x="448" y="19"/>
                    <a:pt x="449" y="22"/>
                  </a:cubicBezTo>
                  <a:cubicBezTo>
                    <a:pt x="449" y="24"/>
                    <a:pt x="450" y="27"/>
                    <a:pt x="450" y="30"/>
                  </a:cubicBezTo>
                  <a:close/>
                  <a:moveTo>
                    <a:pt x="439" y="31"/>
                  </a:moveTo>
                  <a:cubicBezTo>
                    <a:pt x="439" y="28"/>
                    <a:pt x="438" y="25"/>
                    <a:pt x="437" y="23"/>
                  </a:cubicBezTo>
                  <a:cubicBezTo>
                    <a:pt x="436" y="21"/>
                    <a:pt x="434" y="19"/>
                    <a:pt x="432" y="18"/>
                  </a:cubicBezTo>
                  <a:cubicBezTo>
                    <a:pt x="430" y="17"/>
                    <a:pt x="429" y="16"/>
                    <a:pt x="427" y="16"/>
                  </a:cubicBezTo>
                  <a:cubicBezTo>
                    <a:pt x="425" y="16"/>
                    <a:pt x="423" y="15"/>
                    <a:pt x="421" y="15"/>
                  </a:cubicBezTo>
                  <a:lnTo>
                    <a:pt x="411" y="15"/>
                  </a:lnTo>
                  <a:lnTo>
                    <a:pt x="411" y="48"/>
                  </a:lnTo>
                  <a:lnTo>
                    <a:pt x="421" y="48"/>
                  </a:lnTo>
                  <a:cubicBezTo>
                    <a:pt x="424" y="48"/>
                    <a:pt x="427" y="47"/>
                    <a:pt x="429" y="47"/>
                  </a:cubicBezTo>
                  <a:cubicBezTo>
                    <a:pt x="431" y="46"/>
                    <a:pt x="433" y="45"/>
                    <a:pt x="434" y="43"/>
                  </a:cubicBezTo>
                  <a:cubicBezTo>
                    <a:pt x="436" y="42"/>
                    <a:pt x="437" y="40"/>
                    <a:pt x="437" y="38"/>
                  </a:cubicBezTo>
                  <a:cubicBezTo>
                    <a:pt x="438" y="36"/>
                    <a:pt x="439" y="34"/>
                    <a:pt x="439" y="31"/>
                  </a:cubicBezTo>
                  <a:close/>
                  <a:moveTo>
                    <a:pt x="496" y="33"/>
                  </a:moveTo>
                  <a:cubicBezTo>
                    <a:pt x="496" y="34"/>
                    <a:pt x="496" y="35"/>
                    <a:pt x="496" y="36"/>
                  </a:cubicBezTo>
                  <a:cubicBezTo>
                    <a:pt x="496" y="36"/>
                    <a:pt x="496" y="37"/>
                    <a:pt x="496" y="37"/>
                  </a:cubicBezTo>
                  <a:cubicBezTo>
                    <a:pt x="495" y="37"/>
                    <a:pt x="495" y="38"/>
                    <a:pt x="495" y="38"/>
                  </a:cubicBezTo>
                  <a:cubicBezTo>
                    <a:pt x="495" y="38"/>
                    <a:pt x="495" y="38"/>
                    <a:pt x="494" y="38"/>
                  </a:cubicBezTo>
                  <a:cubicBezTo>
                    <a:pt x="494" y="38"/>
                    <a:pt x="494" y="38"/>
                    <a:pt x="493" y="38"/>
                  </a:cubicBezTo>
                  <a:cubicBezTo>
                    <a:pt x="493" y="38"/>
                    <a:pt x="492" y="38"/>
                    <a:pt x="492" y="37"/>
                  </a:cubicBezTo>
                  <a:cubicBezTo>
                    <a:pt x="491" y="37"/>
                    <a:pt x="490" y="37"/>
                    <a:pt x="489" y="37"/>
                  </a:cubicBezTo>
                  <a:cubicBezTo>
                    <a:pt x="489" y="37"/>
                    <a:pt x="488" y="37"/>
                    <a:pt x="487" y="37"/>
                  </a:cubicBezTo>
                  <a:cubicBezTo>
                    <a:pt x="486" y="37"/>
                    <a:pt x="485" y="37"/>
                    <a:pt x="484" y="37"/>
                  </a:cubicBezTo>
                  <a:cubicBezTo>
                    <a:pt x="483" y="38"/>
                    <a:pt x="482" y="38"/>
                    <a:pt x="481" y="39"/>
                  </a:cubicBezTo>
                  <a:cubicBezTo>
                    <a:pt x="480" y="40"/>
                    <a:pt x="479" y="41"/>
                    <a:pt x="477" y="43"/>
                  </a:cubicBezTo>
                  <a:cubicBezTo>
                    <a:pt x="476" y="45"/>
                    <a:pt x="475" y="47"/>
                    <a:pt x="473" y="49"/>
                  </a:cubicBezTo>
                  <a:lnTo>
                    <a:pt x="473" y="86"/>
                  </a:lnTo>
                  <a:cubicBezTo>
                    <a:pt x="473" y="86"/>
                    <a:pt x="473" y="86"/>
                    <a:pt x="473" y="87"/>
                  </a:cubicBezTo>
                  <a:cubicBezTo>
                    <a:pt x="473" y="87"/>
                    <a:pt x="473" y="87"/>
                    <a:pt x="472" y="87"/>
                  </a:cubicBezTo>
                  <a:cubicBezTo>
                    <a:pt x="472" y="87"/>
                    <a:pt x="471" y="88"/>
                    <a:pt x="471" y="88"/>
                  </a:cubicBezTo>
                  <a:cubicBezTo>
                    <a:pt x="470" y="88"/>
                    <a:pt x="469" y="88"/>
                    <a:pt x="468" y="88"/>
                  </a:cubicBezTo>
                  <a:cubicBezTo>
                    <a:pt x="467" y="88"/>
                    <a:pt x="466" y="88"/>
                    <a:pt x="466" y="88"/>
                  </a:cubicBezTo>
                  <a:cubicBezTo>
                    <a:pt x="465" y="88"/>
                    <a:pt x="464" y="87"/>
                    <a:pt x="464" y="87"/>
                  </a:cubicBezTo>
                  <a:cubicBezTo>
                    <a:pt x="464" y="87"/>
                    <a:pt x="463" y="87"/>
                    <a:pt x="463" y="87"/>
                  </a:cubicBezTo>
                  <a:cubicBezTo>
                    <a:pt x="463" y="86"/>
                    <a:pt x="463" y="86"/>
                    <a:pt x="463" y="86"/>
                  </a:cubicBezTo>
                  <a:lnTo>
                    <a:pt x="463" y="30"/>
                  </a:lnTo>
                  <a:cubicBezTo>
                    <a:pt x="463" y="29"/>
                    <a:pt x="463" y="29"/>
                    <a:pt x="463" y="29"/>
                  </a:cubicBezTo>
                  <a:cubicBezTo>
                    <a:pt x="463" y="29"/>
                    <a:pt x="464" y="28"/>
                    <a:pt x="464" y="28"/>
                  </a:cubicBezTo>
                  <a:cubicBezTo>
                    <a:pt x="464" y="28"/>
                    <a:pt x="465" y="28"/>
                    <a:pt x="465" y="28"/>
                  </a:cubicBezTo>
                  <a:cubicBezTo>
                    <a:pt x="466" y="28"/>
                    <a:pt x="467" y="28"/>
                    <a:pt x="468" y="28"/>
                  </a:cubicBezTo>
                  <a:cubicBezTo>
                    <a:pt x="469" y="28"/>
                    <a:pt x="469" y="28"/>
                    <a:pt x="470" y="28"/>
                  </a:cubicBezTo>
                  <a:cubicBezTo>
                    <a:pt x="471" y="28"/>
                    <a:pt x="471" y="28"/>
                    <a:pt x="471" y="28"/>
                  </a:cubicBezTo>
                  <a:cubicBezTo>
                    <a:pt x="472" y="28"/>
                    <a:pt x="472" y="29"/>
                    <a:pt x="472" y="29"/>
                  </a:cubicBezTo>
                  <a:cubicBezTo>
                    <a:pt x="472" y="29"/>
                    <a:pt x="472" y="29"/>
                    <a:pt x="472" y="30"/>
                  </a:cubicBezTo>
                  <a:lnTo>
                    <a:pt x="472" y="38"/>
                  </a:lnTo>
                  <a:cubicBezTo>
                    <a:pt x="474" y="36"/>
                    <a:pt x="475" y="34"/>
                    <a:pt x="477" y="32"/>
                  </a:cubicBezTo>
                  <a:cubicBezTo>
                    <a:pt x="478" y="31"/>
                    <a:pt x="479" y="30"/>
                    <a:pt x="481" y="29"/>
                  </a:cubicBezTo>
                  <a:cubicBezTo>
                    <a:pt x="482" y="28"/>
                    <a:pt x="483" y="28"/>
                    <a:pt x="484" y="27"/>
                  </a:cubicBezTo>
                  <a:cubicBezTo>
                    <a:pt x="485" y="27"/>
                    <a:pt x="487" y="27"/>
                    <a:pt x="488" y="27"/>
                  </a:cubicBezTo>
                  <a:cubicBezTo>
                    <a:pt x="488" y="27"/>
                    <a:pt x="489" y="27"/>
                    <a:pt x="490" y="27"/>
                  </a:cubicBezTo>
                  <a:cubicBezTo>
                    <a:pt x="490" y="27"/>
                    <a:pt x="491" y="27"/>
                    <a:pt x="492" y="27"/>
                  </a:cubicBezTo>
                  <a:cubicBezTo>
                    <a:pt x="492" y="27"/>
                    <a:pt x="493" y="28"/>
                    <a:pt x="494" y="28"/>
                  </a:cubicBezTo>
                  <a:cubicBezTo>
                    <a:pt x="494" y="28"/>
                    <a:pt x="495" y="28"/>
                    <a:pt x="495" y="28"/>
                  </a:cubicBezTo>
                  <a:cubicBezTo>
                    <a:pt x="495" y="29"/>
                    <a:pt x="495" y="29"/>
                    <a:pt x="496" y="29"/>
                  </a:cubicBezTo>
                  <a:cubicBezTo>
                    <a:pt x="496" y="29"/>
                    <a:pt x="496" y="29"/>
                    <a:pt x="496" y="30"/>
                  </a:cubicBezTo>
                  <a:cubicBezTo>
                    <a:pt x="496" y="30"/>
                    <a:pt x="496" y="30"/>
                    <a:pt x="496" y="31"/>
                  </a:cubicBezTo>
                  <a:cubicBezTo>
                    <a:pt x="496" y="32"/>
                    <a:pt x="496" y="32"/>
                    <a:pt x="496" y="33"/>
                  </a:cubicBezTo>
                  <a:close/>
                  <a:moveTo>
                    <a:pt x="563" y="57"/>
                  </a:moveTo>
                  <a:cubicBezTo>
                    <a:pt x="563" y="62"/>
                    <a:pt x="563" y="66"/>
                    <a:pt x="562" y="70"/>
                  </a:cubicBezTo>
                  <a:cubicBezTo>
                    <a:pt x="560" y="74"/>
                    <a:pt x="559" y="77"/>
                    <a:pt x="556" y="80"/>
                  </a:cubicBezTo>
                  <a:cubicBezTo>
                    <a:pt x="554" y="83"/>
                    <a:pt x="551" y="85"/>
                    <a:pt x="547" y="86"/>
                  </a:cubicBezTo>
                  <a:cubicBezTo>
                    <a:pt x="544" y="88"/>
                    <a:pt x="539" y="89"/>
                    <a:pt x="535" y="89"/>
                  </a:cubicBezTo>
                  <a:cubicBezTo>
                    <a:pt x="530" y="89"/>
                    <a:pt x="526" y="88"/>
                    <a:pt x="523" y="87"/>
                  </a:cubicBezTo>
                  <a:cubicBezTo>
                    <a:pt x="519" y="85"/>
                    <a:pt x="516" y="83"/>
                    <a:pt x="514" y="81"/>
                  </a:cubicBezTo>
                  <a:cubicBezTo>
                    <a:pt x="512" y="78"/>
                    <a:pt x="510" y="75"/>
                    <a:pt x="509" y="71"/>
                  </a:cubicBezTo>
                  <a:cubicBezTo>
                    <a:pt x="508" y="67"/>
                    <a:pt x="507" y="63"/>
                    <a:pt x="507" y="58"/>
                  </a:cubicBezTo>
                  <a:cubicBezTo>
                    <a:pt x="507" y="54"/>
                    <a:pt x="508" y="49"/>
                    <a:pt x="509" y="46"/>
                  </a:cubicBezTo>
                  <a:cubicBezTo>
                    <a:pt x="510" y="42"/>
                    <a:pt x="512" y="38"/>
                    <a:pt x="514" y="36"/>
                  </a:cubicBezTo>
                  <a:cubicBezTo>
                    <a:pt x="517" y="33"/>
                    <a:pt x="520" y="31"/>
                    <a:pt x="523" y="29"/>
                  </a:cubicBezTo>
                  <a:cubicBezTo>
                    <a:pt x="527" y="28"/>
                    <a:pt x="531" y="27"/>
                    <a:pt x="536" y="27"/>
                  </a:cubicBezTo>
                  <a:cubicBezTo>
                    <a:pt x="540" y="27"/>
                    <a:pt x="544" y="28"/>
                    <a:pt x="548" y="29"/>
                  </a:cubicBezTo>
                  <a:cubicBezTo>
                    <a:pt x="551" y="30"/>
                    <a:pt x="554" y="32"/>
                    <a:pt x="556" y="35"/>
                  </a:cubicBezTo>
                  <a:cubicBezTo>
                    <a:pt x="559" y="38"/>
                    <a:pt x="560" y="41"/>
                    <a:pt x="562" y="44"/>
                  </a:cubicBezTo>
                  <a:cubicBezTo>
                    <a:pt x="563" y="48"/>
                    <a:pt x="563" y="52"/>
                    <a:pt x="563" y="57"/>
                  </a:cubicBezTo>
                  <a:close/>
                  <a:moveTo>
                    <a:pt x="553" y="58"/>
                  </a:moveTo>
                  <a:cubicBezTo>
                    <a:pt x="553" y="55"/>
                    <a:pt x="552" y="52"/>
                    <a:pt x="552" y="49"/>
                  </a:cubicBezTo>
                  <a:cubicBezTo>
                    <a:pt x="551" y="46"/>
                    <a:pt x="550" y="44"/>
                    <a:pt x="549" y="42"/>
                  </a:cubicBezTo>
                  <a:cubicBezTo>
                    <a:pt x="548" y="40"/>
                    <a:pt x="546" y="38"/>
                    <a:pt x="544" y="37"/>
                  </a:cubicBezTo>
                  <a:cubicBezTo>
                    <a:pt x="541" y="36"/>
                    <a:pt x="539" y="35"/>
                    <a:pt x="535" y="35"/>
                  </a:cubicBezTo>
                  <a:cubicBezTo>
                    <a:pt x="532" y="35"/>
                    <a:pt x="530" y="36"/>
                    <a:pt x="527" y="37"/>
                  </a:cubicBezTo>
                  <a:cubicBezTo>
                    <a:pt x="525" y="38"/>
                    <a:pt x="523" y="40"/>
                    <a:pt x="522" y="42"/>
                  </a:cubicBezTo>
                  <a:cubicBezTo>
                    <a:pt x="521" y="44"/>
                    <a:pt x="520" y="46"/>
                    <a:pt x="519" y="49"/>
                  </a:cubicBezTo>
                  <a:cubicBezTo>
                    <a:pt x="518" y="51"/>
                    <a:pt x="518" y="54"/>
                    <a:pt x="518" y="58"/>
                  </a:cubicBezTo>
                  <a:cubicBezTo>
                    <a:pt x="518" y="61"/>
                    <a:pt x="518" y="64"/>
                    <a:pt x="519" y="66"/>
                  </a:cubicBezTo>
                  <a:cubicBezTo>
                    <a:pt x="519" y="69"/>
                    <a:pt x="520" y="71"/>
                    <a:pt x="521" y="73"/>
                  </a:cubicBezTo>
                  <a:cubicBezTo>
                    <a:pt x="523" y="75"/>
                    <a:pt x="525" y="77"/>
                    <a:pt x="527" y="78"/>
                  </a:cubicBezTo>
                  <a:cubicBezTo>
                    <a:pt x="529" y="79"/>
                    <a:pt x="532" y="80"/>
                    <a:pt x="535" y="80"/>
                  </a:cubicBezTo>
                  <a:cubicBezTo>
                    <a:pt x="538" y="80"/>
                    <a:pt x="541" y="79"/>
                    <a:pt x="543" y="78"/>
                  </a:cubicBezTo>
                  <a:cubicBezTo>
                    <a:pt x="545" y="77"/>
                    <a:pt x="547" y="76"/>
                    <a:pt x="549" y="74"/>
                  </a:cubicBezTo>
                  <a:cubicBezTo>
                    <a:pt x="550" y="72"/>
                    <a:pt x="551" y="69"/>
                    <a:pt x="552" y="67"/>
                  </a:cubicBezTo>
                  <a:cubicBezTo>
                    <a:pt x="552" y="64"/>
                    <a:pt x="553" y="61"/>
                    <a:pt x="553" y="58"/>
                  </a:cubicBezTo>
                  <a:close/>
                  <a:moveTo>
                    <a:pt x="623" y="86"/>
                  </a:moveTo>
                  <a:cubicBezTo>
                    <a:pt x="623" y="86"/>
                    <a:pt x="623" y="87"/>
                    <a:pt x="623" y="87"/>
                  </a:cubicBezTo>
                  <a:cubicBezTo>
                    <a:pt x="623" y="87"/>
                    <a:pt x="623" y="87"/>
                    <a:pt x="622" y="87"/>
                  </a:cubicBezTo>
                  <a:cubicBezTo>
                    <a:pt x="622" y="87"/>
                    <a:pt x="621" y="88"/>
                    <a:pt x="621" y="88"/>
                  </a:cubicBezTo>
                  <a:cubicBezTo>
                    <a:pt x="620" y="88"/>
                    <a:pt x="620" y="88"/>
                    <a:pt x="619" y="88"/>
                  </a:cubicBezTo>
                  <a:cubicBezTo>
                    <a:pt x="618" y="88"/>
                    <a:pt x="617" y="88"/>
                    <a:pt x="617" y="88"/>
                  </a:cubicBezTo>
                  <a:cubicBezTo>
                    <a:pt x="616" y="88"/>
                    <a:pt x="615" y="87"/>
                    <a:pt x="615" y="87"/>
                  </a:cubicBezTo>
                  <a:cubicBezTo>
                    <a:pt x="615" y="87"/>
                    <a:pt x="614" y="87"/>
                    <a:pt x="614" y="87"/>
                  </a:cubicBezTo>
                  <a:cubicBezTo>
                    <a:pt x="614" y="87"/>
                    <a:pt x="614" y="86"/>
                    <a:pt x="614" y="86"/>
                  </a:cubicBezTo>
                  <a:lnTo>
                    <a:pt x="614" y="78"/>
                  </a:lnTo>
                  <a:cubicBezTo>
                    <a:pt x="611" y="82"/>
                    <a:pt x="608" y="84"/>
                    <a:pt x="605" y="86"/>
                  </a:cubicBezTo>
                  <a:cubicBezTo>
                    <a:pt x="602" y="88"/>
                    <a:pt x="598" y="89"/>
                    <a:pt x="594" y="89"/>
                  </a:cubicBezTo>
                  <a:cubicBezTo>
                    <a:pt x="590" y="89"/>
                    <a:pt x="587" y="88"/>
                    <a:pt x="584" y="86"/>
                  </a:cubicBezTo>
                  <a:cubicBezTo>
                    <a:pt x="581" y="85"/>
                    <a:pt x="579" y="82"/>
                    <a:pt x="577" y="80"/>
                  </a:cubicBezTo>
                  <a:cubicBezTo>
                    <a:pt x="575" y="77"/>
                    <a:pt x="574" y="74"/>
                    <a:pt x="573" y="70"/>
                  </a:cubicBezTo>
                  <a:cubicBezTo>
                    <a:pt x="572" y="66"/>
                    <a:pt x="571" y="63"/>
                    <a:pt x="571" y="58"/>
                  </a:cubicBezTo>
                  <a:cubicBezTo>
                    <a:pt x="571" y="54"/>
                    <a:pt x="572" y="49"/>
                    <a:pt x="573" y="45"/>
                  </a:cubicBezTo>
                  <a:cubicBezTo>
                    <a:pt x="574" y="41"/>
                    <a:pt x="576" y="38"/>
                    <a:pt x="578" y="35"/>
                  </a:cubicBezTo>
                  <a:cubicBezTo>
                    <a:pt x="580" y="33"/>
                    <a:pt x="582" y="31"/>
                    <a:pt x="585" y="29"/>
                  </a:cubicBezTo>
                  <a:cubicBezTo>
                    <a:pt x="588" y="28"/>
                    <a:pt x="592" y="27"/>
                    <a:pt x="596" y="27"/>
                  </a:cubicBezTo>
                  <a:cubicBezTo>
                    <a:pt x="599" y="27"/>
                    <a:pt x="602" y="28"/>
                    <a:pt x="605" y="29"/>
                  </a:cubicBezTo>
                  <a:cubicBezTo>
                    <a:pt x="607" y="30"/>
                    <a:pt x="610" y="33"/>
                    <a:pt x="613" y="35"/>
                  </a:cubicBezTo>
                  <a:lnTo>
                    <a:pt x="613" y="3"/>
                  </a:lnTo>
                  <a:cubicBezTo>
                    <a:pt x="613" y="2"/>
                    <a:pt x="613" y="2"/>
                    <a:pt x="613" y="2"/>
                  </a:cubicBezTo>
                  <a:cubicBezTo>
                    <a:pt x="613" y="2"/>
                    <a:pt x="614" y="1"/>
                    <a:pt x="614" y="1"/>
                  </a:cubicBezTo>
                  <a:cubicBezTo>
                    <a:pt x="614" y="1"/>
                    <a:pt x="615" y="1"/>
                    <a:pt x="616" y="1"/>
                  </a:cubicBezTo>
                  <a:cubicBezTo>
                    <a:pt x="616" y="1"/>
                    <a:pt x="617" y="1"/>
                    <a:pt x="618" y="1"/>
                  </a:cubicBezTo>
                  <a:cubicBezTo>
                    <a:pt x="619" y="1"/>
                    <a:pt x="620" y="1"/>
                    <a:pt x="621" y="1"/>
                  </a:cubicBezTo>
                  <a:cubicBezTo>
                    <a:pt x="621" y="1"/>
                    <a:pt x="622" y="1"/>
                    <a:pt x="622" y="1"/>
                  </a:cubicBezTo>
                  <a:cubicBezTo>
                    <a:pt x="622" y="1"/>
                    <a:pt x="623" y="2"/>
                    <a:pt x="623" y="2"/>
                  </a:cubicBezTo>
                  <a:cubicBezTo>
                    <a:pt x="623" y="2"/>
                    <a:pt x="623" y="2"/>
                    <a:pt x="623" y="3"/>
                  </a:cubicBezTo>
                  <a:lnTo>
                    <a:pt x="623" y="86"/>
                  </a:lnTo>
                  <a:close/>
                  <a:moveTo>
                    <a:pt x="613" y="46"/>
                  </a:moveTo>
                  <a:cubicBezTo>
                    <a:pt x="610" y="43"/>
                    <a:pt x="607" y="40"/>
                    <a:pt x="605" y="38"/>
                  </a:cubicBezTo>
                  <a:cubicBezTo>
                    <a:pt x="602" y="37"/>
                    <a:pt x="599" y="36"/>
                    <a:pt x="597" y="36"/>
                  </a:cubicBezTo>
                  <a:cubicBezTo>
                    <a:pt x="594" y="36"/>
                    <a:pt x="592" y="36"/>
                    <a:pt x="590" y="38"/>
                  </a:cubicBezTo>
                  <a:cubicBezTo>
                    <a:pt x="588" y="39"/>
                    <a:pt x="587" y="40"/>
                    <a:pt x="585" y="43"/>
                  </a:cubicBezTo>
                  <a:cubicBezTo>
                    <a:pt x="584" y="45"/>
                    <a:pt x="583" y="47"/>
                    <a:pt x="583" y="49"/>
                  </a:cubicBezTo>
                  <a:cubicBezTo>
                    <a:pt x="582" y="52"/>
                    <a:pt x="582" y="55"/>
                    <a:pt x="582" y="57"/>
                  </a:cubicBezTo>
                  <a:cubicBezTo>
                    <a:pt x="582" y="60"/>
                    <a:pt x="582" y="63"/>
                    <a:pt x="583" y="66"/>
                  </a:cubicBezTo>
                  <a:cubicBezTo>
                    <a:pt x="583" y="68"/>
                    <a:pt x="584" y="71"/>
                    <a:pt x="585" y="73"/>
                  </a:cubicBezTo>
                  <a:cubicBezTo>
                    <a:pt x="586" y="75"/>
                    <a:pt x="588" y="77"/>
                    <a:pt x="589" y="78"/>
                  </a:cubicBezTo>
                  <a:cubicBezTo>
                    <a:pt x="591" y="79"/>
                    <a:pt x="593" y="80"/>
                    <a:pt x="596" y="80"/>
                  </a:cubicBezTo>
                  <a:cubicBezTo>
                    <a:pt x="598" y="80"/>
                    <a:pt x="599" y="80"/>
                    <a:pt x="600" y="79"/>
                  </a:cubicBezTo>
                  <a:cubicBezTo>
                    <a:pt x="601" y="79"/>
                    <a:pt x="603" y="78"/>
                    <a:pt x="604" y="77"/>
                  </a:cubicBezTo>
                  <a:cubicBezTo>
                    <a:pt x="605" y="77"/>
                    <a:pt x="607" y="75"/>
                    <a:pt x="608" y="74"/>
                  </a:cubicBezTo>
                  <a:cubicBezTo>
                    <a:pt x="610" y="73"/>
                    <a:pt x="611" y="71"/>
                    <a:pt x="613" y="69"/>
                  </a:cubicBezTo>
                  <a:lnTo>
                    <a:pt x="613" y="46"/>
                  </a:lnTo>
                  <a:close/>
                  <a:moveTo>
                    <a:pt x="687" y="86"/>
                  </a:moveTo>
                  <a:cubicBezTo>
                    <a:pt x="687" y="86"/>
                    <a:pt x="687" y="86"/>
                    <a:pt x="687" y="87"/>
                  </a:cubicBezTo>
                  <a:cubicBezTo>
                    <a:pt x="687" y="87"/>
                    <a:pt x="687" y="87"/>
                    <a:pt x="686" y="87"/>
                  </a:cubicBezTo>
                  <a:cubicBezTo>
                    <a:pt x="686" y="87"/>
                    <a:pt x="685" y="88"/>
                    <a:pt x="685" y="88"/>
                  </a:cubicBezTo>
                  <a:cubicBezTo>
                    <a:pt x="684" y="88"/>
                    <a:pt x="683" y="88"/>
                    <a:pt x="683" y="88"/>
                  </a:cubicBezTo>
                  <a:cubicBezTo>
                    <a:pt x="682" y="88"/>
                    <a:pt x="681" y="88"/>
                    <a:pt x="680" y="88"/>
                  </a:cubicBezTo>
                  <a:cubicBezTo>
                    <a:pt x="680" y="88"/>
                    <a:pt x="679" y="87"/>
                    <a:pt x="679" y="87"/>
                  </a:cubicBezTo>
                  <a:cubicBezTo>
                    <a:pt x="678" y="87"/>
                    <a:pt x="678" y="87"/>
                    <a:pt x="678" y="87"/>
                  </a:cubicBezTo>
                  <a:cubicBezTo>
                    <a:pt x="678" y="86"/>
                    <a:pt x="678" y="86"/>
                    <a:pt x="678" y="86"/>
                  </a:cubicBezTo>
                  <a:lnTo>
                    <a:pt x="678" y="78"/>
                  </a:lnTo>
                  <a:cubicBezTo>
                    <a:pt x="675" y="82"/>
                    <a:pt x="671" y="85"/>
                    <a:pt x="668" y="86"/>
                  </a:cubicBezTo>
                  <a:cubicBezTo>
                    <a:pt x="665" y="88"/>
                    <a:pt x="662" y="89"/>
                    <a:pt x="659" y="89"/>
                  </a:cubicBezTo>
                  <a:cubicBezTo>
                    <a:pt x="655" y="89"/>
                    <a:pt x="652" y="88"/>
                    <a:pt x="649" y="87"/>
                  </a:cubicBezTo>
                  <a:cubicBezTo>
                    <a:pt x="647" y="86"/>
                    <a:pt x="645" y="84"/>
                    <a:pt x="643" y="82"/>
                  </a:cubicBezTo>
                  <a:cubicBezTo>
                    <a:pt x="642" y="80"/>
                    <a:pt x="640" y="77"/>
                    <a:pt x="640" y="74"/>
                  </a:cubicBezTo>
                  <a:cubicBezTo>
                    <a:pt x="639" y="71"/>
                    <a:pt x="639" y="68"/>
                    <a:pt x="639" y="64"/>
                  </a:cubicBezTo>
                  <a:lnTo>
                    <a:pt x="639" y="30"/>
                  </a:lnTo>
                  <a:cubicBezTo>
                    <a:pt x="639" y="29"/>
                    <a:pt x="639" y="29"/>
                    <a:pt x="639" y="29"/>
                  </a:cubicBezTo>
                  <a:cubicBezTo>
                    <a:pt x="639" y="29"/>
                    <a:pt x="639" y="28"/>
                    <a:pt x="640" y="28"/>
                  </a:cubicBezTo>
                  <a:cubicBezTo>
                    <a:pt x="640" y="28"/>
                    <a:pt x="641" y="28"/>
                    <a:pt x="641" y="28"/>
                  </a:cubicBezTo>
                  <a:cubicBezTo>
                    <a:pt x="642" y="28"/>
                    <a:pt x="643" y="28"/>
                    <a:pt x="644" y="28"/>
                  </a:cubicBezTo>
                  <a:cubicBezTo>
                    <a:pt x="645" y="28"/>
                    <a:pt x="646" y="28"/>
                    <a:pt x="646" y="28"/>
                  </a:cubicBezTo>
                  <a:cubicBezTo>
                    <a:pt x="647" y="28"/>
                    <a:pt x="648" y="28"/>
                    <a:pt x="648" y="28"/>
                  </a:cubicBezTo>
                  <a:cubicBezTo>
                    <a:pt x="648" y="28"/>
                    <a:pt x="649" y="29"/>
                    <a:pt x="649" y="29"/>
                  </a:cubicBezTo>
                  <a:cubicBezTo>
                    <a:pt x="649" y="29"/>
                    <a:pt x="649" y="29"/>
                    <a:pt x="649" y="30"/>
                  </a:cubicBezTo>
                  <a:lnTo>
                    <a:pt x="649" y="62"/>
                  </a:lnTo>
                  <a:cubicBezTo>
                    <a:pt x="649" y="66"/>
                    <a:pt x="649" y="68"/>
                    <a:pt x="650" y="70"/>
                  </a:cubicBezTo>
                  <a:cubicBezTo>
                    <a:pt x="650" y="72"/>
                    <a:pt x="651" y="74"/>
                    <a:pt x="652" y="75"/>
                  </a:cubicBezTo>
                  <a:cubicBezTo>
                    <a:pt x="653" y="77"/>
                    <a:pt x="654" y="78"/>
                    <a:pt x="656" y="79"/>
                  </a:cubicBezTo>
                  <a:cubicBezTo>
                    <a:pt x="657" y="79"/>
                    <a:pt x="659" y="80"/>
                    <a:pt x="661" y="80"/>
                  </a:cubicBezTo>
                  <a:cubicBezTo>
                    <a:pt x="664" y="80"/>
                    <a:pt x="666" y="79"/>
                    <a:pt x="669" y="77"/>
                  </a:cubicBezTo>
                  <a:cubicBezTo>
                    <a:pt x="671" y="75"/>
                    <a:pt x="674" y="72"/>
                    <a:pt x="677" y="69"/>
                  </a:cubicBezTo>
                  <a:lnTo>
                    <a:pt x="677" y="30"/>
                  </a:lnTo>
                  <a:cubicBezTo>
                    <a:pt x="677" y="29"/>
                    <a:pt x="677" y="29"/>
                    <a:pt x="677" y="29"/>
                  </a:cubicBezTo>
                  <a:cubicBezTo>
                    <a:pt x="677" y="29"/>
                    <a:pt x="678" y="28"/>
                    <a:pt x="678" y="28"/>
                  </a:cubicBezTo>
                  <a:cubicBezTo>
                    <a:pt x="678" y="28"/>
                    <a:pt x="679" y="28"/>
                    <a:pt x="680" y="28"/>
                  </a:cubicBezTo>
                  <a:cubicBezTo>
                    <a:pt x="680" y="28"/>
                    <a:pt x="681" y="28"/>
                    <a:pt x="682" y="28"/>
                  </a:cubicBezTo>
                  <a:cubicBezTo>
                    <a:pt x="683" y="28"/>
                    <a:pt x="684" y="28"/>
                    <a:pt x="685" y="28"/>
                  </a:cubicBezTo>
                  <a:cubicBezTo>
                    <a:pt x="685" y="28"/>
                    <a:pt x="686" y="28"/>
                    <a:pt x="686" y="28"/>
                  </a:cubicBezTo>
                  <a:cubicBezTo>
                    <a:pt x="686" y="28"/>
                    <a:pt x="687" y="29"/>
                    <a:pt x="687" y="29"/>
                  </a:cubicBezTo>
                  <a:cubicBezTo>
                    <a:pt x="687" y="29"/>
                    <a:pt x="687" y="29"/>
                    <a:pt x="687" y="30"/>
                  </a:cubicBezTo>
                  <a:lnTo>
                    <a:pt x="687" y="86"/>
                  </a:lnTo>
                  <a:close/>
                  <a:moveTo>
                    <a:pt x="743" y="77"/>
                  </a:moveTo>
                  <a:cubicBezTo>
                    <a:pt x="743" y="78"/>
                    <a:pt x="743" y="79"/>
                    <a:pt x="743" y="79"/>
                  </a:cubicBezTo>
                  <a:cubicBezTo>
                    <a:pt x="743" y="80"/>
                    <a:pt x="743" y="80"/>
                    <a:pt x="743" y="80"/>
                  </a:cubicBezTo>
                  <a:cubicBezTo>
                    <a:pt x="743" y="81"/>
                    <a:pt x="743" y="81"/>
                    <a:pt x="743" y="81"/>
                  </a:cubicBezTo>
                  <a:cubicBezTo>
                    <a:pt x="743" y="82"/>
                    <a:pt x="742" y="82"/>
                    <a:pt x="742" y="83"/>
                  </a:cubicBezTo>
                  <a:cubicBezTo>
                    <a:pt x="741" y="83"/>
                    <a:pt x="740" y="84"/>
                    <a:pt x="739" y="85"/>
                  </a:cubicBezTo>
                  <a:cubicBezTo>
                    <a:pt x="738" y="85"/>
                    <a:pt x="737" y="86"/>
                    <a:pt x="735" y="87"/>
                  </a:cubicBezTo>
                  <a:cubicBezTo>
                    <a:pt x="733" y="87"/>
                    <a:pt x="732" y="88"/>
                    <a:pt x="730" y="88"/>
                  </a:cubicBezTo>
                  <a:cubicBezTo>
                    <a:pt x="728" y="88"/>
                    <a:pt x="726" y="89"/>
                    <a:pt x="724" y="89"/>
                  </a:cubicBezTo>
                  <a:cubicBezTo>
                    <a:pt x="720" y="89"/>
                    <a:pt x="717" y="88"/>
                    <a:pt x="713" y="87"/>
                  </a:cubicBezTo>
                  <a:cubicBezTo>
                    <a:pt x="710" y="85"/>
                    <a:pt x="708" y="83"/>
                    <a:pt x="706" y="81"/>
                  </a:cubicBezTo>
                  <a:cubicBezTo>
                    <a:pt x="703" y="78"/>
                    <a:pt x="702" y="75"/>
                    <a:pt x="701" y="71"/>
                  </a:cubicBezTo>
                  <a:cubicBezTo>
                    <a:pt x="700" y="68"/>
                    <a:pt x="699" y="63"/>
                    <a:pt x="699" y="58"/>
                  </a:cubicBezTo>
                  <a:cubicBezTo>
                    <a:pt x="699" y="53"/>
                    <a:pt x="700" y="48"/>
                    <a:pt x="701" y="44"/>
                  </a:cubicBezTo>
                  <a:cubicBezTo>
                    <a:pt x="702" y="40"/>
                    <a:pt x="704" y="37"/>
                    <a:pt x="707" y="34"/>
                  </a:cubicBezTo>
                  <a:cubicBezTo>
                    <a:pt x="709" y="32"/>
                    <a:pt x="712" y="30"/>
                    <a:pt x="715" y="29"/>
                  </a:cubicBezTo>
                  <a:cubicBezTo>
                    <a:pt x="718" y="27"/>
                    <a:pt x="722" y="27"/>
                    <a:pt x="725" y="27"/>
                  </a:cubicBezTo>
                  <a:cubicBezTo>
                    <a:pt x="727" y="27"/>
                    <a:pt x="729" y="27"/>
                    <a:pt x="731" y="27"/>
                  </a:cubicBezTo>
                  <a:cubicBezTo>
                    <a:pt x="732" y="28"/>
                    <a:pt x="734" y="28"/>
                    <a:pt x="735" y="29"/>
                  </a:cubicBezTo>
                  <a:cubicBezTo>
                    <a:pt x="737" y="29"/>
                    <a:pt x="738" y="30"/>
                    <a:pt x="739" y="31"/>
                  </a:cubicBezTo>
                  <a:cubicBezTo>
                    <a:pt x="740" y="31"/>
                    <a:pt x="741" y="32"/>
                    <a:pt x="741" y="32"/>
                  </a:cubicBezTo>
                  <a:cubicBezTo>
                    <a:pt x="742" y="33"/>
                    <a:pt x="742" y="33"/>
                    <a:pt x="742" y="34"/>
                  </a:cubicBezTo>
                  <a:cubicBezTo>
                    <a:pt x="743" y="34"/>
                    <a:pt x="743" y="34"/>
                    <a:pt x="743" y="35"/>
                  </a:cubicBezTo>
                  <a:cubicBezTo>
                    <a:pt x="743" y="35"/>
                    <a:pt x="743" y="35"/>
                    <a:pt x="743" y="36"/>
                  </a:cubicBezTo>
                  <a:cubicBezTo>
                    <a:pt x="743" y="36"/>
                    <a:pt x="743" y="37"/>
                    <a:pt x="743" y="38"/>
                  </a:cubicBezTo>
                  <a:cubicBezTo>
                    <a:pt x="743" y="39"/>
                    <a:pt x="743" y="41"/>
                    <a:pt x="743" y="41"/>
                  </a:cubicBezTo>
                  <a:cubicBezTo>
                    <a:pt x="742" y="42"/>
                    <a:pt x="742" y="42"/>
                    <a:pt x="741" y="42"/>
                  </a:cubicBezTo>
                  <a:cubicBezTo>
                    <a:pt x="741" y="42"/>
                    <a:pt x="740" y="42"/>
                    <a:pt x="739" y="41"/>
                  </a:cubicBezTo>
                  <a:cubicBezTo>
                    <a:pt x="738" y="40"/>
                    <a:pt x="737" y="40"/>
                    <a:pt x="736" y="39"/>
                  </a:cubicBezTo>
                  <a:cubicBezTo>
                    <a:pt x="735" y="38"/>
                    <a:pt x="733" y="37"/>
                    <a:pt x="732" y="37"/>
                  </a:cubicBezTo>
                  <a:cubicBezTo>
                    <a:pt x="730" y="36"/>
                    <a:pt x="728" y="36"/>
                    <a:pt x="725" y="36"/>
                  </a:cubicBezTo>
                  <a:cubicBezTo>
                    <a:pt x="720" y="36"/>
                    <a:pt x="716" y="37"/>
                    <a:pt x="714" y="41"/>
                  </a:cubicBezTo>
                  <a:cubicBezTo>
                    <a:pt x="711" y="45"/>
                    <a:pt x="710" y="51"/>
                    <a:pt x="710" y="58"/>
                  </a:cubicBezTo>
                  <a:cubicBezTo>
                    <a:pt x="710" y="62"/>
                    <a:pt x="710" y="65"/>
                    <a:pt x="711" y="67"/>
                  </a:cubicBezTo>
                  <a:cubicBezTo>
                    <a:pt x="712" y="70"/>
                    <a:pt x="713" y="72"/>
                    <a:pt x="714" y="74"/>
                  </a:cubicBezTo>
                  <a:cubicBezTo>
                    <a:pt x="715" y="76"/>
                    <a:pt x="717" y="77"/>
                    <a:pt x="719" y="78"/>
                  </a:cubicBezTo>
                  <a:cubicBezTo>
                    <a:pt x="721" y="79"/>
                    <a:pt x="723" y="80"/>
                    <a:pt x="725" y="80"/>
                  </a:cubicBezTo>
                  <a:cubicBezTo>
                    <a:pt x="728" y="80"/>
                    <a:pt x="730" y="79"/>
                    <a:pt x="732" y="79"/>
                  </a:cubicBezTo>
                  <a:cubicBezTo>
                    <a:pt x="734" y="78"/>
                    <a:pt x="735" y="77"/>
                    <a:pt x="736" y="76"/>
                  </a:cubicBezTo>
                  <a:cubicBezTo>
                    <a:pt x="738" y="75"/>
                    <a:pt x="739" y="74"/>
                    <a:pt x="740" y="74"/>
                  </a:cubicBezTo>
                  <a:cubicBezTo>
                    <a:pt x="741" y="73"/>
                    <a:pt x="741" y="73"/>
                    <a:pt x="742" y="73"/>
                  </a:cubicBezTo>
                  <a:cubicBezTo>
                    <a:pt x="742" y="73"/>
                    <a:pt x="742" y="73"/>
                    <a:pt x="743" y="73"/>
                  </a:cubicBezTo>
                  <a:cubicBezTo>
                    <a:pt x="743" y="73"/>
                    <a:pt x="743" y="73"/>
                    <a:pt x="743" y="74"/>
                  </a:cubicBezTo>
                  <a:cubicBezTo>
                    <a:pt x="743" y="74"/>
                    <a:pt x="743" y="75"/>
                    <a:pt x="743" y="75"/>
                  </a:cubicBezTo>
                  <a:cubicBezTo>
                    <a:pt x="743" y="76"/>
                    <a:pt x="743" y="76"/>
                    <a:pt x="743" y="77"/>
                  </a:cubicBezTo>
                  <a:close/>
                  <a:moveTo>
                    <a:pt x="796" y="82"/>
                  </a:moveTo>
                  <a:cubicBezTo>
                    <a:pt x="796" y="83"/>
                    <a:pt x="796" y="84"/>
                    <a:pt x="796" y="85"/>
                  </a:cubicBezTo>
                  <a:cubicBezTo>
                    <a:pt x="796" y="85"/>
                    <a:pt x="796" y="86"/>
                    <a:pt x="795" y="86"/>
                  </a:cubicBezTo>
                  <a:cubicBezTo>
                    <a:pt x="795" y="87"/>
                    <a:pt x="794" y="87"/>
                    <a:pt x="794" y="87"/>
                  </a:cubicBezTo>
                  <a:cubicBezTo>
                    <a:pt x="793" y="87"/>
                    <a:pt x="792" y="88"/>
                    <a:pt x="792" y="88"/>
                  </a:cubicBezTo>
                  <a:cubicBezTo>
                    <a:pt x="791" y="88"/>
                    <a:pt x="790" y="88"/>
                    <a:pt x="789" y="88"/>
                  </a:cubicBezTo>
                  <a:cubicBezTo>
                    <a:pt x="788" y="88"/>
                    <a:pt x="787" y="89"/>
                    <a:pt x="786" y="89"/>
                  </a:cubicBezTo>
                  <a:cubicBezTo>
                    <a:pt x="783" y="89"/>
                    <a:pt x="781" y="88"/>
                    <a:pt x="778" y="87"/>
                  </a:cubicBezTo>
                  <a:cubicBezTo>
                    <a:pt x="776" y="87"/>
                    <a:pt x="775" y="85"/>
                    <a:pt x="773" y="84"/>
                  </a:cubicBezTo>
                  <a:cubicBezTo>
                    <a:pt x="772" y="82"/>
                    <a:pt x="771" y="80"/>
                    <a:pt x="770" y="78"/>
                  </a:cubicBezTo>
                  <a:cubicBezTo>
                    <a:pt x="770" y="76"/>
                    <a:pt x="769" y="73"/>
                    <a:pt x="769" y="69"/>
                  </a:cubicBezTo>
                  <a:lnTo>
                    <a:pt x="769" y="37"/>
                  </a:lnTo>
                  <a:lnTo>
                    <a:pt x="762" y="37"/>
                  </a:lnTo>
                  <a:cubicBezTo>
                    <a:pt x="761" y="37"/>
                    <a:pt x="760" y="36"/>
                    <a:pt x="760" y="36"/>
                  </a:cubicBezTo>
                  <a:cubicBezTo>
                    <a:pt x="760" y="35"/>
                    <a:pt x="760" y="34"/>
                    <a:pt x="760" y="32"/>
                  </a:cubicBezTo>
                  <a:cubicBezTo>
                    <a:pt x="760" y="32"/>
                    <a:pt x="760" y="31"/>
                    <a:pt x="760" y="30"/>
                  </a:cubicBezTo>
                  <a:cubicBezTo>
                    <a:pt x="760" y="30"/>
                    <a:pt x="760" y="29"/>
                    <a:pt x="760" y="29"/>
                  </a:cubicBezTo>
                  <a:cubicBezTo>
                    <a:pt x="760" y="29"/>
                    <a:pt x="760" y="28"/>
                    <a:pt x="761" y="28"/>
                  </a:cubicBezTo>
                  <a:cubicBezTo>
                    <a:pt x="761" y="28"/>
                    <a:pt x="761" y="28"/>
                    <a:pt x="762" y="28"/>
                  </a:cubicBezTo>
                  <a:lnTo>
                    <a:pt x="769" y="28"/>
                  </a:lnTo>
                  <a:lnTo>
                    <a:pt x="769" y="15"/>
                  </a:lnTo>
                  <a:cubicBezTo>
                    <a:pt x="769" y="14"/>
                    <a:pt x="770" y="14"/>
                    <a:pt x="770" y="14"/>
                  </a:cubicBezTo>
                  <a:cubicBezTo>
                    <a:pt x="770" y="14"/>
                    <a:pt x="770" y="13"/>
                    <a:pt x="771" y="13"/>
                  </a:cubicBezTo>
                  <a:cubicBezTo>
                    <a:pt x="771" y="13"/>
                    <a:pt x="771" y="13"/>
                    <a:pt x="772" y="13"/>
                  </a:cubicBezTo>
                  <a:cubicBezTo>
                    <a:pt x="773" y="13"/>
                    <a:pt x="774" y="13"/>
                    <a:pt x="775" y="13"/>
                  </a:cubicBezTo>
                  <a:cubicBezTo>
                    <a:pt x="776" y="13"/>
                    <a:pt x="777" y="13"/>
                    <a:pt x="777" y="13"/>
                  </a:cubicBezTo>
                  <a:cubicBezTo>
                    <a:pt x="778" y="13"/>
                    <a:pt x="778" y="13"/>
                    <a:pt x="779" y="13"/>
                  </a:cubicBezTo>
                  <a:cubicBezTo>
                    <a:pt x="779" y="13"/>
                    <a:pt x="779" y="14"/>
                    <a:pt x="780" y="14"/>
                  </a:cubicBezTo>
                  <a:cubicBezTo>
                    <a:pt x="780" y="14"/>
                    <a:pt x="780" y="14"/>
                    <a:pt x="780" y="15"/>
                  </a:cubicBezTo>
                  <a:lnTo>
                    <a:pt x="780" y="28"/>
                  </a:lnTo>
                  <a:lnTo>
                    <a:pt x="794" y="28"/>
                  </a:lnTo>
                  <a:cubicBezTo>
                    <a:pt x="795" y="28"/>
                    <a:pt x="795" y="28"/>
                    <a:pt x="795" y="28"/>
                  </a:cubicBezTo>
                  <a:cubicBezTo>
                    <a:pt x="795" y="28"/>
                    <a:pt x="796" y="29"/>
                    <a:pt x="796" y="29"/>
                  </a:cubicBezTo>
                  <a:cubicBezTo>
                    <a:pt x="796" y="29"/>
                    <a:pt x="796" y="30"/>
                    <a:pt x="796" y="30"/>
                  </a:cubicBezTo>
                  <a:cubicBezTo>
                    <a:pt x="796" y="31"/>
                    <a:pt x="796" y="32"/>
                    <a:pt x="796" y="32"/>
                  </a:cubicBezTo>
                  <a:cubicBezTo>
                    <a:pt x="796" y="34"/>
                    <a:pt x="796" y="35"/>
                    <a:pt x="796" y="36"/>
                  </a:cubicBezTo>
                  <a:cubicBezTo>
                    <a:pt x="795" y="36"/>
                    <a:pt x="795" y="37"/>
                    <a:pt x="794" y="37"/>
                  </a:cubicBezTo>
                  <a:lnTo>
                    <a:pt x="780" y="37"/>
                  </a:lnTo>
                  <a:lnTo>
                    <a:pt x="780" y="68"/>
                  </a:lnTo>
                  <a:cubicBezTo>
                    <a:pt x="780" y="72"/>
                    <a:pt x="780" y="75"/>
                    <a:pt x="782" y="77"/>
                  </a:cubicBezTo>
                  <a:cubicBezTo>
                    <a:pt x="783" y="79"/>
                    <a:pt x="785" y="80"/>
                    <a:pt x="788" y="80"/>
                  </a:cubicBezTo>
                  <a:cubicBezTo>
                    <a:pt x="789" y="80"/>
                    <a:pt x="789" y="80"/>
                    <a:pt x="790" y="79"/>
                  </a:cubicBezTo>
                  <a:cubicBezTo>
                    <a:pt x="791" y="79"/>
                    <a:pt x="792" y="79"/>
                    <a:pt x="792" y="79"/>
                  </a:cubicBezTo>
                  <a:cubicBezTo>
                    <a:pt x="793" y="79"/>
                    <a:pt x="793" y="78"/>
                    <a:pt x="794" y="78"/>
                  </a:cubicBezTo>
                  <a:cubicBezTo>
                    <a:pt x="794" y="78"/>
                    <a:pt x="795" y="78"/>
                    <a:pt x="795" y="78"/>
                  </a:cubicBezTo>
                  <a:cubicBezTo>
                    <a:pt x="795" y="78"/>
                    <a:pt x="795" y="78"/>
                    <a:pt x="795" y="78"/>
                  </a:cubicBezTo>
                  <a:cubicBezTo>
                    <a:pt x="796" y="78"/>
                    <a:pt x="796" y="78"/>
                    <a:pt x="796" y="79"/>
                  </a:cubicBezTo>
                  <a:cubicBezTo>
                    <a:pt x="796" y="79"/>
                    <a:pt x="796" y="79"/>
                    <a:pt x="796" y="80"/>
                  </a:cubicBezTo>
                  <a:cubicBezTo>
                    <a:pt x="796" y="80"/>
                    <a:pt x="796" y="81"/>
                    <a:pt x="796" y="82"/>
                  </a:cubicBez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1">
              <a:extLst>
                <a:ext uri="{FF2B5EF4-FFF2-40B4-BE49-F238E27FC236}">
                  <a16:creationId xmlns:a16="http://schemas.microsoft.com/office/drawing/2014/main" id="{2E1455C1-DEDE-4E27-8177-E42BB4D83157}"/>
                </a:ext>
              </a:extLst>
            </p:cNvPr>
            <p:cNvSpPr>
              <a:spLocks noEditPoints="1"/>
            </p:cNvSpPr>
            <p:nvPr/>
          </p:nvSpPr>
          <p:spPr bwMode="auto">
            <a:xfrm>
              <a:off x="5304" y="3042"/>
              <a:ext cx="296" cy="39"/>
            </a:xfrm>
            <a:custGeom>
              <a:avLst/>
              <a:gdLst>
                <a:gd name="T0" fmla="*/ 60 w 661"/>
                <a:gd name="T1" fmla="*/ 87 h 88"/>
                <a:gd name="T2" fmla="*/ 10 w 661"/>
                <a:gd name="T3" fmla="*/ 87 h 88"/>
                <a:gd name="T4" fmla="*/ 28 w 661"/>
                <a:gd name="T5" fmla="*/ 8 h 88"/>
                <a:gd name="T6" fmla="*/ 41 w 661"/>
                <a:gd name="T7" fmla="*/ 7 h 88"/>
                <a:gd name="T8" fmla="*/ 34 w 661"/>
                <a:gd name="T9" fmla="*/ 17 h 88"/>
                <a:gd name="T10" fmla="*/ 127 w 661"/>
                <a:gd name="T11" fmla="*/ 87 h 88"/>
                <a:gd name="T12" fmla="*/ 89 w 661"/>
                <a:gd name="T13" fmla="*/ 79 h 88"/>
                <a:gd name="T14" fmla="*/ 117 w 661"/>
                <a:gd name="T15" fmla="*/ 29 h 88"/>
                <a:gd name="T16" fmla="*/ 133 w 661"/>
                <a:gd name="T17" fmla="*/ 0 h 88"/>
                <a:gd name="T18" fmla="*/ 109 w 661"/>
                <a:gd name="T19" fmla="*/ 35 h 88"/>
                <a:gd name="T20" fmla="*/ 102 w 661"/>
                <a:gd name="T21" fmla="*/ 78 h 88"/>
                <a:gd name="T22" fmla="*/ 200 w 661"/>
                <a:gd name="T23" fmla="*/ 85 h 88"/>
                <a:gd name="T24" fmla="*/ 191 w 661"/>
                <a:gd name="T25" fmla="*/ 86 h 88"/>
                <a:gd name="T26" fmla="*/ 149 w 661"/>
                <a:gd name="T27" fmla="*/ 70 h 88"/>
                <a:gd name="T28" fmla="*/ 189 w 661"/>
                <a:gd name="T29" fmla="*/ 35 h 88"/>
                <a:gd name="T30" fmla="*/ 198 w 661"/>
                <a:gd name="T31" fmla="*/ 1 h 88"/>
                <a:gd name="T32" fmla="*/ 166 w 661"/>
                <a:gd name="T33" fmla="*/ 37 h 88"/>
                <a:gd name="T34" fmla="*/ 173 w 661"/>
                <a:gd name="T35" fmla="*/ 79 h 88"/>
                <a:gd name="T36" fmla="*/ 262 w 661"/>
                <a:gd name="T37" fmla="*/ 58 h 88"/>
                <a:gd name="T38" fmla="*/ 248 w 661"/>
                <a:gd name="T39" fmla="*/ 79 h 88"/>
                <a:gd name="T40" fmla="*/ 261 w 661"/>
                <a:gd name="T41" fmla="*/ 80 h 88"/>
                <a:gd name="T42" fmla="*/ 247 w 661"/>
                <a:gd name="T43" fmla="*/ 88 h 88"/>
                <a:gd name="T44" fmla="*/ 219 w 661"/>
                <a:gd name="T45" fmla="*/ 35 h 88"/>
                <a:gd name="T46" fmla="*/ 263 w 661"/>
                <a:gd name="T47" fmla="*/ 55 h 88"/>
                <a:gd name="T48" fmla="*/ 222 w 661"/>
                <a:gd name="T49" fmla="*/ 52 h 88"/>
                <a:gd name="T50" fmla="*/ 321 w 661"/>
                <a:gd name="T51" fmla="*/ 87 h 88"/>
                <a:gd name="T52" fmla="*/ 288 w 661"/>
                <a:gd name="T53" fmla="*/ 86 h 88"/>
                <a:gd name="T54" fmla="*/ 300 w 661"/>
                <a:gd name="T55" fmla="*/ 26 h 88"/>
                <a:gd name="T56" fmla="*/ 322 w 661"/>
                <a:gd name="T57" fmla="*/ 0 h 88"/>
                <a:gd name="T58" fmla="*/ 309 w 661"/>
                <a:gd name="T59" fmla="*/ 38 h 88"/>
                <a:gd name="T60" fmla="*/ 289 w 661"/>
                <a:gd name="T61" fmla="*/ 72 h 88"/>
                <a:gd name="T62" fmla="*/ 317 w 661"/>
                <a:gd name="T63" fmla="*/ 46 h 88"/>
                <a:gd name="T64" fmla="*/ 378 w 661"/>
                <a:gd name="T65" fmla="*/ 86 h 88"/>
                <a:gd name="T66" fmla="*/ 421 w 661"/>
                <a:gd name="T67" fmla="*/ 7 h 88"/>
                <a:gd name="T68" fmla="*/ 387 w 661"/>
                <a:gd name="T69" fmla="*/ 15 h 88"/>
                <a:gd name="T70" fmla="*/ 416 w 661"/>
                <a:gd name="T71" fmla="*/ 47 h 88"/>
                <a:gd name="T72" fmla="*/ 420 w 661"/>
                <a:gd name="T73" fmla="*/ 78 h 88"/>
                <a:gd name="T74" fmla="*/ 485 w 661"/>
                <a:gd name="T75" fmla="*/ 31 h 88"/>
                <a:gd name="T76" fmla="*/ 456 w 661"/>
                <a:gd name="T77" fmla="*/ 87 h 88"/>
                <a:gd name="T78" fmla="*/ 432 w 661"/>
                <a:gd name="T79" fmla="*/ 29 h 88"/>
                <a:gd name="T80" fmla="*/ 443 w 661"/>
                <a:gd name="T81" fmla="*/ 28 h 88"/>
                <a:gd name="T82" fmla="*/ 476 w 661"/>
                <a:gd name="T83" fmla="*/ 28 h 88"/>
                <a:gd name="T84" fmla="*/ 551 w 661"/>
                <a:gd name="T85" fmla="*/ 55 h 88"/>
                <a:gd name="T86" fmla="*/ 529 w 661"/>
                <a:gd name="T87" fmla="*/ 80 h 88"/>
                <a:gd name="T88" fmla="*/ 549 w 661"/>
                <a:gd name="T89" fmla="*/ 78 h 88"/>
                <a:gd name="T90" fmla="*/ 542 w 661"/>
                <a:gd name="T91" fmla="*/ 86 h 88"/>
                <a:gd name="T92" fmla="*/ 502 w 661"/>
                <a:gd name="T93" fmla="*/ 45 h 88"/>
                <a:gd name="T94" fmla="*/ 551 w 661"/>
                <a:gd name="T95" fmla="*/ 53 h 88"/>
                <a:gd name="T96" fmla="*/ 512 w 661"/>
                <a:gd name="T97" fmla="*/ 45 h 88"/>
                <a:gd name="T98" fmla="*/ 611 w 661"/>
                <a:gd name="T99" fmla="*/ 87 h 88"/>
                <a:gd name="T100" fmla="*/ 603 w 661"/>
                <a:gd name="T101" fmla="*/ 40 h 88"/>
                <a:gd name="T102" fmla="*/ 577 w 661"/>
                <a:gd name="T103" fmla="*/ 87 h 88"/>
                <a:gd name="T104" fmla="*/ 567 w 661"/>
                <a:gd name="T105" fmla="*/ 29 h 88"/>
                <a:gd name="T106" fmla="*/ 577 w 661"/>
                <a:gd name="T107" fmla="*/ 28 h 88"/>
                <a:gd name="T108" fmla="*/ 615 w 661"/>
                <a:gd name="T109" fmla="*/ 41 h 88"/>
                <a:gd name="T110" fmla="*/ 656 w 661"/>
                <a:gd name="T111" fmla="*/ 87 h 88"/>
                <a:gd name="T112" fmla="*/ 634 w 661"/>
                <a:gd name="T113" fmla="*/ 36 h 88"/>
                <a:gd name="T114" fmla="*/ 626 w 661"/>
                <a:gd name="T115" fmla="*/ 28 h 88"/>
                <a:gd name="T116" fmla="*/ 642 w 661"/>
                <a:gd name="T117" fmla="*/ 12 h 88"/>
                <a:gd name="T118" fmla="*/ 660 w 661"/>
                <a:gd name="T119" fmla="*/ 29 h 88"/>
                <a:gd name="T120" fmla="*/ 646 w 661"/>
                <a:gd name="T121" fmla="*/ 76 h 88"/>
                <a:gd name="T122" fmla="*/ 660 w 661"/>
                <a:gd name="T123"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1" h="88">
                  <a:moveTo>
                    <a:pt x="69" y="83"/>
                  </a:moveTo>
                  <a:cubicBezTo>
                    <a:pt x="70" y="84"/>
                    <a:pt x="70" y="85"/>
                    <a:pt x="70" y="85"/>
                  </a:cubicBezTo>
                  <a:cubicBezTo>
                    <a:pt x="70" y="86"/>
                    <a:pt x="70" y="86"/>
                    <a:pt x="69" y="87"/>
                  </a:cubicBezTo>
                  <a:cubicBezTo>
                    <a:pt x="69" y="87"/>
                    <a:pt x="68" y="87"/>
                    <a:pt x="68" y="87"/>
                  </a:cubicBezTo>
                  <a:cubicBezTo>
                    <a:pt x="67" y="87"/>
                    <a:pt x="66" y="87"/>
                    <a:pt x="64" y="87"/>
                  </a:cubicBezTo>
                  <a:cubicBezTo>
                    <a:pt x="63" y="87"/>
                    <a:pt x="62" y="87"/>
                    <a:pt x="61" y="87"/>
                  </a:cubicBezTo>
                  <a:cubicBezTo>
                    <a:pt x="61" y="87"/>
                    <a:pt x="60" y="87"/>
                    <a:pt x="60" y="87"/>
                  </a:cubicBezTo>
                  <a:cubicBezTo>
                    <a:pt x="59" y="87"/>
                    <a:pt x="59" y="87"/>
                    <a:pt x="59" y="86"/>
                  </a:cubicBezTo>
                  <a:cubicBezTo>
                    <a:pt x="59" y="86"/>
                    <a:pt x="58" y="86"/>
                    <a:pt x="58" y="85"/>
                  </a:cubicBezTo>
                  <a:lnTo>
                    <a:pt x="51" y="66"/>
                  </a:lnTo>
                  <a:lnTo>
                    <a:pt x="18" y="66"/>
                  </a:lnTo>
                  <a:lnTo>
                    <a:pt x="11" y="85"/>
                  </a:lnTo>
                  <a:cubicBezTo>
                    <a:pt x="11" y="86"/>
                    <a:pt x="11" y="86"/>
                    <a:pt x="11" y="86"/>
                  </a:cubicBezTo>
                  <a:cubicBezTo>
                    <a:pt x="10" y="86"/>
                    <a:pt x="10" y="87"/>
                    <a:pt x="10" y="87"/>
                  </a:cubicBezTo>
                  <a:cubicBezTo>
                    <a:pt x="9" y="87"/>
                    <a:pt x="9" y="87"/>
                    <a:pt x="8" y="87"/>
                  </a:cubicBezTo>
                  <a:cubicBezTo>
                    <a:pt x="7" y="87"/>
                    <a:pt x="6" y="87"/>
                    <a:pt x="5" y="87"/>
                  </a:cubicBezTo>
                  <a:cubicBezTo>
                    <a:pt x="4" y="87"/>
                    <a:pt x="3" y="87"/>
                    <a:pt x="2" y="87"/>
                  </a:cubicBezTo>
                  <a:cubicBezTo>
                    <a:pt x="1" y="87"/>
                    <a:pt x="1" y="87"/>
                    <a:pt x="1" y="87"/>
                  </a:cubicBezTo>
                  <a:cubicBezTo>
                    <a:pt x="0" y="86"/>
                    <a:pt x="0" y="86"/>
                    <a:pt x="0" y="85"/>
                  </a:cubicBezTo>
                  <a:cubicBezTo>
                    <a:pt x="0" y="85"/>
                    <a:pt x="0" y="84"/>
                    <a:pt x="1" y="83"/>
                  </a:cubicBezTo>
                  <a:lnTo>
                    <a:pt x="28" y="8"/>
                  </a:lnTo>
                  <a:cubicBezTo>
                    <a:pt x="28" y="8"/>
                    <a:pt x="28" y="7"/>
                    <a:pt x="28" y="7"/>
                  </a:cubicBezTo>
                  <a:cubicBezTo>
                    <a:pt x="29" y="7"/>
                    <a:pt x="29" y="6"/>
                    <a:pt x="30" y="6"/>
                  </a:cubicBezTo>
                  <a:cubicBezTo>
                    <a:pt x="30" y="6"/>
                    <a:pt x="31" y="6"/>
                    <a:pt x="32" y="6"/>
                  </a:cubicBezTo>
                  <a:cubicBezTo>
                    <a:pt x="32" y="6"/>
                    <a:pt x="33" y="6"/>
                    <a:pt x="35" y="6"/>
                  </a:cubicBezTo>
                  <a:cubicBezTo>
                    <a:pt x="36" y="6"/>
                    <a:pt x="37" y="6"/>
                    <a:pt x="38" y="6"/>
                  </a:cubicBezTo>
                  <a:cubicBezTo>
                    <a:pt x="39" y="6"/>
                    <a:pt x="40" y="6"/>
                    <a:pt x="40" y="6"/>
                  </a:cubicBezTo>
                  <a:cubicBezTo>
                    <a:pt x="41" y="6"/>
                    <a:pt x="41" y="7"/>
                    <a:pt x="41" y="7"/>
                  </a:cubicBezTo>
                  <a:cubicBezTo>
                    <a:pt x="42" y="7"/>
                    <a:pt x="42" y="8"/>
                    <a:pt x="42" y="8"/>
                  </a:cubicBezTo>
                  <a:lnTo>
                    <a:pt x="69" y="83"/>
                  </a:lnTo>
                  <a:close/>
                  <a:moveTo>
                    <a:pt x="34" y="17"/>
                  </a:moveTo>
                  <a:lnTo>
                    <a:pt x="34" y="17"/>
                  </a:lnTo>
                  <a:lnTo>
                    <a:pt x="20" y="57"/>
                  </a:lnTo>
                  <a:lnTo>
                    <a:pt x="48" y="57"/>
                  </a:lnTo>
                  <a:lnTo>
                    <a:pt x="34" y="17"/>
                  </a:lnTo>
                  <a:close/>
                  <a:moveTo>
                    <a:pt x="136" y="85"/>
                  </a:moveTo>
                  <a:cubicBezTo>
                    <a:pt x="136" y="86"/>
                    <a:pt x="136" y="86"/>
                    <a:pt x="135" y="86"/>
                  </a:cubicBezTo>
                  <a:cubicBezTo>
                    <a:pt x="135" y="87"/>
                    <a:pt x="135" y="87"/>
                    <a:pt x="135" y="87"/>
                  </a:cubicBezTo>
                  <a:cubicBezTo>
                    <a:pt x="134" y="87"/>
                    <a:pt x="134" y="87"/>
                    <a:pt x="133" y="87"/>
                  </a:cubicBezTo>
                  <a:cubicBezTo>
                    <a:pt x="133" y="87"/>
                    <a:pt x="132" y="87"/>
                    <a:pt x="131" y="87"/>
                  </a:cubicBezTo>
                  <a:cubicBezTo>
                    <a:pt x="130" y="87"/>
                    <a:pt x="130" y="87"/>
                    <a:pt x="129" y="87"/>
                  </a:cubicBezTo>
                  <a:cubicBezTo>
                    <a:pt x="128" y="87"/>
                    <a:pt x="128" y="87"/>
                    <a:pt x="127" y="87"/>
                  </a:cubicBezTo>
                  <a:cubicBezTo>
                    <a:pt x="127" y="87"/>
                    <a:pt x="127" y="87"/>
                    <a:pt x="127" y="86"/>
                  </a:cubicBezTo>
                  <a:cubicBezTo>
                    <a:pt x="127" y="86"/>
                    <a:pt x="126" y="86"/>
                    <a:pt x="126" y="85"/>
                  </a:cubicBezTo>
                  <a:lnTo>
                    <a:pt x="126" y="78"/>
                  </a:lnTo>
                  <a:cubicBezTo>
                    <a:pt x="123" y="81"/>
                    <a:pt x="120" y="84"/>
                    <a:pt x="117" y="86"/>
                  </a:cubicBezTo>
                  <a:cubicBezTo>
                    <a:pt x="114" y="87"/>
                    <a:pt x="111" y="88"/>
                    <a:pt x="107" y="88"/>
                  </a:cubicBezTo>
                  <a:cubicBezTo>
                    <a:pt x="103" y="88"/>
                    <a:pt x="99" y="87"/>
                    <a:pt x="96" y="86"/>
                  </a:cubicBezTo>
                  <a:cubicBezTo>
                    <a:pt x="93" y="84"/>
                    <a:pt x="91" y="82"/>
                    <a:pt x="89" y="79"/>
                  </a:cubicBezTo>
                  <a:cubicBezTo>
                    <a:pt x="87" y="77"/>
                    <a:pt x="86" y="73"/>
                    <a:pt x="85" y="70"/>
                  </a:cubicBezTo>
                  <a:cubicBezTo>
                    <a:pt x="84" y="66"/>
                    <a:pt x="84" y="62"/>
                    <a:pt x="84" y="58"/>
                  </a:cubicBezTo>
                  <a:cubicBezTo>
                    <a:pt x="84" y="53"/>
                    <a:pt x="84" y="49"/>
                    <a:pt x="85" y="45"/>
                  </a:cubicBezTo>
                  <a:cubicBezTo>
                    <a:pt x="86" y="41"/>
                    <a:pt x="88" y="38"/>
                    <a:pt x="90" y="35"/>
                  </a:cubicBezTo>
                  <a:cubicBezTo>
                    <a:pt x="92" y="32"/>
                    <a:pt x="95" y="30"/>
                    <a:pt x="98" y="29"/>
                  </a:cubicBezTo>
                  <a:cubicBezTo>
                    <a:pt x="101" y="27"/>
                    <a:pt x="104" y="26"/>
                    <a:pt x="108" y="26"/>
                  </a:cubicBezTo>
                  <a:cubicBezTo>
                    <a:pt x="111" y="26"/>
                    <a:pt x="114" y="27"/>
                    <a:pt x="117" y="29"/>
                  </a:cubicBezTo>
                  <a:cubicBezTo>
                    <a:pt x="120" y="30"/>
                    <a:pt x="123" y="32"/>
                    <a:pt x="125" y="35"/>
                  </a:cubicBezTo>
                  <a:lnTo>
                    <a:pt x="125" y="2"/>
                  </a:lnTo>
                  <a:cubicBezTo>
                    <a:pt x="125" y="2"/>
                    <a:pt x="125" y="2"/>
                    <a:pt x="125" y="1"/>
                  </a:cubicBezTo>
                  <a:cubicBezTo>
                    <a:pt x="126" y="1"/>
                    <a:pt x="126" y="1"/>
                    <a:pt x="126" y="1"/>
                  </a:cubicBezTo>
                  <a:cubicBezTo>
                    <a:pt x="127" y="1"/>
                    <a:pt x="127" y="0"/>
                    <a:pt x="128" y="0"/>
                  </a:cubicBezTo>
                  <a:cubicBezTo>
                    <a:pt x="129" y="0"/>
                    <a:pt x="129" y="0"/>
                    <a:pt x="130" y="0"/>
                  </a:cubicBezTo>
                  <a:cubicBezTo>
                    <a:pt x="131" y="0"/>
                    <a:pt x="132" y="0"/>
                    <a:pt x="133" y="0"/>
                  </a:cubicBezTo>
                  <a:cubicBezTo>
                    <a:pt x="134" y="0"/>
                    <a:pt x="134" y="1"/>
                    <a:pt x="134" y="1"/>
                  </a:cubicBezTo>
                  <a:cubicBezTo>
                    <a:pt x="135" y="1"/>
                    <a:pt x="135" y="1"/>
                    <a:pt x="135" y="1"/>
                  </a:cubicBezTo>
                  <a:cubicBezTo>
                    <a:pt x="136" y="2"/>
                    <a:pt x="136" y="2"/>
                    <a:pt x="136" y="2"/>
                  </a:cubicBezTo>
                  <a:lnTo>
                    <a:pt x="136" y="85"/>
                  </a:lnTo>
                  <a:close/>
                  <a:moveTo>
                    <a:pt x="125" y="46"/>
                  </a:moveTo>
                  <a:cubicBezTo>
                    <a:pt x="122" y="42"/>
                    <a:pt x="120" y="40"/>
                    <a:pt x="117" y="38"/>
                  </a:cubicBezTo>
                  <a:cubicBezTo>
                    <a:pt x="115" y="36"/>
                    <a:pt x="112" y="35"/>
                    <a:pt x="109" y="35"/>
                  </a:cubicBezTo>
                  <a:cubicBezTo>
                    <a:pt x="106" y="35"/>
                    <a:pt x="104" y="36"/>
                    <a:pt x="102" y="37"/>
                  </a:cubicBezTo>
                  <a:cubicBezTo>
                    <a:pt x="100" y="38"/>
                    <a:pt x="99" y="40"/>
                    <a:pt x="98" y="42"/>
                  </a:cubicBezTo>
                  <a:cubicBezTo>
                    <a:pt x="97" y="44"/>
                    <a:pt x="96" y="46"/>
                    <a:pt x="95" y="49"/>
                  </a:cubicBezTo>
                  <a:cubicBezTo>
                    <a:pt x="95" y="52"/>
                    <a:pt x="95" y="54"/>
                    <a:pt x="95" y="57"/>
                  </a:cubicBezTo>
                  <a:cubicBezTo>
                    <a:pt x="95" y="60"/>
                    <a:pt x="95" y="63"/>
                    <a:pt x="95" y="65"/>
                  </a:cubicBezTo>
                  <a:cubicBezTo>
                    <a:pt x="96" y="68"/>
                    <a:pt x="96" y="70"/>
                    <a:pt x="97" y="72"/>
                  </a:cubicBezTo>
                  <a:cubicBezTo>
                    <a:pt x="99" y="75"/>
                    <a:pt x="100" y="76"/>
                    <a:pt x="102" y="78"/>
                  </a:cubicBezTo>
                  <a:cubicBezTo>
                    <a:pt x="104" y="79"/>
                    <a:pt x="106" y="79"/>
                    <a:pt x="109" y="79"/>
                  </a:cubicBezTo>
                  <a:cubicBezTo>
                    <a:pt x="110" y="79"/>
                    <a:pt x="111" y="79"/>
                    <a:pt x="113" y="79"/>
                  </a:cubicBezTo>
                  <a:cubicBezTo>
                    <a:pt x="114" y="78"/>
                    <a:pt x="115" y="78"/>
                    <a:pt x="116" y="77"/>
                  </a:cubicBezTo>
                  <a:cubicBezTo>
                    <a:pt x="118" y="76"/>
                    <a:pt x="119" y="75"/>
                    <a:pt x="121" y="74"/>
                  </a:cubicBezTo>
                  <a:cubicBezTo>
                    <a:pt x="122" y="72"/>
                    <a:pt x="124" y="70"/>
                    <a:pt x="125" y="68"/>
                  </a:cubicBezTo>
                  <a:lnTo>
                    <a:pt x="125" y="46"/>
                  </a:lnTo>
                  <a:close/>
                  <a:moveTo>
                    <a:pt x="200" y="85"/>
                  </a:moveTo>
                  <a:cubicBezTo>
                    <a:pt x="200" y="86"/>
                    <a:pt x="200" y="86"/>
                    <a:pt x="199" y="86"/>
                  </a:cubicBezTo>
                  <a:cubicBezTo>
                    <a:pt x="199" y="87"/>
                    <a:pt x="199" y="87"/>
                    <a:pt x="199" y="87"/>
                  </a:cubicBezTo>
                  <a:cubicBezTo>
                    <a:pt x="198" y="87"/>
                    <a:pt x="198" y="87"/>
                    <a:pt x="197" y="87"/>
                  </a:cubicBezTo>
                  <a:cubicBezTo>
                    <a:pt x="197" y="87"/>
                    <a:pt x="196" y="87"/>
                    <a:pt x="195" y="87"/>
                  </a:cubicBezTo>
                  <a:cubicBezTo>
                    <a:pt x="194" y="87"/>
                    <a:pt x="194" y="87"/>
                    <a:pt x="193" y="87"/>
                  </a:cubicBezTo>
                  <a:cubicBezTo>
                    <a:pt x="192" y="87"/>
                    <a:pt x="192" y="87"/>
                    <a:pt x="191" y="87"/>
                  </a:cubicBezTo>
                  <a:cubicBezTo>
                    <a:pt x="191" y="87"/>
                    <a:pt x="191" y="87"/>
                    <a:pt x="191" y="86"/>
                  </a:cubicBezTo>
                  <a:cubicBezTo>
                    <a:pt x="191" y="86"/>
                    <a:pt x="190" y="86"/>
                    <a:pt x="190" y="85"/>
                  </a:cubicBezTo>
                  <a:lnTo>
                    <a:pt x="190" y="78"/>
                  </a:lnTo>
                  <a:cubicBezTo>
                    <a:pt x="187" y="81"/>
                    <a:pt x="184" y="84"/>
                    <a:pt x="181" y="86"/>
                  </a:cubicBezTo>
                  <a:cubicBezTo>
                    <a:pt x="178" y="87"/>
                    <a:pt x="175" y="88"/>
                    <a:pt x="171" y="88"/>
                  </a:cubicBezTo>
                  <a:cubicBezTo>
                    <a:pt x="167" y="88"/>
                    <a:pt x="163" y="87"/>
                    <a:pt x="160" y="86"/>
                  </a:cubicBezTo>
                  <a:cubicBezTo>
                    <a:pt x="157" y="84"/>
                    <a:pt x="155" y="82"/>
                    <a:pt x="153" y="79"/>
                  </a:cubicBezTo>
                  <a:cubicBezTo>
                    <a:pt x="151" y="77"/>
                    <a:pt x="150" y="73"/>
                    <a:pt x="149" y="70"/>
                  </a:cubicBezTo>
                  <a:cubicBezTo>
                    <a:pt x="148" y="66"/>
                    <a:pt x="148" y="62"/>
                    <a:pt x="148" y="58"/>
                  </a:cubicBezTo>
                  <a:cubicBezTo>
                    <a:pt x="148" y="53"/>
                    <a:pt x="148" y="49"/>
                    <a:pt x="149" y="45"/>
                  </a:cubicBezTo>
                  <a:cubicBezTo>
                    <a:pt x="150" y="41"/>
                    <a:pt x="152" y="38"/>
                    <a:pt x="154" y="35"/>
                  </a:cubicBezTo>
                  <a:cubicBezTo>
                    <a:pt x="156" y="32"/>
                    <a:pt x="159" y="30"/>
                    <a:pt x="162" y="29"/>
                  </a:cubicBezTo>
                  <a:cubicBezTo>
                    <a:pt x="165" y="27"/>
                    <a:pt x="168" y="26"/>
                    <a:pt x="172" y="26"/>
                  </a:cubicBezTo>
                  <a:cubicBezTo>
                    <a:pt x="175" y="26"/>
                    <a:pt x="178" y="27"/>
                    <a:pt x="181" y="29"/>
                  </a:cubicBezTo>
                  <a:cubicBezTo>
                    <a:pt x="184" y="30"/>
                    <a:pt x="187" y="32"/>
                    <a:pt x="189" y="35"/>
                  </a:cubicBezTo>
                  <a:lnTo>
                    <a:pt x="189" y="2"/>
                  </a:lnTo>
                  <a:cubicBezTo>
                    <a:pt x="189" y="2"/>
                    <a:pt x="189" y="2"/>
                    <a:pt x="189" y="1"/>
                  </a:cubicBezTo>
                  <a:cubicBezTo>
                    <a:pt x="190" y="1"/>
                    <a:pt x="190" y="1"/>
                    <a:pt x="190" y="1"/>
                  </a:cubicBezTo>
                  <a:cubicBezTo>
                    <a:pt x="191" y="1"/>
                    <a:pt x="191" y="0"/>
                    <a:pt x="192" y="0"/>
                  </a:cubicBezTo>
                  <a:cubicBezTo>
                    <a:pt x="193" y="0"/>
                    <a:pt x="193" y="0"/>
                    <a:pt x="194" y="0"/>
                  </a:cubicBezTo>
                  <a:cubicBezTo>
                    <a:pt x="195" y="0"/>
                    <a:pt x="196" y="0"/>
                    <a:pt x="197" y="0"/>
                  </a:cubicBezTo>
                  <a:cubicBezTo>
                    <a:pt x="198" y="0"/>
                    <a:pt x="198" y="1"/>
                    <a:pt x="198" y="1"/>
                  </a:cubicBezTo>
                  <a:cubicBezTo>
                    <a:pt x="199" y="1"/>
                    <a:pt x="199" y="1"/>
                    <a:pt x="199" y="1"/>
                  </a:cubicBezTo>
                  <a:cubicBezTo>
                    <a:pt x="200" y="2"/>
                    <a:pt x="200" y="2"/>
                    <a:pt x="200" y="2"/>
                  </a:cubicBezTo>
                  <a:lnTo>
                    <a:pt x="200" y="85"/>
                  </a:lnTo>
                  <a:close/>
                  <a:moveTo>
                    <a:pt x="189" y="46"/>
                  </a:moveTo>
                  <a:cubicBezTo>
                    <a:pt x="186" y="42"/>
                    <a:pt x="184" y="40"/>
                    <a:pt x="181" y="38"/>
                  </a:cubicBezTo>
                  <a:cubicBezTo>
                    <a:pt x="179" y="36"/>
                    <a:pt x="176" y="35"/>
                    <a:pt x="173" y="35"/>
                  </a:cubicBezTo>
                  <a:cubicBezTo>
                    <a:pt x="170" y="35"/>
                    <a:pt x="168" y="36"/>
                    <a:pt x="166" y="37"/>
                  </a:cubicBezTo>
                  <a:cubicBezTo>
                    <a:pt x="164" y="38"/>
                    <a:pt x="163" y="40"/>
                    <a:pt x="162" y="42"/>
                  </a:cubicBezTo>
                  <a:cubicBezTo>
                    <a:pt x="161" y="44"/>
                    <a:pt x="160" y="46"/>
                    <a:pt x="159" y="49"/>
                  </a:cubicBezTo>
                  <a:cubicBezTo>
                    <a:pt x="159" y="52"/>
                    <a:pt x="159" y="54"/>
                    <a:pt x="159" y="57"/>
                  </a:cubicBezTo>
                  <a:cubicBezTo>
                    <a:pt x="159" y="60"/>
                    <a:pt x="159" y="63"/>
                    <a:pt x="159" y="65"/>
                  </a:cubicBezTo>
                  <a:cubicBezTo>
                    <a:pt x="160" y="68"/>
                    <a:pt x="160" y="70"/>
                    <a:pt x="161" y="72"/>
                  </a:cubicBezTo>
                  <a:cubicBezTo>
                    <a:pt x="163" y="75"/>
                    <a:pt x="164" y="76"/>
                    <a:pt x="166" y="78"/>
                  </a:cubicBezTo>
                  <a:cubicBezTo>
                    <a:pt x="168" y="79"/>
                    <a:pt x="170" y="79"/>
                    <a:pt x="173" y="79"/>
                  </a:cubicBezTo>
                  <a:cubicBezTo>
                    <a:pt x="174" y="79"/>
                    <a:pt x="175" y="79"/>
                    <a:pt x="177" y="79"/>
                  </a:cubicBezTo>
                  <a:cubicBezTo>
                    <a:pt x="178" y="78"/>
                    <a:pt x="179" y="78"/>
                    <a:pt x="180" y="77"/>
                  </a:cubicBezTo>
                  <a:cubicBezTo>
                    <a:pt x="182" y="76"/>
                    <a:pt x="183" y="75"/>
                    <a:pt x="185" y="74"/>
                  </a:cubicBezTo>
                  <a:cubicBezTo>
                    <a:pt x="186" y="72"/>
                    <a:pt x="188" y="70"/>
                    <a:pt x="189" y="68"/>
                  </a:cubicBezTo>
                  <a:lnTo>
                    <a:pt x="189" y="46"/>
                  </a:lnTo>
                  <a:close/>
                  <a:moveTo>
                    <a:pt x="263" y="55"/>
                  </a:moveTo>
                  <a:cubicBezTo>
                    <a:pt x="263" y="57"/>
                    <a:pt x="263" y="58"/>
                    <a:pt x="262" y="58"/>
                  </a:cubicBezTo>
                  <a:cubicBezTo>
                    <a:pt x="261" y="59"/>
                    <a:pt x="260" y="59"/>
                    <a:pt x="259" y="59"/>
                  </a:cubicBezTo>
                  <a:lnTo>
                    <a:pt x="222" y="59"/>
                  </a:lnTo>
                  <a:cubicBezTo>
                    <a:pt x="222" y="63"/>
                    <a:pt x="223" y="65"/>
                    <a:pt x="223" y="68"/>
                  </a:cubicBezTo>
                  <a:cubicBezTo>
                    <a:pt x="224" y="70"/>
                    <a:pt x="225" y="72"/>
                    <a:pt x="226" y="74"/>
                  </a:cubicBezTo>
                  <a:cubicBezTo>
                    <a:pt x="228" y="76"/>
                    <a:pt x="230" y="77"/>
                    <a:pt x="232" y="78"/>
                  </a:cubicBezTo>
                  <a:cubicBezTo>
                    <a:pt x="234" y="79"/>
                    <a:pt x="237" y="80"/>
                    <a:pt x="241" y="80"/>
                  </a:cubicBezTo>
                  <a:cubicBezTo>
                    <a:pt x="243" y="80"/>
                    <a:pt x="246" y="80"/>
                    <a:pt x="248" y="79"/>
                  </a:cubicBezTo>
                  <a:cubicBezTo>
                    <a:pt x="250" y="79"/>
                    <a:pt x="252" y="78"/>
                    <a:pt x="253" y="78"/>
                  </a:cubicBezTo>
                  <a:cubicBezTo>
                    <a:pt x="255" y="77"/>
                    <a:pt x="256" y="77"/>
                    <a:pt x="257" y="76"/>
                  </a:cubicBezTo>
                  <a:cubicBezTo>
                    <a:pt x="258" y="76"/>
                    <a:pt x="259" y="76"/>
                    <a:pt x="259" y="76"/>
                  </a:cubicBezTo>
                  <a:cubicBezTo>
                    <a:pt x="260" y="76"/>
                    <a:pt x="260" y="76"/>
                    <a:pt x="260" y="76"/>
                  </a:cubicBezTo>
                  <a:cubicBezTo>
                    <a:pt x="260" y="76"/>
                    <a:pt x="261" y="76"/>
                    <a:pt x="261" y="76"/>
                  </a:cubicBezTo>
                  <a:cubicBezTo>
                    <a:pt x="261" y="77"/>
                    <a:pt x="261" y="77"/>
                    <a:pt x="261" y="78"/>
                  </a:cubicBezTo>
                  <a:cubicBezTo>
                    <a:pt x="261" y="78"/>
                    <a:pt x="261" y="79"/>
                    <a:pt x="261" y="80"/>
                  </a:cubicBezTo>
                  <a:cubicBezTo>
                    <a:pt x="261" y="80"/>
                    <a:pt x="261" y="81"/>
                    <a:pt x="261" y="81"/>
                  </a:cubicBezTo>
                  <a:cubicBezTo>
                    <a:pt x="261" y="81"/>
                    <a:pt x="261" y="82"/>
                    <a:pt x="261" y="82"/>
                  </a:cubicBezTo>
                  <a:cubicBezTo>
                    <a:pt x="261" y="82"/>
                    <a:pt x="261" y="83"/>
                    <a:pt x="261" y="83"/>
                  </a:cubicBezTo>
                  <a:cubicBezTo>
                    <a:pt x="260" y="83"/>
                    <a:pt x="260" y="83"/>
                    <a:pt x="260" y="84"/>
                  </a:cubicBezTo>
                  <a:cubicBezTo>
                    <a:pt x="260" y="84"/>
                    <a:pt x="259" y="84"/>
                    <a:pt x="258" y="85"/>
                  </a:cubicBezTo>
                  <a:cubicBezTo>
                    <a:pt x="257" y="85"/>
                    <a:pt x="255" y="86"/>
                    <a:pt x="254" y="86"/>
                  </a:cubicBezTo>
                  <a:cubicBezTo>
                    <a:pt x="252" y="87"/>
                    <a:pt x="250" y="87"/>
                    <a:pt x="247" y="88"/>
                  </a:cubicBezTo>
                  <a:cubicBezTo>
                    <a:pt x="245" y="88"/>
                    <a:pt x="242" y="88"/>
                    <a:pt x="240" y="88"/>
                  </a:cubicBezTo>
                  <a:cubicBezTo>
                    <a:pt x="235" y="88"/>
                    <a:pt x="231" y="88"/>
                    <a:pt x="228" y="86"/>
                  </a:cubicBezTo>
                  <a:cubicBezTo>
                    <a:pt x="224" y="85"/>
                    <a:pt x="221" y="83"/>
                    <a:pt x="219" y="81"/>
                  </a:cubicBezTo>
                  <a:cubicBezTo>
                    <a:pt x="216" y="78"/>
                    <a:pt x="215" y="75"/>
                    <a:pt x="213" y="71"/>
                  </a:cubicBezTo>
                  <a:cubicBezTo>
                    <a:pt x="212" y="67"/>
                    <a:pt x="212" y="63"/>
                    <a:pt x="212" y="58"/>
                  </a:cubicBezTo>
                  <a:cubicBezTo>
                    <a:pt x="212" y="53"/>
                    <a:pt x="212" y="48"/>
                    <a:pt x="214" y="45"/>
                  </a:cubicBezTo>
                  <a:cubicBezTo>
                    <a:pt x="215" y="41"/>
                    <a:pt x="217" y="37"/>
                    <a:pt x="219" y="35"/>
                  </a:cubicBezTo>
                  <a:cubicBezTo>
                    <a:pt x="221" y="32"/>
                    <a:pt x="224" y="30"/>
                    <a:pt x="227" y="29"/>
                  </a:cubicBezTo>
                  <a:cubicBezTo>
                    <a:pt x="231" y="27"/>
                    <a:pt x="235" y="26"/>
                    <a:pt x="239" y="26"/>
                  </a:cubicBezTo>
                  <a:cubicBezTo>
                    <a:pt x="243" y="26"/>
                    <a:pt x="247" y="27"/>
                    <a:pt x="250" y="29"/>
                  </a:cubicBezTo>
                  <a:cubicBezTo>
                    <a:pt x="253" y="30"/>
                    <a:pt x="256" y="32"/>
                    <a:pt x="258" y="34"/>
                  </a:cubicBezTo>
                  <a:cubicBezTo>
                    <a:pt x="260" y="37"/>
                    <a:pt x="261" y="39"/>
                    <a:pt x="262" y="43"/>
                  </a:cubicBezTo>
                  <a:cubicBezTo>
                    <a:pt x="263" y="46"/>
                    <a:pt x="263" y="49"/>
                    <a:pt x="263" y="53"/>
                  </a:cubicBezTo>
                  <a:lnTo>
                    <a:pt x="263" y="55"/>
                  </a:lnTo>
                  <a:close/>
                  <a:moveTo>
                    <a:pt x="253" y="52"/>
                  </a:moveTo>
                  <a:cubicBezTo>
                    <a:pt x="253" y="46"/>
                    <a:pt x="252" y="42"/>
                    <a:pt x="249" y="39"/>
                  </a:cubicBezTo>
                  <a:cubicBezTo>
                    <a:pt x="247" y="36"/>
                    <a:pt x="243" y="34"/>
                    <a:pt x="238" y="34"/>
                  </a:cubicBezTo>
                  <a:cubicBezTo>
                    <a:pt x="236" y="34"/>
                    <a:pt x="233" y="35"/>
                    <a:pt x="231" y="36"/>
                  </a:cubicBezTo>
                  <a:cubicBezTo>
                    <a:pt x="229" y="37"/>
                    <a:pt x="228" y="38"/>
                    <a:pt x="227" y="40"/>
                  </a:cubicBezTo>
                  <a:cubicBezTo>
                    <a:pt x="225" y="41"/>
                    <a:pt x="224" y="43"/>
                    <a:pt x="224" y="45"/>
                  </a:cubicBezTo>
                  <a:cubicBezTo>
                    <a:pt x="223" y="47"/>
                    <a:pt x="222" y="50"/>
                    <a:pt x="222" y="52"/>
                  </a:cubicBezTo>
                  <a:lnTo>
                    <a:pt x="253" y="52"/>
                  </a:lnTo>
                  <a:close/>
                  <a:moveTo>
                    <a:pt x="328" y="85"/>
                  </a:moveTo>
                  <a:cubicBezTo>
                    <a:pt x="328" y="86"/>
                    <a:pt x="328" y="86"/>
                    <a:pt x="327" y="86"/>
                  </a:cubicBezTo>
                  <a:cubicBezTo>
                    <a:pt x="327" y="87"/>
                    <a:pt x="327" y="87"/>
                    <a:pt x="327" y="87"/>
                  </a:cubicBezTo>
                  <a:cubicBezTo>
                    <a:pt x="326" y="87"/>
                    <a:pt x="326" y="87"/>
                    <a:pt x="325" y="87"/>
                  </a:cubicBezTo>
                  <a:cubicBezTo>
                    <a:pt x="325" y="87"/>
                    <a:pt x="324" y="87"/>
                    <a:pt x="323" y="87"/>
                  </a:cubicBezTo>
                  <a:cubicBezTo>
                    <a:pt x="322" y="87"/>
                    <a:pt x="322" y="87"/>
                    <a:pt x="321" y="87"/>
                  </a:cubicBezTo>
                  <a:cubicBezTo>
                    <a:pt x="320" y="87"/>
                    <a:pt x="320" y="87"/>
                    <a:pt x="319" y="87"/>
                  </a:cubicBezTo>
                  <a:cubicBezTo>
                    <a:pt x="319" y="87"/>
                    <a:pt x="319" y="87"/>
                    <a:pt x="319" y="86"/>
                  </a:cubicBezTo>
                  <a:cubicBezTo>
                    <a:pt x="319" y="86"/>
                    <a:pt x="318" y="86"/>
                    <a:pt x="318" y="85"/>
                  </a:cubicBezTo>
                  <a:lnTo>
                    <a:pt x="318" y="78"/>
                  </a:lnTo>
                  <a:cubicBezTo>
                    <a:pt x="315" y="81"/>
                    <a:pt x="312" y="84"/>
                    <a:pt x="309" y="86"/>
                  </a:cubicBezTo>
                  <a:cubicBezTo>
                    <a:pt x="306" y="87"/>
                    <a:pt x="303" y="88"/>
                    <a:pt x="299" y="88"/>
                  </a:cubicBezTo>
                  <a:cubicBezTo>
                    <a:pt x="295" y="88"/>
                    <a:pt x="291" y="87"/>
                    <a:pt x="288" y="86"/>
                  </a:cubicBezTo>
                  <a:cubicBezTo>
                    <a:pt x="285" y="84"/>
                    <a:pt x="283" y="82"/>
                    <a:pt x="281" y="79"/>
                  </a:cubicBezTo>
                  <a:cubicBezTo>
                    <a:pt x="279" y="77"/>
                    <a:pt x="278" y="73"/>
                    <a:pt x="277" y="70"/>
                  </a:cubicBezTo>
                  <a:cubicBezTo>
                    <a:pt x="276" y="66"/>
                    <a:pt x="276" y="62"/>
                    <a:pt x="276" y="58"/>
                  </a:cubicBezTo>
                  <a:cubicBezTo>
                    <a:pt x="276" y="53"/>
                    <a:pt x="276" y="49"/>
                    <a:pt x="277" y="45"/>
                  </a:cubicBezTo>
                  <a:cubicBezTo>
                    <a:pt x="278" y="41"/>
                    <a:pt x="280" y="38"/>
                    <a:pt x="282" y="35"/>
                  </a:cubicBezTo>
                  <a:cubicBezTo>
                    <a:pt x="284" y="32"/>
                    <a:pt x="287" y="30"/>
                    <a:pt x="290" y="29"/>
                  </a:cubicBezTo>
                  <a:cubicBezTo>
                    <a:pt x="293" y="27"/>
                    <a:pt x="296" y="26"/>
                    <a:pt x="300" y="26"/>
                  </a:cubicBezTo>
                  <a:cubicBezTo>
                    <a:pt x="303" y="26"/>
                    <a:pt x="306" y="27"/>
                    <a:pt x="309" y="29"/>
                  </a:cubicBezTo>
                  <a:cubicBezTo>
                    <a:pt x="312" y="30"/>
                    <a:pt x="315" y="32"/>
                    <a:pt x="317" y="35"/>
                  </a:cubicBezTo>
                  <a:lnTo>
                    <a:pt x="317" y="2"/>
                  </a:lnTo>
                  <a:cubicBezTo>
                    <a:pt x="317" y="2"/>
                    <a:pt x="317" y="2"/>
                    <a:pt x="317" y="1"/>
                  </a:cubicBezTo>
                  <a:cubicBezTo>
                    <a:pt x="318" y="1"/>
                    <a:pt x="318" y="1"/>
                    <a:pt x="318" y="1"/>
                  </a:cubicBezTo>
                  <a:cubicBezTo>
                    <a:pt x="319" y="1"/>
                    <a:pt x="319" y="0"/>
                    <a:pt x="320" y="0"/>
                  </a:cubicBezTo>
                  <a:cubicBezTo>
                    <a:pt x="321" y="0"/>
                    <a:pt x="321" y="0"/>
                    <a:pt x="322" y="0"/>
                  </a:cubicBezTo>
                  <a:cubicBezTo>
                    <a:pt x="323" y="0"/>
                    <a:pt x="324" y="0"/>
                    <a:pt x="325" y="0"/>
                  </a:cubicBezTo>
                  <a:cubicBezTo>
                    <a:pt x="326" y="0"/>
                    <a:pt x="326" y="1"/>
                    <a:pt x="326" y="1"/>
                  </a:cubicBezTo>
                  <a:cubicBezTo>
                    <a:pt x="327" y="1"/>
                    <a:pt x="327" y="1"/>
                    <a:pt x="327" y="1"/>
                  </a:cubicBezTo>
                  <a:cubicBezTo>
                    <a:pt x="328" y="2"/>
                    <a:pt x="328" y="2"/>
                    <a:pt x="328" y="2"/>
                  </a:cubicBezTo>
                  <a:lnTo>
                    <a:pt x="328" y="85"/>
                  </a:lnTo>
                  <a:close/>
                  <a:moveTo>
                    <a:pt x="317" y="46"/>
                  </a:moveTo>
                  <a:cubicBezTo>
                    <a:pt x="314" y="42"/>
                    <a:pt x="312" y="40"/>
                    <a:pt x="309" y="38"/>
                  </a:cubicBezTo>
                  <a:cubicBezTo>
                    <a:pt x="307" y="36"/>
                    <a:pt x="304" y="35"/>
                    <a:pt x="301" y="35"/>
                  </a:cubicBezTo>
                  <a:cubicBezTo>
                    <a:pt x="298" y="35"/>
                    <a:pt x="296" y="36"/>
                    <a:pt x="294" y="37"/>
                  </a:cubicBezTo>
                  <a:cubicBezTo>
                    <a:pt x="292" y="38"/>
                    <a:pt x="291" y="40"/>
                    <a:pt x="290" y="42"/>
                  </a:cubicBezTo>
                  <a:cubicBezTo>
                    <a:pt x="289" y="44"/>
                    <a:pt x="288" y="46"/>
                    <a:pt x="287" y="49"/>
                  </a:cubicBezTo>
                  <a:cubicBezTo>
                    <a:pt x="287" y="52"/>
                    <a:pt x="287" y="54"/>
                    <a:pt x="287" y="57"/>
                  </a:cubicBezTo>
                  <a:cubicBezTo>
                    <a:pt x="287" y="60"/>
                    <a:pt x="287" y="63"/>
                    <a:pt x="287" y="65"/>
                  </a:cubicBezTo>
                  <a:cubicBezTo>
                    <a:pt x="288" y="68"/>
                    <a:pt x="288" y="70"/>
                    <a:pt x="289" y="72"/>
                  </a:cubicBezTo>
                  <a:cubicBezTo>
                    <a:pt x="291" y="75"/>
                    <a:pt x="292" y="76"/>
                    <a:pt x="294" y="78"/>
                  </a:cubicBezTo>
                  <a:cubicBezTo>
                    <a:pt x="296" y="79"/>
                    <a:pt x="298" y="79"/>
                    <a:pt x="301" y="79"/>
                  </a:cubicBezTo>
                  <a:cubicBezTo>
                    <a:pt x="302" y="79"/>
                    <a:pt x="303" y="79"/>
                    <a:pt x="305" y="79"/>
                  </a:cubicBezTo>
                  <a:cubicBezTo>
                    <a:pt x="306" y="78"/>
                    <a:pt x="307" y="78"/>
                    <a:pt x="308" y="77"/>
                  </a:cubicBezTo>
                  <a:cubicBezTo>
                    <a:pt x="310" y="76"/>
                    <a:pt x="311" y="75"/>
                    <a:pt x="313" y="74"/>
                  </a:cubicBezTo>
                  <a:cubicBezTo>
                    <a:pt x="314" y="72"/>
                    <a:pt x="316" y="70"/>
                    <a:pt x="317" y="68"/>
                  </a:cubicBezTo>
                  <a:lnTo>
                    <a:pt x="317" y="46"/>
                  </a:lnTo>
                  <a:close/>
                  <a:moveTo>
                    <a:pt x="422" y="83"/>
                  </a:moveTo>
                  <a:cubicBezTo>
                    <a:pt x="422" y="83"/>
                    <a:pt x="422" y="84"/>
                    <a:pt x="421" y="85"/>
                  </a:cubicBezTo>
                  <a:cubicBezTo>
                    <a:pt x="421" y="85"/>
                    <a:pt x="421" y="86"/>
                    <a:pt x="421" y="86"/>
                  </a:cubicBezTo>
                  <a:cubicBezTo>
                    <a:pt x="421" y="86"/>
                    <a:pt x="421" y="87"/>
                    <a:pt x="420" y="87"/>
                  </a:cubicBezTo>
                  <a:cubicBezTo>
                    <a:pt x="420" y="87"/>
                    <a:pt x="420" y="87"/>
                    <a:pt x="419" y="87"/>
                  </a:cubicBezTo>
                  <a:lnTo>
                    <a:pt x="381" y="87"/>
                  </a:lnTo>
                  <a:cubicBezTo>
                    <a:pt x="380" y="87"/>
                    <a:pt x="379" y="87"/>
                    <a:pt x="378" y="86"/>
                  </a:cubicBezTo>
                  <a:cubicBezTo>
                    <a:pt x="377" y="85"/>
                    <a:pt x="377" y="84"/>
                    <a:pt x="377" y="83"/>
                  </a:cubicBezTo>
                  <a:lnTo>
                    <a:pt x="377" y="11"/>
                  </a:lnTo>
                  <a:cubicBezTo>
                    <a:pt x="377" y="9"/>
                    <a:pt x="377" y="8"/>
                    <a:pt x="378" y="7"/>
                  </a:cubicBezTo>
                  <a:cubicBezTo>
                    <a:pt x="379" y="6"/>
                    <a:pt x="380" y="6"/>
                    <a:pt x="381" y="6"/>
                  </a:cubicBezTo>
                  <a:lnTo>
                    <a:pt x="419" y="6"/>
                  </a:lnTo>
                  <a:cubicBezTo>
                    <a:pt x="419" y="6"/>
                    <a:pt x="420" y="6"/>
                    <a:pt x="420" y="6"/>
                  </a:cubicBezTo>
                  <a:cubicBezTo>
                    <a:pt x="420" y="7"/>
                    <a:pt x="420" y="7"/>
                    <a:pt x="421" y="7"/>
                  </a:cubicBezTo>
                  <a:cubicBezTo>
                    <a:pt x="421" y="8"/>
                    <a:pt x="421" y="8"/>
                    <a:pt x="421" y="9"/>
                  </a:cubicBezTo>
                  <a:cubicBezTo>
                    <a:pt x="421" y="9"/>
                    <a:pt x="421" y="10"/>
                    <a:pt x="421" y="11"/>
                  </a:cubicBezTo>
                  <a:cubicBezTo>
                    <a:pt x="421" y="11"/>
                    <a:pt x="421" y="12"/>
                    <a:pt x="421" y="13"/>
                  </a:cubicBezTo>
                  <a:cubicBezTo>
                    <a:pt x="421" y="13"/>
                    <a:pt x="421" y="14"/>
                    <a:pt x="421" y="14"/>
                  </a:cubicBezTo>
                  <a:cubicBezTo>
                    <a:pt x="420" y="14"/>
                    <a:pt x="420" y="15"/>
                    <a:pt x="420" y="15"/>
                  </a:cubicBezTo>
                  <a:cubicBezTo>
                    <a:pt x="420" y="15"/>
                    <a:pt x="419" y="15"/>
                    <a:pt x="419" y="15"/>
                  </a:cubicBezTo>
                  <a:lnTo>
                    <a:pt x="387" y="15"/>
                  </a:lnTo>
                  <a:lnTo>
                    <a:pt x="387" y="40"/>
                  </a:lnTo>
                  <a:lnTo>
                    <a:pt x="414" y="40"/>
                  </a:lnTo>
                  <a:cubicBezTo>
                    <a:pt x="415" y="40"/>
                    <a:pt x="415" y="41"/>
                    <a:pt x="415" y="41"/>
                  </a:cubicBezTo>
                  <a:cubicBezTo>
                    <a:pt x="416" y="41"/>
                    <a:pt x="416" y="41"/>
                    <a:pt x="416" y="42"/>
                  </a:cubicBezTo>
                  <a:cubicBezTo>
                    <a:pt x="416" y="42"/>
                    <a:pt x="416" y="42"/>
                    <a:pt x="416" y="43"/>
                  </a:cubicBezTo>
                  <a:cubicBezTo>
                    <a:pt x="417" y="43"/>
                    <a:pt x="417" y="44"/>
                    <a:pt x="417" y="45"/>
                  </a:cubicBezTo>
                  <a:cubicBezTo>
                    <a:pt x="417" y="46"/>
                    <a:pt x="417" y="46"/>
                    <a:pt x="416" y="47"/>
                  </a:cubicBezTo>
                  <a:cubicBezTo>
                    <a:pt x="416" y="47"/>
                    <a:pt x="416" y="48"/>
                    <a:pt x="416" y="48"/>
                  </a:cubicBezTo>
                  <a:cubicBezTo>
                    <a:pt x="416" y="49"/>
                    <a:pt x="416" y="49"/>
                    <a:pt x="415" y="49"/>
                  </a:cubicBezTo>
                  <a:cubicBezTo>
                    <a:pt x="415" y="49"/>
                    <a:pt x="415" y="49"/>
                    <a:pt x="414" y="49"/>
                  </a:cubicBezTo>
                  <a:lnTo>
                    <a:pt x="387" y="49"/>
                  </a:lnTo>
                  <a:lnTo>
                    <a:pt x="387" y="78"/>
                  </a:lnTo>
                  <a:lnTo>
                    <a:pt x="419" y="78"/>
                  </a:lnTo>
                  <a:cubicBezTo>
                    <a:pt x="420" y="78"/>
                    <a:pt x="420" y="78"/>
                    <a:pt x="420" y="78"/>
                  </a:cubicBezTo>
                  <a:cubicBezTo>
                    <a:pt x="421" y="79"/>
                    <a:pt x="421" y="79"/>
                    <a:pt x="421" y="79"/>
                  </a:cubicBezTo>
                  <a:cubicBezTo>
                    <a:pt x="421" y="79"/>
                    <a:pt x="421" y="80"/>
                    <a:pt x="421" y="81"/>
                  </a:cubicBezTo>
                  <a:cubicBezTo>
                    <a:pt x="422" y="81"/>
                    <a:pt x="422" y="82"/>
                    <a:pt x="422" y="83"/>
                  </a:cubicBezTo>
                  <a:close/>
                  <a:moveTo>
                    <a:pt x="486" y="29"/>
                  </a:moveTo>
                  <a:cubicBezTo>
                    <a:pt x="486" y="29"/>
                    <a:pt x="486" y="29"/>
                    <a:pt x="486" y="30"/>
                  </a:cubicBezTo>
                  <a:cubicBezTo>
                    <a:pt x="485" y="30"/>
                    <a:pt x="485" y="30"/>
                    <a:pt x="485" y="30"/>
                  </a:cubicBezTo>
                  <a:cubicBezTo>
                    <a:pt x="485" y="30"/>
                    <a:pt x="485" y="31"/>
                    <a:pt x="485" y="31"/>
                  </a:cubicBezTo>
                  <a:cubicBezTo>
                    <a:pt x="485" y="31"/>
                    <a:pt x="485" y="31"/>
                    <a:pt x="485" y="32"/>
                  </a:cubicBezTo>
                  <a:lnTo>
                    <a:pt x="466" y="85"/>
                  </a:lnTo>
                  <a:cubicBezTo>
                    <a:pt x="466" y="86"/>
                    <a:pt x="465" y="86"/>
                    <a:pt x="465" y="86"/>
                  </a:cubicBezTo>
                  <a:cubicBezTo>
                    <a:pt x="465" y="87"/>
                    <a:pt x="465" y="87"/>
                    <a:pt x="464" y="87"/>
                  </a:cubicBezTo>
                  <a:cubicBezTo>
                    <a:pt x="463" y="87"/>
                    <a:pt x="463" y="87"/>
                    <a:pt x="462" y="87"/>
                  </a:cubicBezTo>
                  <a:cubicBezTo>
                    <a:pt x="461" y="87"/>
                    <a:pt x="460" y="87"/>
                    <a:pt x="459" y="87"/>
                  </a:cubicBezTo>
                  <a:cubicBezTo>
                    <a:pt x="458" y="87"/>
                    <a:pt x="457" y="87"/>
                    <a:pt x="456" y="87"/>
                  </a:cubicBezTo>
                  <a:cubicBezTo>
                    <a:pt x="455" y="87"/>
                    <a:pt x="454" y="87"/>
                    <a:pt x="454" y="87"/>
                  </a:cubicBezTo>
                  <a:cubicBezTo>
                    <a:pt x="453" y="87"/>
                    <a:pt x="453" y="87"/>
                    <a:pt x="452" y="86"/>
                  </a:cubicBezTo>
                  <a:cubicBezTo>
                    <a:pt x="452" y="86"/>
                    <a:pt x="452" y="86"/>
                    <a:pt x="452" y="85"/>
                  </a:cubicBezTo>
                  <a:lnTo>
                    <a:pt x="433" y="32"/>
                  </a:lnTo>
                  <a:cubicBezTo>
                    <a:pt x="432" y="31"/>
                    <a:pt x="432" y="31"/>
                    <a:pt x="432" y="30"/>
                  </a:cubicBezTo>
                  <a:cubicBezTo>
                    <a:pt x="432" y="30"/>
                    <a:pt x="432" y="30"/>
                    <a:pt x="432" y="30"/>
                  </a:cubicBezTo>
                  <a:cubicBezTo>
                    <a:pt x="432" y="29"/>
                    <a:pt x="432" y="29"/>
                    <a:pt x="432" y="29"/>
                  </a:cubicBezTo>
                  <a:cubicBezTo>
                    <a:pt x="432" y="29"/>
                    <a:pt x="432" y="28"/>
                    <a:pt x="432" y="28"/>
                  </a:cubicBezTo>
                  <a:cubicBezTo>
                    <a:pt x="432" y="28"/>
                    <a:pt x="433" y="28"/>
                    <a:pt x="433" y="28"/>
                  </a:cubicBezTo>
                  <a:cubicBezTo>
                    <a:pt x="433" y="27"/>
                    <a:pt x="434" y="27"/>
                    <a:pt x="435" y="27"/>
                  </a:cubicBezTo>
                  <a:cubicBezTo>
                    <a:pt x="435" y="27"/>
                    <a:pt x="436" y="27"/>
                    <a:pt x="437" y="27"/>
                  </a:cubicBezTo>
                  <a:cubicBezTo>
                    <a:pt x="438" y="27"/>
                    <a:pt x="439" y="27"/>
                    <a:pt x="440" y="27"/>
                  </a:cubicBezTo>
                  <a:cubicBezTo>
                    <a:pt x="441" y="27"/>
                    <a:pt x="441" y="28"/>
                    <a:pt x="442" y="28"/>
                  </a:cubicBezTo>
                  <a:cubicBezTo>
                    <a:pt x="442" y="28"/>
                    <a:pt x="442" y="28"/>
                    <a:pt x="443" y="28"/>
                  </a:cubicBezTo>
                  <a:cubicBezTo>
                    <a:pt x="443" y="29"/>
                    <a:pt x="443" y="29"/>
                    <a:pt x="443" y="29"/>
                  </a:cubicBezTo>
                  <a:lnTo>
                    <a:pt x="459" y="76"/>
                  </a:lnTo>
                  <a:lnTo>
                    <a:pt x="459" y="76"/>
                  </a:lnTo>
                  <a:lnTo>
                    <a:pt x="459" y="76"/>
                  </a:lnTo>
                  <a:lnTo>
                    <a:pt x="475" y="29"/>
                  </a:lnTo>
                  <a:cubicBezTo>
                    <a:pt x="475" y="29"/>
                    <a:pt x="475" y="29"/>
                    <a:pt x="475" y="28"/>
                  </a:cubicBezTo>
                  <a:cubicBezTo>
                    <a:pt x="476" y="28"/>
                    <a:pt x="476" y="28"/>
                    <a:pt x="476" y="28"/>
                  </a:cubicBezTo>
                  <a:cubicBezTo>
                    <a:pt x="477" y="28"/>
                    <a:pt x="477" y="27"/>
                    <a:pt x="478" y="27"/>
                  </a:cubicBezTo>
                  <a:cubicBezTo>
                    <a:pt x="479" y="27"/>
                    <a:pt x="480" y="27"/>
                    <a:pt x="481" y="27"/>
                  </a:cubicBezTo>
                  <a:cubicBezTo>
                    <a:pt x="482" y="27"/>
                    <a:pt x="482" y="27"/>
                    <a:pt x="483" y="27"/>
                  </a:cubicBezTo>
                  <a:cubicBezTo>
                    <a:pt x="484" y="27"/>
                    <a:pt x="484" y="27"/>
                    <a:pt x="485" y="28"/>
                  </a:cubicBezTo>
                  <a:cubicBezTo>
                    <a:pt x="485" y="28"/>
                    <a:pt x="485" y="28"/>
                    <a:pt x="485" y="28"/>
                  </a:cubicBezTo>
                  <a:cubicBezTo>
                    <a:pt x="485" y="28"/>
                    <a:pt x="486" y="29"/>
                    <a:pt x="486" y="29"/>
                  </a:cubicBezTo>
                  <a:close/>
                  <a:moveTo>
                    <a:pt x="551" y="55"/>
                  </a:moveTo>
                  <a:cubicBezTo>
                    <a:pt x="551" y="57"/>
                    <a:pt x="551" y="58"/>
                    <a:pt x="550" y="58"/>
                  </a:cubicBezTo>
                  <a:cubicBezTo>
                    <a:pt x="549" y="59"/>
                    <a:pt x="548" y="59"/>
                    <a:pt x="547" y="59"/>
                  </a:cubicBezTo>
                  <a:lnTo>
                    <a:pt x="510" y="59"/>
                  </a:lnTo>
                  <a:cubicBezTo>
                    <a:pt x="510" y="63"/>
                    <a:pt x="511" y="65"/>
                    <a:pt x="511" y="68"/>
                  </a:cubicBezTo>
                  <a:cubicBezTo>
                    <a:pt x="512" y="70"/>
                    <a:pt x="513" y="72"/>
                    <a:pt x="514" y="74"/>
                  </a:cubicBezTo>
                  <a:cubicBezTo>
                    <a:pt x="516" y="76"/>
                    <a:pt x="518" y="77"/>
                    <a:pt x="520" y="78"/>
                  </a:cubicBezTo>
                  <a:cubicBezTo>
                    <a:pt x="522" y="79"/>
                    <a:pt x="525" y="80"/>
                    <a:pt x="529" y="80"/>
                  </a:cubicBezTo>
                  <a:cubicBezTo>
                    <a:pt x="531" y="80"/>
                    <a:pt x="534" y="80"/>
                    <a:pt x="536" y="79"/>
                  </a:cubicBezTo>
                  <a:cubicBezTo>
                    <a:pt x="538" y="79"/>
                    <a:pt x="540" y="78"/>
                    <a:pt x="541" y="78"/>
                  </a:cubicBezTo>
                  <a:cubicBezTo>
                    <a:pt x="543" y="77"/>
                    <a:pt x="544" y="77"/>
                    <a:pt x="545" y="76"/>
                  </a:cubicBezTo>
                  <a:cubicBezTo>
                    <a:pt x="546" y="76"/>
                    <a:pt x="547" y="76"/>
                    <a:pt x="547" y="76"/>
                  </a:cubicBezTo>
                  <a:cubicBezTo>
                    <a:pt x="548" y="76"/>
                    <a:pt x="548" y="76"/>
                    <a:pt x="548" y="76"/>
                  </a:cubicBezTo>
                  <a:cubicBezTo>
                    <a:pt x="548" y="76"/>
                    <a:pt x="549" y="76"/>
                    <a:pt x="549" y="76"/>
                  </a:cubicBezTo>
                  <a:cubicBezTo>
                    <a:pt x="549" y="77"/>
                    <a:pt x="549" y="77"/>
                    <a:pt x="549" y="78"/>
                  </a:cubicBezTo>
                  <a:cubicBezTo>
                    <a:pt x="549" y="78"/>
                    <a:pt x="549" y="79"/>
                    <a:pt x="549" y="80"/>
                  </a:cubicBezTo>
                  <a:cubicBezTo>
                    <a:pt x="549" y="80"/>
                    <a:pt x="549" y="81"/>
                    <a:pt x="549" y="81"/>
                  </a:cubicBezTo>
                  <a:cubicBezTo>
                    <a:pt x="549" y="81"/>
                    <a:pt x="549" y="82"/>
                    <a:pt x="549" y="82"/>
                  </a:cubicBezTo>
                  <a:cubicBezTo>
                    <a:pt x="549" y="82"/>
                    <a:pt x="549" y="83"/>
                    <a:pt x="549" y="83"/>
                  </a:cubicBezTo>
                  <a:cubicBezTo>
                    <a:pt x="548" y="83"/>
                    <a:pt x="548" y="83"/>
                    <a:pt x="548" y="84"/>
                  </a:cubicBezTo>
                  <a:cubicBezTo>
                    <a:pt x="548" y="84"/>
                    <a:pt x="547" y="84"/>
                    <a:pt x="546" y="85"/>
                  </a:cubicBezTo>
                  <a:cubicBezTo>
                    <a:pt x="545" y="85"/>
                    <a:pt x="543" y="86"/>
                    <a:pt x="542" y="86"/>
                  </a:cubicBezTo>
                  <a:cubicBezTo>
                    <a:pt x="540" y="87"/>
                    <a:pt x="538" y="87"/>
                    <a:pt x="535" y="88"/>
                  </a:cubicBezTo>
                  <a:cubicBezTo>
                    <a:pt x="533" y="88"/>
                    <a:pt x="530" y="88"/>
                    <a:pt x="528" y="88"/>
                  </a:cubicBezTo>
                  <a:cubicBezTo>
                    <a:pt x="523" y="88"/>
                    <a:pt x="519" y="88"/>
                    <a:pt x="516" y="86"/>
                  </a:cubicBezTo>
                  <a:cubicBezTo>
                    <a:pt x="512" y="85"/>
                    <a:pt x="509" y="83"/>
                    <a:pt x="507" y="81"/>
                  </a:cubicBezTo>
                  <a:cubicBezTo>
                    <a:pt x="504" y="78"/>
                    <a:pt x="503" y="75"/>
                    <a:pt x="501" y="71"/>
                  </a:cubicBezTo>
                  <a:cubicBezTo>
                    <a:pt x="500" y="67"/>
                    <a:pt x="500" y="63"/>
                    <a:pt x="500" y="58"/>
                  </a:cubicBezTo>
                  <a:cubicBezTo>
                    <a:pt x="500" y="53"/>
                    <a:pt x="500" y="48"/>
                    <a:pt x="502" y="45"/>
                  </a:cubicBezTo>
                  <a:cubicBezTo>
                    <a:pt x="503" y="41"/>
                    <a:pt x="505" y="37"/>
                    <a:pt x="507" y="35"/>
                  </a:cubicBezTo>
                  <a:cubicBezTo>
                    <a:pt x="509" y="32"/>
                    <a:pt x="512" y="30"/>
                    <a:pt x="515" y="29"/>
                  </a:cubicBezTo>
                  <a:cubicBezTo>
                    <a:pt x="519" y="27"/>
                    <a:pt x="523" y="26"/>
                    <a:pt x="527" y="26"/>
                  </a:cubicBezTo>
                  <a:cubicBezTo>
                    <a:pt x="531" y="26"/>
                    <a:pt x="535" y="27"/>
                    <a:pt x="538" y="29"/>
                  </a:cubicBezTo>
                  <a:cubicBezTo>
                    <a:pt x="541" y="30"/>
                    <a:pt x="544" y="32"/>
                    <a:pt x="546" y="34"/>
                  </a:cubicBezTo>
                  <a:cubicBezTo>
                    <a:pt x="548" y="37"/>
                    <a:pt x="549" y="39"/>
                    <a:pt x="550" y="43"/>
                  </a:cubicBezTo>
                  <a:cubicBezTo>
                    <a:pt x="551" y="46"/>
                    <a:pt x="551" y="49"/>
                    <a:pt x="551" y="53"/>
                  </a:cubicBezTo>
                  <a:lnTo>
                    <a:pt x="551" y="55"/>
                  </a:lnTo>
                  <a:close/>
                  <a:moveTo>
                    <a:pt x="541" y="52"/>
                  </a:moveTo>
                  <a:cubicBezTo>
                    <a:pt x="541" y="46"/>
                    <a:pt x="540" y="42"/>
                    <a:pt x="537" y="39"/>
                  </a:cubicBezTo>
                  <a:cubicBezTo>
                    <a:pt x="535" y="36"/>
                    <a:pt x="531" y="34"/>
                    <a:pt x="526" y="34"/>
                  </a:cubicBezTo>
                  <a:cubicBezTo>
                    <a:pt x="524" y="34"/>
                    <a:pt x="521" y="35"/>
                    <a:pt x="519" y="36"/>
                  </a:cubicBezTo>
                  <a:cubicBezTo>
                    <a:pt x="517" y="37"/>
                    <a:pt x="516" y="38"/>
                    <a:pt x="515" y="40"/>
                  </a:cubicBezTo>
                  <a:cubicBezTo>
                    <a:pt x="513" y="41"/>
                    <a:pt x="512" y="43"/>
                    <a:pt x="512" y="45"/>
                  </a:cubicBezTo>
                  <a:cubicBezTo>
                    <a:pt x="511" y="47"/>
                    <a:pt x="510" y="50"/>
                    <a:pt x="510" y="52"/>
                  </a:cubicBezTo>
                  <a:lnTo>
                    <a:pt x="541" y="52"/>
                  </a:lnTo>
                  <a:close/>
                  <a:moveTo>
                    <a:pt x="616" y="85"/>
                  </a:moveTo>
                  <a:cubicBezTo>
                    <a:pt x="616" y="86"/>
                    <a:pt x="616" y="86"/>
                    <a:pt x="616" y="86"/>
                  </a:cubicBezTo>
                  <a:cubicBezTo>
                    <a:pt x="615" y="87"/>
                    <a:pt x="615" y="87"/>
                    <a:pt x="615" y="87"/>
                  </a:cubicBezTo>
                  <a:cubicBezTo>
                    <a:pt x="614" y="87"/>
                    <a:pt x="614" y="87"/>
                    <a:pt x="613" y="87"/>
                  </a:cubicBezTo>
                  <a:cubicBezTo>
                    <a:pt x="613" y="87"/>
                    <a:pt x="612" y="87"/>
                    <a:pt x="611" y="87"/>
                  </a:cubicBezTo>
                  <a:cubicBezTo>
                    <a:pt x="610" y="87"/>
                    <a:pt x="609" y="87"/>
                    <a:pt x="608" y="87"/>
                  </a:cubicBezTo>
                  <a:cubicBezTo>
                    <a:pt x="608" y="87"/>
                    <a:pt x="607" y="87"/>
                    <a:pt x="607" y="87"/>
                  </a:cubicBezTo>
                  <a:cubicBezTo>
                    <a:pt x="606" y="87"/>
                    <a:pt x="606" y="87"/>
                    <a:pt x="606" y="86"/>
                  </a:cubicBezTo>
                  <a:cubicBezTo>
                    <a:pt x="606" y="86"/>
                    <a:pt x="606" y="86"/>
                    <a:pt x="606" y="85"/>
                  </a:cubicBezTo>
                  <a:lnTo>
                    <a:pt x="606" y="53"/>
                  </a:lnTo>
                  <a:cubicBezTo>
                    <a:pt x="606" y="49"/>
                    <a:pt x="605" y="47"/>
                    <a:pt x="605" y="45"/>
                  </a:cubicBezTo>
                  <a:cubicBezTo>
                    <a:pt x="604" y="43"/>
                    <a:pt x="604" y="41"/>
                    <a:pt x="603" y="40"/>
                  </a:cubicBezTo>
                  <a:cubicBezTo>
                    <a:pt x="602" y="38"/>
                    <a:pt x="600" y="37"/>
                    <a:pt x="599" y="36"/>
                  </a:cubicBezTo>
                  <a:cubicBezTo>
                    <a:pt x="597" y="36"/>
                    <a:pt x="596" y="35"/>
                    <a:pt x="594" y="35"/>
                  </a:cubicBezTo>
                  <a:cubicBezTo>
                    <a:pt x="591" y="35"/>
                    <a:pt x="588" y="36"/>
                    <a:pt x="586" y="38"/>
                  </a:cubicBezTo>
                  <a:cubicBezTo>
                    <a:pt x="583" y="40"/>
                    <a:pt x="581" y="43"/>
                    <a:pt x="578" y="46"/>
                  </a:cubicBezTo>
                  <a:lnTo>
                    <a:pt x="578" y="85"/>
                  </a:lnTo>
                  <a:cubicBezTo>
                    <a:pt x="578" y="86"/>
                    <a:pt x="578" y="86"/>
                    <a:pt x="577" y="86"/>
                  </a:cubicBezTo>
                  <a:cubicBezTo>
                    <a:pt x="577" y="87"/>
                    <a:pt x="577" y="87"/>
                    <a:pt x="577" y="87"/>
                  </a:cubicBezTo>
                  <a:cubicBezTo>
                    <a:pt x="576" y="87"/>
                    <a:pt x="576" y="87"/>
                    <a:pt x="575" y="87"/>
                  </a:cubicBezTo>
                  <a:cubicBezTo>
                    <a:pt x="574" y="87"/>
                    <a:pt x="574" y="87"/>
                    <a:pt x="573" y="87"/>
                  </a:cubicBezTo>
                  <a:cubicBezTo>
                    <a:pt x="572" y="87"/>
                    <a:pt x="571" y="87"/>
                    <a:pt x="570" y="87"/>
                  </a:cubicBezTo>
                  <a:cubicBezTo>
                    <a:pt x="569" y="87"/>
                    <a:pt x="569" y="87"/>
                    <a:pt x="568" y="87"/>
                  </a:cubicBezTo>
                  <a:cubicBezTo>
                    <a:pt x="568" y="87"/>
                    <a:pt x="568" y="87"/>
                    <a:pt x="568" y="86"/>
                  </a:cubicBezTo>
                  <a:cubicBezTo>
                    <a:pt x="567" y="86"/>
                    <a:pt x="567" y="86"/>
                    <a:pt x="567" y="85"/>
                  </a:cubicBezTo>
                  <a:lnTo>
                    <a:pt x="567" y="29"/>
                  </a:lnTo>
                  <a:cubicBezTo>
                    <a:pt x="567" y="29"/>
                    <a:pt x="567" y="29"/>
                    <a:pt x="568" y="28"/>
                  </a:cubicBezTo>
                  <a:cubicBezTo>
                    <a:pt x="568" y="28"/>
                    <a:pt x="568" y="28"/>
                    <a:pt x="568" y="28"/>
                  </a:cubicBezTo>
                  <a:cubicBezTo>
                    <a:pt x="569" y="28"/>
                    <a:pt x="569" y="27"/>
                    <a:pt x="570" y="27"/>
                  </a:cubicBezTo>
                  <a:cubicBezTo>
                    <a:pt x="570" y="27"/>
                    <a:pt x="571" y="27"/>
                    <a:pt x="572" y="27"/>
                  </a:cubicBezTo>
                  <a:cubicBezTo>
                    <a:pt x="573" y="27"/>
                    <a:pt x="574" y="27"/>
                    <a:pt x="574" y="27"/>
                  </a:cubicBezTo>
                  <a:cubicBezTo>
                    <a:pt x="575" y="27"/>
                    <a:pt x="575" y="28"/>
                    <a:pt x="576" y="28"/>
                  </a:cubicBezTo>
                  <a:cubicBezTo>
                    <a:pt x="576" y="28"/>
                    <a:pt x="576" y="28"/>
                    <a:pt x="577" y="28"/>
                  </a:cubicBezTo>
                  <a:cubicBezTo>
                    <a:pt x="577" y="29"/>
                    <a:pt x="577" y="29"/>
                    <a:pt x="577" y="29"/>
                  </a:cubicBezTo>
                  <a:lnTo>
                    <a:pt x="577" y="37"/>
                  </a:lnTo>
                  <a:cubicBezTo>
                    <a:pt x="580" y="33"/>
                    <a:pt x="583" y="31"/>
                    <a:pt x="586" y="29"/>
                  </a:cubicBezTo>
                  <a:cubicBezTo>
                    <a:pt x="589" y="27"/>
                    <a:pt x="593" y="26"/>
                    <a:pt x="596" y="26"/>
                  </a:cubicBezTo>
                  <a:cubicBezTo>
                    <a:pt x="599" y="26"/>
                    <a:pt x="603" y="27"/>
                    <a:pt x="605" y="28"/>
                  </a:cubicBezTo>
                  <a:cubicBezTo>
                    <a:pt x="608" y="30"/>
                    <a:pt x="610" y="31"/>
                    <a:pt x="611" y="33"/>
                  </a:cubicBezTo>
                  <a:cubicBezTo>
                    <a:pt x="613" y="36"/>
                    <a:pt x="614" y="38"/>
                    <a:pt x="615" y="41"/>
                  </a:cubicBezTo>
                  <a:cubicBezTo>
                    <a:pt x="616" y="44"/>
                    <a:pt x="616" y="47"/>
                    <a:pt x="616" y="51"/>
                  </a:cubicBezTo>
                  <a:lnTo>
                    <a:pt x="616" y="85"/>
                  </a:lnTo>
                  <a:close/>
                  <a:moveTo>
                    <a:pt x="661" y="81"/>
                  </a:moveTo>
                  <a:cubicBezTo>
                    <a:pt x="661" y="83"/>
                    <a:pt x="661" y="84"/>
                    <a:pt x="660" y="84"/>
                  </a:cubicBezTo>
                  <a:cubicBezTo>
                    <a:pt x="660" y="85"/>
                    <a:pt x="660" y="85"/>
                    <a:pt x="660" y="86"/>
                  </a:cubicBezTo>
                  <a:cubicBezTo>
                    <a:pt x="659" y="86"/>
                    <a:pt x="659" y="86"/>
                    <a:pt x="658" y="87"/>
                  </a:cubicBezTo>
                  <a:cubicBezTo>
                    <a:pt x="658" y="87"/>
                    <a:pt x="657" y="87"/>
                    <a:pt x="656" y="87"/>
                  </a:cubicBezTo>
                  <a:cubicBezTo>
                    <a:pt x="655" y="88"/>
                    <a:pt x="654" y="88"/>
                    <a:pt x="653" y="88"/>
                  </a:cubicBezTo>
                  <a:cubicBezTo>
                    <a:pt x="652" y="88"/>
                    <a:pt x="651" y="88"/>
                    <a:pt x="650" y="88"/>
                  </a:cubicBezTo>
                  <a:cubicBezTo>
                    <a:pt x="647" y="88"/>
                    <a:pt x="645" y="88"/>
                    <a:pt x="643" y="87"/>
                  </a:cubicBezTo>
                  <a:cubicBezTo>
                    <a:pt x="641" y="86"/>
                    <a:pt x="639" y="85"/>
                    <a:pt x="638" y="83"/>
                  </a:cubicBezTo>
                  <a:cubicBezTo>
                    <a:pt x="636" y="82"/>
                    <a:pt x="635" y="80"/>
                    <a:pt x="635" y="78"/>
                  </a:cubicBezTo>
                  <a:cubicBezTo>
                    <a:pt x="634" y="75"/>
                    <a:pt x="634" y="72"/>
                    <a:pt x="634" y="69"/>
                  </a:cubicBezTo>
                  <a:lnTo>
                    <a:pt x="634" y="36"/>
                  </a:lnTo>
                  <a:lnTo>
                    <a:pt x="626" y="36"/>
                  </a:lnTo>
                  <a:cubicBezTo>
                    <a:pt x="625" y="36"/>
                    <a:pt x="625" y="36"/>
                    <a:pt x="624" y="35"/>
                  </a:cubicBezTo>
                  <a:cubicBezTo>
                    <a:pt x="624" y="34"/>
                    <a:pt x="624" y="33"/>
                    <a:pt x="624" y="32"/>
                  </a:cubicBezTo>
                  <a:cubicBezTo>
                    <a:pt x="624" y="31"/>
                    <a:pt x="624" y="30"/>
                    <a:pt x="624" y="30"/>
                  </a:cubicBezTo>
                  <a:cubicBezTo>
                    <a:pt x="624" y="29"/>
                    <a:pt x="624" y="29"/>
                    <a:pt x="624" y="29"/>
                  </a:cubicBezTo>
                  <a:cubicBezTo>
                    <a:pt x="625" y="28"/>
                    <a:pt x="625" y="28"/>
                    <a:pt x="625" y="28"/>
                  </a:cubicBezTo>
                  <a:cubicBezTo>
                    <a:pt x="625" y="28"/>
                    <a:pt x="626" y="28"/>
                    <a:pt x="626" y="28"/>
                  </a:cubicBezTo>
                  <a:lnTo>
                    <a:pt x="634" y="28"/>
                  </a:lnTo>
                  <a:lnTo>
                    <a:pt x="634" y="14"/>
                  </a:lnTo>
                  <a:cubicBezTo>
                    <a:pt x="634" y="14"/>
                    <a:pt x="634" y="14"/>
                    <a:pt x="634" y="13"/>
                  </a:cubicBezTo>
                  <a:cubicBezTo>
                    <a:pt x="634" y="13"/>
                    <a:pt x="634" y="13"/>
                    <a:pt x="635" y="13"/>
                  </a:cubicBezTo>
                  <a:cubicBezTo>
                    <a:pt x="635" y="13"/>
                    <a:pt x="636" y="12"/>
                    <a:pt x="636" y="12"/>
                  </a:cubicBezTo>
                  <a:cubicBezTo>
                    <a:pt x="637" y="12"/>
                    <a:pt x="638" y="12"/>
                    <a:pt x="639" y="12"/>
                  </a:cubicBezTo>
                  <a:cubicBezTo>
                    <a:pt x="640" y="12"/>
                    <a:pt x="641" y="12"/>
                    <a:pt x="642" y="12"/>
                  </a:cubicBezTo>
                  <a:cubicBezTo>
                    <a:pt x="642" y="12"/>
                    <a:pt x="643" y="13"/>
                    <a:pt x="643" y="13"/>
                  </a:cubicBezTo>
                  <a:cubicBezTo>
                    <a:pt x="643" y="13"/>
                    <a:pt x="644" y="13"/>
                    <a:pt x="644" y="13"/>
                  </a:cubicBezTo>
                  <a:cubicBezTo>
                    <a:pt x="644" y="14"/>
                    <a:pt x="644" y="14"/>
                    <a:pt x="644" y="14"/>
                  </a:cubicBezTo>
                  <a:lnTo>
                    <a:pt x="644" y="28"/>
                  </a:lnTo>
                  <a:lnTo>
                    <a:pt x="659" y="28"/>
                  </a:lnTo>
                  <a:cubicBezTo>
                    <a:pt x="659" y="28"/>
                    <a:pt x="659" y="28"/>
                    <a:pt x="659" y="28"/>
                  </a:cubicBezTo>
                  <a:cubicBezTo>
                    <a:pt x="660" y="28"/>
                    <a:pt x="660" y="28"/>
                    <a:pt x="660" y="29"/>
                  </a:cubicBezTo>
                  <a:cubicBezTo>
                    <a:pt x="660" y="29"/>
                    <a:pt x="660" y="29"/>
                    <a:pt x="661" y="30"/>
                  </a:cubicBezTo>
                  <a:cubicBezTo>
                    <a:pt x="661" y="30"/>
                    <a:pt x="661" y="31"/>
                    <a:pt x="661" y="32"/>
                  </a:cubicBezTo>
                  <a:cubicBezTo>
                    <a:pt x="661" y="33"/>
                    <a:pt x="660" y="34"/>
                    <a:pt x="660" y="35"/>
                  </a:cubicBezTo>
                  <a:cubicBezTo>
                    <a:pt x="660" y="36"/>
                    <a:pt x="659" y="36"/>
                    <a:pt x="659" y="36"/>
                  </a:cubicBezTo>
                  <a:lnTo>
                    <a:pt x="644" y="36"/>
                  </a:lnTo>
                  <a:lnTo>
                    <a:pt x="644" y="68"/>
                  </a:lnTo>
                  <a:cubicBezTo>
                    <a:pt x="644" y="71"/>
                    <a:pt x="645" y="74"/>
                    <a:pt x="646" y="76"/>
                  </a:cubicBezTo>
                  <a:cubicBezTo>
                    <a:pt x="647" y="78"/>
                    <a:pt x="649" y="79"/>
                    <a:pt x="652" y="79"/>
                  </a:cubicBezTo>
                  <a:cubicBezTo>
                    <a:pt x="653" y="79"/>
                    <a:pt x="654" y="79"/>
                    <a:pt x="655" y="79"/>
                  </a:cubicBezTo>
                  <a:cubicBezTo>
                    <a:pt x="655" y="79"/>
                    <a:pt x="656" y="79"/>
                    <a:pt x="657" y="78"/>
                  </a:cubicBezTo>
                  <a:cubicBezTo>
                    <a:pt x="657" y="78"/>
                    <a:pt x="658" y="78"/>
                    <a:pt x="658" y="78"/>
                  </a:cubicBezTo>
                  <a:cubicBezTo>
                    <a:pt x="659" y="78"/>
                    <a:pt x="659" y="78"/>
                    <a:pt x="659" y="78"/>
                  </a:cubicBezTo>
                  <a:cubicBezTo>
                    <a:pt x="659" y="78"/>
                    <a:pt x="660" y="78"/>
                    <a:pt x="660" y="78"/>
                  </a:cubicBezTo>
                  <a:cubicBezTo>
                    <a:pt x="660" y="78"/>
                    <a:pt x="660" y="78"/>
                    <a:pt x="660" y="78"/>
                  </a:cubicBezTo>
                  <a:cubicBezTo>
                    <a:pt x="660" y="79"/>
                    <a:pt x="660" y="79"/>
                    <a:pt x="661" y="79"/>
                  </a:cubicBezTo>
                  <a:cubicBezTo>
                    <a:pt x="661" y="80"/>
                    <a:pt x="661" y="81"/>
                    <a:pt x="661" y="81"/>
                  </a:cubicBez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2">
              <a:extLst>
                <a:ext uri="{FF2B5EF4-FFF2-40B4-BE49-F238E27FC236}">
                  <a16:creationId xmlns:a16="http://schemas.microsoft.com/office/drawing/2014/main" id="{4F7A9685-951E-4171-8425-F95FD8B371B4}"/>
                </a:ext>
              </a:extLst>
            </p:cNvPr>
            <p:cNvSpPr>
              <a:spLocks noEditPoints="1"/>
            </p:cNvSpPr>
            <p:nvPr/>
          </p:nvSpPr>
          <p:spPr bwMode="auto">
            <a:xfrm>
              <a:off x="2933" y="2245"/>
              <a:ext cx="916" cy="67"/>
            </a:xfrm>
            <a:custGeom>
              <a:avLst/>
              <a:gdLst>
                <a:gd name="T0" fmla="*/ 37 w 2049"/>
                <a:gd name="T1" fmla="*/ 59 h 150"/>
                <a:gd name="T2" fmla="*/ 63 w 2049"/>
                <a:gd name="T3" fmla="*/ 59 h 150"/>
                <a:gd name="T4" fmla="*/ 62 w 2049"/>
                <a:gd name="T5" fmla="*/ 64 h 150"/>
                <a:gd name="T6" fmla="*/ 159 w 2049"/>
                <a:gd name="T7" fmla="*/ 77 h 150"/>
                <a:gd name="T8" fmla="*/ 121 w 2049"/>
                <a:gd name="T9" fmla="*/ 72 h 150"/>
                <a:gd name="T10" fmla="*/ 221 w 2049"/>
                <a:gd name="T11" fmla="*/ 91 h 150"/>
                <a:gd name="T12" fmla="*/ 184 w 2049"/>
                <a:gd name="T13" fmla="*/ 81 h 150"/>
                <a:gd name="T14" fmla="*/ 282 w 2049"/>
                <a:gd name="T15" fmla="*/ 101 h 150"/>
                <a:gd name="T16" fmla="*/ 242 w 2049"/>
                <a:gd name="T17" fmla="*/ 95 h 150"/>
                <a:gd name="T18" fmla="*/ 343 w 2049"/>
                <a:gd name="T19" fmla="*/ 108 h 150"/>
                <a:gd name="T20" fmla="*/ 305 w 2049"/>
                <a:gd name="T21" fmla="*/ 101 h 150"/>
                <a:gd name="T22" fmla="*/ 401 w 2049"/>
                <a:gd name="T23" fmla="*/ 118 h 150"/>
                <a:gd name="T24" fmla="*/ 427 w 2049"/>
                <a:gd name="T25" fmla="*/ 116 h 150"/>
                <a:gd name="T26" fmla="*/ 427 w 2049"/>
                <a:gd name="T27" fmla="*/ 121 h 150"/>
                <a:gd name="T28" fmla="*/ 515 w 2049"/>
                <a:gd name="T29" fmla="*/ 127 h 150"/>
                <a:gd name="T30" fmla="*/ 514 w 2049"/>
                <a:gd name="T31" fmla="*/ 132 h 150"/>
                <a:gd name="T32" fmla="*/ 549 w 2049"/>
                <a:gd name="T33" fmla="*/ 129 h 150"/>
                <a:gd name="T34" fmla="*/ 549 w 2049"/>
                <a:gd name="T35" fmla="*/ 134 h 150"/>
                <a:gd name="T36" fmla="*/ 646 w 2049"/>
                <a:gd name="T37" fmla="*/ 136 h 150"/>
                <a:gd name="T38" fmla="*/ 608 w 2049"/>
                <a:gd name="T39" fmla="*/ 136 h 150"/>
                <a:gd name="T40" fmla="*/ 710 w 2049"/>
                <a:gd name="T41" fmla="*/ 142 h 150"/>
                <a:gd name="T42" fmla="*/ 672 w 2049"/>
                <a:gd name="T43" fmla="*/ 137 h 150"/>
                <a:gd name="T44" fmla="*/ 769 w 2049"/>
                <a:gd name="T45" fmla="*/ 149 h 150"/>
                <a:gd name="T46" fmla="*/ 794 w 2049"/>
                <a:gd name="T47" fmla="*/ 144 h 150"/>
                <a:gd name="T48" fmla="*/ 794 w 2049"/>
                <a:gd name="T49" fmla="*/ 149 h 150"/>
                <a:gd name="T50" fmla="*/ 892 w 2049"/>
                <a:gd name="T51" fmla="*/ 144 h 150"/>
                <a:gd name="T52" fmla="*/ 853 w 2049"/>
                <a:gd name="T53" fmla="*/ 147 h 150"/>
                <a:gd name="T54" fmla="*/ 956 w 2049"/>
                <a:gd name="T55" fmla="*/ 147 h 150"/>
                <a:gd name="T56" fmla="*/ 917 w 2049"/>
                <a:gd name="T57" fmla="*/ 144 h 150"/>
                <a:gd name="T58" fmla="*/ 1014 w 2049"/>
                <a:gd name="T59" fmla="*/ 150 h 150"/>
                <a:gd name="T60" fmla="*/ 1040 w 2049"/>
                <a:gd name="T61" fmla="*/ 144 h 150"/>
                <a:gd name="T62" fmla="*/ 1040 w 2049"/>
                <a:gd name="T63" fmla="*/ 150 h 150"/>
                <a:gd name="T64" fmla="*/ 1137 w 2049"/>
                <a:gd name="T65" fmla="*/ 139 h 150"/>
                <a:gd name="T66" fmla="*/ 1099 w 2049"/>
                <a:gd name="T67" fmla="*/ 144 h 150"/>
                <a:gd name="T68" fmla="*/ 1201 w 2049"/>
                <a:gd name="T69" fmla="*/ 138 h 150"/>
                <a:gd name="T70" fmla="*/ 1163 w 2049"/>
                <a:gd name="T71" fmla="*/ 138 h 150"/>
                <a:gd name="T72" fmla="*/ 1260 w 2049"/>
                <a:gd name="T73" fmla="*/ 138 h 150"/>
                <a:gd name="T74" fmla="*/ 1285 w 2049"/>
                <a:gd name="T75" fmla="*/ 131 h 150"/>
                <a:gd name="T76" fmla="*/ 1321 w 2049"/>
                <a:gd name="T77" fmla="*/ 132 h 150"/>
                <a:gd name="T78" fmla="*/ 1285 w 2049"/>
                <a:gd name="T79" fmla="*/ 131 h 150"/>
                <a:gd name="T80" fmla="*/ 1382 w 2049"/>
                <a:gd name="T81" fmla="*/ 125 h 150"/>
                <a:gd name="T82" fmla="*/ 1407 w 2049"/>
                <a:gd name="T83" fmla="*/ 117 h 150"/>
                <a:gd name="T84" fmla="*/ 1408 w 2049"/>
                <a:gd name="T85" fmla="*/ 123 h 150"/>
                <a:gd name="T86" fmla="*/ 1504 w 2049"/>
                <a:gd name="T87" fmla="*/ 107 h 150"/>
                <a:gd name="T88" fmla="*/ 1466 w 2049"/>
                <a:gd name="T89" fmla="*/ 113 h 150"/>
                <a:gd name="T90" fmla="*/ 1565 w 2049"/>
                <a:gd name="T91" fmla="*/ 99 h 150"/>
                <a:gd name="T92" fmla="*/ 1530 w 2049"/>
                <a:gd name="T93" fmla="*/ 109 h 150"/>
                <a:gd name="T94" fmla="*/ 1625 w 2049"/>
                <a:gd name="T95" fmla="*/ 88 h 150"/>
                <a:gd name="T96" fmla="*/ 1588 w 2049"/>
                <a:gd name="T97" fmla="*/ 97 h 150"/>
                <a:gd name="T98" fmla="*/ 1689 w 2049"/>
                <a:gd name="T99" fmla="*/ 80 h 150"/>
                <a:gd name="T100" fmla="*/ 1650 w 2049"/>
                <a:gd name="T101" fmla="*/ 84 h 150"/>
                <a:gd name="T102" fmla="*/ 1747 w 2049"/>
                <a:gd name="T103" fmla="*/ 72 h 150"/>
                <a:gd name="T104" fmla="*/ 1771 w 2049"/>
                <a:gd name="T105" fmla="*/ 63 h 150"/>
                <a:gd name="T106" fmla="*/ 1808 w 2049"/>
                <a:gd name="T107" fmla="*/ 61 h 150"/>
                <a:gd name="T108" fmla="*/ 1771 w 2049"/>
                <a:gd name="T109" fmla="*/ 63 h 150"/>
                <a:gd name="T110" fmla="*/ 1867 w 2049"/>
                <a:gd name="T111" fmla="*/ 47 h 150"/>
                <a:gd name="T112" fmla="*/ 1891 w 2049"/>
                <a:gd name="T113" fmla="*/ 37 h 150"/>
                <a:gd name="T114" fmla="*/ 1892 w 2049"/>
                <a:gd name="T115" fmla="*/ 42 h 150"/>
                <a:gd name="T116" fmla="*/ 1986 w 2049"/>
                <a:gd name="T117" fmla="*/ 15 h 150"/>
                <a:gd name="T118" fmla="*/ 1949 w 2049"/>
                <a:gd name="T119" fmla="*/ 26 h 150"/>
                <a:gd name="T120" fmla="*/ 2049 w 2049"/>
                <a:gd name="T121" fmla="*/ 3 h 150"/>
                <a:gd name="T122" fmla="*/ 2011 w 2049"/>
                <a:gd name="T123" fmla="*/ 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9" h="150">
                  <a:moveTo>
                    <a:pt x="3" y="48"/>
                  </a:moveTo>
                  <a:lnTo>
                    <a:pt x="38" y="54"/>
                  </a:lnTo>
                  <a:cubicBezTo>
                    <a:pt x="40" y="55"/>
                    <a:pt x="40" y="56"/>
                    <a:pt x="40" y="57"/>
                  </a:cubicBezTo>
                  <a:cubicBezTo>
                    <a:pt x="40" y="59"/>
                    <a:pt x="39" y="60"/>
                    <a:pt x="37" y="59"/>
                  </a:cubicBezTo>
                  <a:lnTo>
                    <a:pt x="2" y="53"/>
                  </a:lnTo>
                  <a:cubicBezTo>
                    <a:pt x="1" y="53"/>
                    <a:pt x="0" y="51"/>
                    <a:pt x="0" y="50"/>
                  </a:cubicBezTo>
                  <a:cubicBezTo>
                    <a:pt x="0" y="49"/>
                    <a:pt x="2" y="48"/>
                    <a:pt x="3" y="48"/>
                  </a:cubicBezTo>
                  <a:close/>
                  <a:moveTo>
                    <a:pt x="63" y="59"/>
                  </a:moveTo>
                  <a:lnTo>
                    <a:pt x="99" y="66"/>
                  </a:lnTo>
                  <a:cubicBezTo>
                    <a:pt x="100" y="66"/>
                    <a:pt x="101" y="67"/>
                    <a:pt x="101" y="69"/>
                  </a:cubicBezTo>
                  <a:cubicBezTo>
                    <a:pt x="100" y="70"/>
                    <a:pt x="99" y="71"/>
                    <a:pt x="98" y="71"/>
                  </a:cubicBezTo>
                  <a:lnTo>
                    <a:pt x="62" y="64"/>
                  </a:lnTo>
                  <a:cubicBezTo>
                    <a:pt x="61" y="64"/>
                    <a:pt x="60" y="63"/>
                    <a:pt x="60" y="61"/>
                  </a:cubicBezTo>
                  <a:cubicBezTo>
                    <a:pt x="61" y="60"/>
                    <a:pt x="62" y="59"/>
                    <a:pt x="63" y="59"/>
                  </a:cubicBezTo>
                  <a:close/>
                  <a:moveTo>
                    <a:pt x="124" y="70"/>
                  </a:moveTo>
                  <a:lnTo>
                    <a:pt x="159" y="77"/>
                  </a:lnTo>
                  <a:cubicBezTo>
                    <a:pt x="160" y="77"/>
                    <a:pt x="161" y="78"/>
                    <a:pt x="161" y="80"/>
                  </a:cubicBezTo>
                  <a:cubicBezTo>
                    <a:pt x="161" y="81"/>
                    <a:pt x="159" y="82"/>
                    <a:pt x="158" y="82"/>
                  </a:cubicBezTo>
                  <a:lnTo>
                    <a:pt x="123" y="75"/>
                  </a:lnTo>
                  <a:cubicBezTo>
                    <a:pt x="121" y="75"/>
                    <a:pt x="121" y="74"/>
                    <a:pt x="121" y="72"/>
                  </a:cubicBezTo>
                  <a:cubicBezTo>
                    <a:pt x="121" y="71"/>
                    <a:pt x="122" y="70"/>
                    <a:pt x="124" y="70"/>
                  </a:cubicBezTo>
                  <a:close/>
                  <a:moveTo>
                    <a:pt x="184" y="81"/>
                  </a:moveTo>
                  <a:lnTo>
                    <a:pt x="219" y="88"/>
                  </a:lnTo>
                  <a:cubicBezTo>
                    <a:pt x="221" y="88"/>
                    <a:pt x="222" y="89"/>
                    <a:pt x="221" y="91"/>
                  </a:cubicBezTo>
                  <a:cubicBezTo>
                    <a:pt x="221" y="92"/>
                    <a:pt x="220" y="93"/>
                    <a:pt x="218" y="93"/>
                  </a:cubicBezTo>
                  <a:lnTo>
                    <a:pt x="183" y="86"/>
                  </a:lnTo>
                  <a:cubicBezTo>
                    <a:pt x="182" y="86"/>
                    <a:pt x="181" y="85"/>
                    <a:pt x="181" y="83"/>
                  </a:cubicBezTo>
                  <a:cubicBezTo>
                    <a:pt x="181" y="82"/>
                    <a:pt x="183" y="81"/>
                    <a:pt x="184" y="81"/>
                  </a:cubicBezTo>
                  <a:close/>
                  <a:moveTo>
                    <a:pt x="245" y="92"/>
                  </a:moveTo>
                  <a:lnTo>
                    <a:pt x="258" y="95"/>
                  </a:lnTo>
                  <a:lnTo>
                    <a:pt x="280" y="98"/>
                  </a:lnTo>
                  <a:cubicBezTo>
                    <a:pt x="281" y="98"/>
                    <a:pt x="282" y="99"/>
                    <a:pt x="282" y="101"/>
                  </a:cubicBezTo>
                  <a:cubicBezTo>
                    <a:pt x="282" y="102"/>
                    <a:pt x="281" y="103"/>
                    <a:pt x="279" y="103"/>
                  </a:cubicBezTo>
                  <a:lnTo>
                    <a:pt x="257" y="100"/>
                  </a:lnTo>
                  <a:lnTo>
                    <a:pt x="244" y="98"/>
                  </a:lnTo>
                  <a:cubicBezTo>
                    <a:pt x="242" y="97"/>
                    <a:pt x="241" y="96"/>
                    <a:pt x="242" y="95"/>
                  </a:cubicBezTo>
                  <a:cubicBezTo>
                    <a:pt x="242" y="93"/>
                    <a:pt x="243" y="92"/>
                    <a:pt x="245" y="92"/>
                  </a:cubicBezTo>
                  <a:close/>
                  <a:moveTo>
                    <a:pt x="305" y="101"/>
                  </a:moveTo>
                  <a:lnTo>
                    <a:pt x="341" y="105"/>
                  </a:lnTo>
                  <a:cubicBezTo>
                    <a:pt x="342" y="105"/>
                    <a:pt x="343" y="107"/>
                    <a:pt x="343" y="108"/>
                  </a:cubicBezTo>
                  <a:cubicBezTo>
                    <a:pt x="343" y="110"/>
                    <a:pt x="342" y="111"/>
                    <a:pt x="340" y="110"/>
                  </a:cubicBezTo>
                  <a:lnTo>
                    <a:pt x="305" y="106"/>
                  </a:lnTo>
                  <a:cubicBezTo>
                    <a:pt x="303" y="106"/>
                    <a:pt x="302" y="104"/>
                    <a:pt x="302" y="103"/>
                  </a:cubicBezTo>
                  <a:cubicBezTo>
                    <a:pt x="303" y="102"/>
                    <a:pt x="304" y="101"/>
                    <a:pt x="305" y="101"/>
                  </a:cubicBezTo>
                  <a:close/>
                  <a:moveTo>
                    <a:pt x="366" y="108"/>
                  </a:moveTo>
                  <a:lnTo>
                    <a:pt x="402" y="113"/>
                  </a:lnTo>
                  <a:cubicBezTo>
                    <a:pt x="403" y="113"/>
                    <a:pt x="404" y="114"/>
                    <a:pt x="404" y="116"/>
                  </a:cubicBezTo>
                  <a:cubicBezTo>
                    <a:pt x="404" y="117"/>
                    <a:pt x="403" y="118"/>
                    <a:pt x="401" y="118"/>
                  </a:cubicBezTo>
                  <a:lnTo>
                    <a:pt x="366" y="114"/>
                  </a:lnTo>
                  <a:cubicBezTo>
                    <a:pt x="364" y="113"/>
                    <a:pt x="363" y="112"/>
                    <a:pt x="363" y="111"/>
                  </a:cubicBezTo>
                  <a:cubicBezTo>
                    <a:pt x="364" y="109"/>
                    <a:pt x="365" y="108"/>
                    <a:pt x="366" y="108"/>
                  </a:cubicBezTo>
                  <a:close/>
                  <a:moveTo>
                    <a:pt x="427" y="116"/>
                  </a:moveTo>
                  <a:lnTo>
                    <a:pt x="463" y="120"/>
                  </a:lnTo>
                  <a:cubicBezTo>
                    <a:pt x="464" y="121"/>
                    <a:pt x="465" y="122"/>
                    <a:pt x="465" y="123"/>
                  </a:cubicBezTo>
                  <a:cubicBezTo>
                    <a:pt x="465" y="125"/>
                    <a:pt x="464" y="126"/>
                    <a:pt x="462" y="126"/>
                  </a:cubicBezTo>
                  <a:lnTo>
                    <a:pt x="427" y="121"/>
                  </a:lnTo>
                  <a:cubicBezTo>
                    <a:pt x="425" y="121"/>
                    <a:pt x="424" y="120"/>
                    <a:pt x="424" y="118"/>
                  </a:cubicBezTo>
                  <a:cubicBezTo>
                    <a:pt x="425" y="117"/>
                    <a:pt x="426" y="116"/>
                    <a:pt x="427" y="116"/>
                  </a:cubicBezTo>
                  <a:close/>
                  <a:moveTo>
                    <a:pt x="488" y="124"/>
                  </a:moveTo>
                  <a:lnTo>
                    <a:pt x="515" y="127"/>
                  </a:lnTo>
                  <a:lnTo>
                    <a:pt x="524" y="128"/>
                  </a:lnTo>
                  <a:cubicBezTo>
                    <a:pt x="525" y="128"/>
                    <a:pt x="526" y="129"/>
                    <a:pt x="526" y="130"/>
                  </a:cubicBezTo>
                  <a:cubicBezTo>
                    <a:pt x="526" y="132"/>
                    <a:pt x="525" y="133"/>
                    <a:pt x="523" y="133"/>
                  </a:cubicBezTo>
                  <a:lnTo>
                    <a:pt x="514" y="132"/>
                  </a:lnTo>
                  <a:lnTo>
                    <a:pt x="488" y="129"/>
                  </a:lnTo>
                  <a:cubicBezTo>
                    <a:pt x="486" y="129"/>
                    <a:pt x="485" y="127"/>
                    <a:pt x="485" y="126"/>
                  </a:cubicBezTo>
                  <a:cubicBezTo>
                    <a:pt x="485" y="124"/>
                    <a:pt x="487" y="123"/>
                    <a:pt x="488" y="124"/>
                  </a:cubicBezTo>
                  <a:close/>
                  <a:moveTo>
                    <a:pt x="549" y="129"/>
                  </a:moveTo>
                  <a:lnTo>
                    <a:pt x="585" y="132"/>
                  </a:lnTo>
                  <a:cubicBezTo>
                    <a:pt x="586" y="132"/>
                    <a:pt x="587" y="133"/>
                    <a:pt x="587" y="134"/>
                  </a:cubicBezTo>
                  <a:cubicBezTo>
                    <a:pt x="587" y="136"/>
                    <a:pt x="586" y="137"/>
                    <a:pt x="585" y="137"/>
                  </a:cubicBezTo>
                  <a:lnTo>
                    <a:pt x="549" y="134"/>
                  </a:lnTo>
                  <a:cubicBezTo>
                    <a:pt x="547" y="134"/>
                    <a:pt x="546" y="133"/>
                    <a:pt x="546" y="132"/>
                  </a:cubicBezTo>
                  <a:cubicBezTo>
                    <a:pt x="547" y="130"/>
                    <a:pt x="548" y="129"/>
                    <a:pt x="549" y="129"/>
                  </a:cubicBezTo>
                  <a:close/>
                  <a:moveTo>
                    <a:pt x="610" y="133"/>
                  </a:moveTo>
                  <a:lnTo>
                    <a:pt x="646" y="136"/>
                  </a:lnTo>
                  <a:cubicBezTo>
                    <a:pt x="648" y="136"/>
                    <a:pt x="649" y="137"/>
                    <a:pt x="649" y="138"/>
                  </a:cubicBezTo>
                  <a:cubicBezTo>
                    <a:pt x="649" y="140"/>
                    <a:pt x="647" y="141"/>
                    <a:pt x="646" y="141"/>
                  </a:cubicBezTo>
                  <a:lnTo>
                    <a:pt x="610" y="138"/>
                  </a:lnTo>
                  <a:cubicBezTo>
                    <a:pt x="609" y="138"/>
                    <a:pt x="608" y="137"/>
                    <a:pt x="608" y="136"/>
                  </a:cubicBezTo>
                  <a:cubicBezTo>
                    <a:pt x="608" y="134"/>
                    <a:pt x="609" y="133"/>
                    <a:pt x="610" y="133"/>
                  </a:cubicBezTo>
                  <a:close/>
                  <a:moveTo>
                    <a:pt x="672" y="137"/>
                  </a:moveTo>
                  <a:lnTo>
                    <a:pt x="708" y="140"/>
                  </a:lnTo>
                  <a:cubicBezTo>
                    <a:pt x="709" y="140"/>
                    <a:pt x="710" y="141"/>
                    <a:pt x="710" y="142"/>
                  </a:cubicBezTo>
                  <a:cubicBezTo>
                    <a:pt x="710" y="144"/>
                    <a:pt x="709" y="145"/>
                    <a:pt x="707" y="145"/>
                  </a:cubicBezTo>
                  <a:lnTo>
                    <a:pt x="671" y="142"/>
                  </a:lnTo>
                  <a:cubicBezTo>
                    <a:pt x="670" y="142"/>
                    <a:pt x="669" y="141"/>
                    <a:pt x="669" y="140"/>
                  </a:cubicBezTo>
                  <a:cubicBezTo>
                    <a:pt x="669" y="138"/>
                    <a:pt x="670" y="137"/>
                    <a:pt x="672" y="137"/>
                  </a:cubicBezTo>
                  <a:close/>
                  <a:moveTo>
                    <a:pt x="733" y="141"/>
                  </a:moveTo>
                  <a:lnTo>
                    <a:pt x="769" y="144"/>
                  </a:lnTo>
                  <a:cubicBezTo>
                    <a:pt x="770" y="144"/>
                    <a:pt x="771" y="145"/>
                    <a:pt x="771" y="146"/>
                  </a:cubicBezTo>
                  <a:cubicBezTo>
                    <a:pt x="771" y="148"/>
                    <a:pt x="770" y="149"/>
                    <a:pt x="769" y="149"/>
                  </a:cubicBezTo>
                  <a:lnTo>
                    <a:pt x="733" y="146"/>
                  </a:lnTo>
                  <a:cubicBezTo>
                    <a:pt x="731" y="146"/>
                    <a:pt x="730" y="145"/>
                    <a:pt x="730" y="144"/>
                  </a:cubicBezTo>
                  <a:cubicBezTo>
                    <a:pt x="730" y="142"/>
                    <a:pt x="732" y="141"/>
                    <a:pt x="733" y="141"/>
                  </a:cubicBezTo>
                  <a:close/>
                  <a:moveTo>
                    <a:pt x="794" y="144"/>
                  </a:moveTo>
                  <a:lnTo>
                    <a:pt x="830" y="144"/>
                  </a:lnTo>
                  <a:cubicBezTo>
                    <a:pt x="832" y="144"/>
                    <a:pt x="833" y="145"/>
                    <a:pt x="833" y="147"/>
                  </a:cubicBezTo>
                  <a:cubicBezTo>
                    <a:pt x="833" y="148"/>
                    <a:pt x="832" y="149"/>
                    <a:pt x="830" y="149"/>
                  </a:cubicBezTo>
                  <a:lnTo>
                    <a:pt x="794" y="149"/>
                  </a:lnTo>
                  <a:cubicBezTo>
                    <a:pt x="793" y="149"/>
                    <a:pt x="792" y="148"/>
                    <a:pt x="792" y="147"/>
                  </a:cubicBezTo>
                  <a:cubicBezTo>
                    <a:pt x="792" y="145"/>
                    <a:pt x="793" y="144"/>
                    <a:pt x="794" y="144"/>
                  </a:cubicBezTo>
                  <a:close/>
                  <a:moveTo>
                    <a:pt x="856" y="144"/>
                  </a:moveTo>
                  <a:lnTo>
                    <a:pt x="892" y="144"/>
                  </a:lnTo>
                  <a:cubicBezTo>
                    <a:pt x="893" y="144"/>
                    <a:pt x="894" y="146"/>
                    <a:pt x="894" y="147"/>
                  </a:cubicBezTo>
                  <a:cubicBezTo>
                    <a:pt x="894" y="148"/>
                    <a:pt x="893" y="149"/>
                    <a:pt x="892" y="149"/>
                  </a:cubicBezTo>
                  <a:lnTo>
                    <a:pt x="856" y="149"/>
                  </a:lnTo>
                  <a:cubicBezTo>
                    <a:pt x="854" y="149"/>
                    <a:pt x="853" y="148"/>
                    <a:pt x="853" y="147"/>
                  </a:cubicBezTo>
                  <a:cubicBezTo>
                    <a:pt x="853" y="145"/>
                    <a:pt x="854" y="144"/>
                    <a:pt x="856" y="144"/>
                  </a:cubicBezTo>
                  <a:close/>
                  <a:moveTo>
                    <a:pt x="917" y="144"/>
                  </a:moveTo>
                  <a:lnTo>
                    <a:pt x="953" y="145"/>
                  </a:lnTo>
                  <a:cubicBezTo>
                    <a:pt x="954" y="145"/>
                    <a:pt x="956" y="146"/>
                    <a:pt x="956" y="147"/>
                  </a:cubicBezTo>
                  <a:cubicBezTo>
                    <a:pt x="956" y="149"/>
                    <a:pt x="954" y="150"/>
                    <a:pt x="953" y="150"/>
                  </a:cubicBezTo>
                  <a:lnTo>
                    <a:pt x="917" y="150"/>
                  </a:lnTo>
                  <a:cubicBezTo>
                    <a:pt x="916" y="150"/>
                    <a:pt x="915" y="148"/>
                    <a:pt x="915" y="147"/>
                  </a:cubicBezTo>
                  <a:cubicBezTo>
                    <a:pt x="915" y="146"/>
                    <a:pt x="916" y="144"/>
                    <a:pt x="917" y="144"/>
                  </a:cubicBezTo>
                  <a:close/>
                  <a:moveTo>
                    <a:pt x="979" y="145"/>
                  </a:moveTo>
                  <a:lnTo>
                    <a:pt x="1014" y="145"/>
                  </a:lnTo>
                  <a:cubicBezTo>
                    <a:pt x="1016" y="145"/>
                    <a:pt x="1017" y="146"/>
                    <a:pt x="1017" y="147"/>
                  </a:cubicBezTo>
                  <a:cubicBezTo>
                    <a:pt x="1017" y="149"/>
                    <a:pt x="1016" y="150"/>
                    <a:pt x="1014" y="150"/>
                  </a:cubicBezTo>
                  <a:lnTo>
                    <a:pt x="979" y="150"/>
                  </a:lnTo>
                  <a:cubicBezTo>
                    <a:pt x="977" y="150"/>
                    <a:pt x="976" y="149"/>
                    <a:pt x="976" y="147"/>
                  </a:cubicBezTo>
                  <a:cubicBezTo>
                    <a:pt x="976" y="146"/>
                    <a:pt x="977" y="145"/>
                    <a:pt x="979" y="145"/>
                  </a:cubicBezTo>
                  <a:close/>
                  <a:moveTo>
                    <a:pt x="1040" y="144"/>
                  </a:moveTo>
                  <a:lnTo>
                    <a:pt x="1076" y="142"/>
                  </a:lnTo>
                  <a:cubicBezTo>
                    <a:pt x="1077" y="142"/>
                    <a:pt x="1078" y="144"/>
                    <a:pt x="1078" y="145"/>
                  </a:cubicBezTo>
                  <a:cubicBezTo>
                    <a:pt x="1078" y="146"/>
                    <a:pt x="1077" y="148"/>
                    <a:pt x="1076" y="148"/>
                  </a:cubicBezTo>
                  <a:lnTo>
                    <a:pt x="1040" y="150"/>
                  </a:lnTo>
                  <a:cubicBezTo>
                    <a:pt x="1039" y="150"/>
                    <a:pt x="1038" y="149"/>
                    <a:pt x="1037" y="147"/>
                  </a:cubicBezTo>
                  <a:cubicBezTo>
                    <a:pt x="1037" y="146"/>
                    <a:pt x="1038" y="145"/>
                    <a:pt x="1040" y="144"/>
                  </a:cubicBezTo>
                  <a:close/>
                  <a:moveTo>
                    <a:pt x="1101" y="141"/>
                  </a:moveTo>
                  <a:lnTo>
                    <a:pt x="1137" y="139"/>
                  </a:lnTo>
                  <a:cubicBezTo>
                    <a:pt x="1138" y="139"/>
                    <a:pt x="1140" y="140"/>
                    <a:pt x="1140" y="142"/>
                  </a:cubicBezTo>
                  <a:cubicBezTo>
                    <a:pt x="1140" y="143"/>
                    <a:pt x="1139" y="144"/>
                    <a:pt x="1137" y="144"/>
                  </a:cubicBezTo>
                  <a:lnTo>
                    <a:pt x="1101" y="146"/>
                  </a:lnTo>
                  <a:cubicBezTo>
                    <a:pt x="1100" y="146"/>
                    <a:pt x="1099" y="145"/>
                    <a:pt x="1099" y="144"/>
                  </a:cubicBezTo>
                  <a:cubicBezTo>
                    <a:pt x="1099" y="142"/>
                    <a:pt x="1100" y="141"/>
                    <a:pt x="1101" y="141"/>
                  </a:cubicBezTo>
                  <a:close/>
                  <a:moveTo>
                    <a:pt x="1163" y="138"/>
                  </a:moveTo>
                  <a:lnTo>
                    <a:pt x="1198" y="136"/>
                  </a:lnTo>
                  <a:cubicBezTo>
                    <a:pt x="1200" y="136"/>
                    <a:pt x="1201" y="137"/>
                    <a:pt x="1201" y="138"/>
                  </a:cubicBezTo>
                  <a:cubicBezTo>
                    <a:pt x="1201" y="140"/>
                    <a:pt x="1200" y="141"/>
                    <a:pt x="1199" y="141"/>
                  </a:cubicBezTo>
                  <a:lnTo>
                    <a:pt x="1163" y="143"/>
                  </a:lnTo>
                  <a:cubicBezTo>
                    <a:pt x="1161" y="143"/>
                    <a:pt x="1160" y="142"/>
                    <a:pt x="1160" y="140"/>
                  </a:cubicBezTo>
                  <a:cubicBezTo>
                    <a:pt x="1160" y="139"/>
                    <a:pt x="1161" y="138"/>
                    <a:pt x="1163" y="138"/>
                  </a:cubicBezTo>
                  <a:close/>
                  <a:moveTo>
                    <a:pt x="1224" y="134"/>
                  </a:moveTo>
                  <a:lnTo>
                    <a:pt x="1260" y="132"/>
                  </a:lnTo>
                  <a:cubicBezTo>
                    <a:pt x="1261" y="132"/>
                    <a:pt x="1262" y="133"/>
                    <a:pt x="1262" y="135"/>
                  </a:cubicBezTo>
                  <a:cubicBezTo>
                    <a:pt x="1262" y="136"/>
                    <a:pt x="1261" y="138"/>
                    <a:pt x="1260" y="138"/>
                  </a:cubicBezTo>
                  <a:lnTo>
                    <a:pt x="1224" y="140"/>
                  </a:lnTo>
                  <a:cubicBezTo>
                    <a:pt x="1223" y="140"/>
                    <a:pt x="1222" y="139"/>
                    <a:pt x="1221" y="137"/>
                  </a:cubicBezTo>
                  <a:cubicBezTo>
                    <a:pt x="1221" y="136"/>
                    <a:pt x="1222" y="134"/>
                    <a:pt x="1224" y="134"/>
                  </a:cubicBezTo>
                  <a:close/>
                  <a:moveTo>
                    <a:pt x="1285" y="131"/>
                  </a:moveTo>
                  <a:lnTo>
                    <a:pt x="1288" y="131"/>
                  </a:lnTo>
                  <a:lnTo>
                    <a:pt x="1321" y="127"/>
                  </a:lnTo>
                  <a:cubicBezTo>
                    <a:pt x="1322" y="127"/>
                    <a:pt x="1323" y="128"/>
                    <a:pt x="1324" y="130"/>
                  </a:cubicBezTo>
                  <a:cubicBezTo>
                    <a:pt x="1324" y="131"/>
                    <a:pt x="1323" y="132"/>
                    <a:pt x="1321" y="132"/>
                  </a:cubicBezTo>
                  <a:lnTo>
                    <a:pt x="1289" y="136"/>
                  </a:lnTo>
                  <a:lnTo>
                    <a:pt x="1285" y="136"/>
                  </a:lnTo>
                  <a:cubicBezTo>
                    <a:pt x="1284" y="136"/>
                    <a:pt x="1283" y="135"/>
                    <a:pt x="1283" y="134"/>
                  </a:cubicBezTo>
                  <a:cubicBezTo>
                    <a:pt x="1283" y="132"/>
                    <a:pt x="1284" y="131"/>
                    <a:pt x="1285" y="131"/>
                  </a:cubicBezTo>
                  <a:close/>
                  <a:moveTo>
                    <a:pt x="1346" y="124"/>
                  </a:moveTo>
                  <a:lnTo>
                    <a:pt x="1382" y="120"/>
                  </a:lnTo>
                  <a:cubicBezTo>
                    <a:pt x="1383" y="120"/>
                    <a:pt x="1384" y="121"/>
                    <a:pt x="1385" y="123"/>
                  </a:cubicBezTo>
                  <a:cubicBezTo>
                    <a:pt x="1385" y="124"/>
                    <a:pt x="1384" y="125"/>
                    <a:pt x="1382" y="125"/>
                  </a:cubicBezTo>
                  <a:lnTo>
                    <a:pt x="1347" y="129"/>
                  </a:lnTo>
                  <a:cubicBezTo>
                    <a:pt x="1345" y="130"/>
                    <a:pt x="1344" y="129"/>
                    <a:pt x="1344" y="127"/>
                  </a:cubicBezTo>
                  <a:cubicBezTo>
                    <a:pt x="1344" y="126"/>
                    <a:pt x="1345" y="125"/>
                    <a:pt x="1346" y="124"/>
                  </a:cubicBezTo>
                  <a:close/>
                  <a:moveTo>
                    <a:pt x="1407" y="117"/>
                  </a:moveTo>
                  <a:lnTo>
                    <a:pt x="1443" y="113"/>
                  </a:lnTo>
                  <a:cubicBezTo>
                    <a:pt x="1444" y="113"/>
                    <a:pt x="1445" y="114"/>
                    <a:pt x="1446" y="116"/>
                  </a:cubicBezTo>
                  <a:cubicBezTo>
                    <a:pt x="1446" y="117"/>
                    <a:pt x="1445" y="118"/>
                    <a:pt x="1443" y="119"/>
                  </a:cubicBezTo>
                  <a:lnTo>
                    <a:pt x="1408" y="123"/>
                  </a:lnTo>
                  <a:cubicBezTo>
                    <a:pt x="1406" y="123"/>
                    <a:pt x="1405" y="122"/>
                    <a:pt x="1405" y="120"/>
                  </a:cubicBezTo>
                  <a:cubicBezTo>
                    <a:pt x="1405" y="119"/>
                    <a:pt x="1406" y="118"/>
                    <a:pt x="1407" y="117"/>
                  </a:cubicBezTo>
                  <a:close/>
                  <a:moveTo>
                    <a:pt x="1468" y="111"/>
                  </a:moveTo>
                  <a:lnTo>
                    <a:pt x="1504" y="107"/>
                  </a:lnTo>
                  <a:cubicBezTo>
                    <a:pt x="1505" y="106"/>
                    <a:pt x="1507" y="107"/>
                    <a:pt x="1507" y="109"/>
                  </a:cubicBezTo>
                  <a:cubicBezTo>
                    <a:pt x="1507" y="110"/>
                    <a:pt x="1506" y="112"/>
                    <a:pt x="1504" y="112"/>
                  </a:cubicBezTo>
                  <a:lnTo>
                    <a:pt x="1469" y="116"/>
                  </a:lnTo>
                  <a:cubicBezTo>
                    <a:pt x="1467" y="116"/>
                    <a:pt x="1466" y="115"/>
                    <a:pt x="1466" y="113"/>
                  </a:cubicBezTo>
                  <a:cubicBezTo>
                    <a:pt x="1466" y="112"/>
                    <a:pt x="1467" y="111"/>
                    <a:pt x="1468" y="111"/>
                  </a:cubicBezTo>
                  <a:close/>
                  <a:moveTo>
                    <a:pt x="1529" y="104"/>
                  </a:moveTo>
                  <a:lnTo>
                    <a:pt x="1545" y="102"/>
                  </a:lnTo>
                  <a:lnTo>
                    <a:pt x="1565" y="99"/>
                  </a:lnTo>
                  <a:cubicBezTo>
                    <a:pt x="1566" y="98"/>
                    <a:pt x="1567" y="99"/>
                    <a:pt x="1568" y="101"/>
                  </a:cubicBezTo>
                  <a:cubicBezTo>
                    <a:pt x="1568" y="102"/>
                    <a:pt x="1567" y="103"/>
                    <a:pt x="1565" y="104"/>
                  </a:cubicBezTo>
                  <a:lnTo>
                    <a:pt x="1546" y="107"/>
                  </a:lnTo>
                  <a:lnTo>
                    <a:pt x="1530" y="109"/>
                  </a:lnTo>
                  <a:cubicBezTo>
                    <a:pt x="1528" y="109"/>
                    <a:pt x="1527" y="108"/>
                    <a:pt x="1527" y="107"/>
                  </a:cubicBezTo>
                  <a:cubicBezTo>
                    <a:pt x="1527" y="105"/>
                    <a:pt x="1528" y="104"/>
                    <a:pt x="1529" y="104"/>
                  </a:cubicBezTo>
                  <a:close/>
                  <a:moveTo>
                    <a:pt x="1590" y="94"/>
                  </a:moveTo>
                  <a:lnTo>
                    <a:pt x="1625" y="88"/>
                  </a:lnTo>
                  <a:cubicBezTo>
                    <a:pt x="1627" y="88"/>
                    <a:pt x="1628" y="89"/>
                    <a:pt x="1628" y="90"/>
                  </a:cubicBezTo>
                  <a:cubicBezTo>
                    <a:pt x="1628" y="92"/>
                    <a:pt x="1627" y="93"/>
                    <a:pt x="1626" y="93"/>
                  </a:cubicBezTo>
                  <a:lnTo>
                    <a:pt x="1591" y="99"/>
                  </a:lnTo>
                  <a:cubicBezTo>
                    <a:pt x="1589" y="100"/>
                    <a:pt x="1588" y="99"/>
                    <a:pt x="1588" y="97"/>
                  </a:cubicBezTo>
                  <a:cubicBezTo>
                    <a:pt x="1587" y="96"/>
                    <a:pt x="1588" y="94"/>
                    <a:pt x="1590" y="94"/>
                  </a:cubicBezTo>
                  <a:close/>
                  <a:moveTo>
                    <a:pt x="1650" y="84"/>
                  </a:moveTo>
                  <a:lnTo>
                    <a:pt x="1686" y="78"/>
                  </a:lnTo>
                  <a:cubicBezTo>
                    <a:pt x="1687" y="77"/>
                    <a:pt x="1688" y="78"/>
                    <a:pt x="1689" y="80"/>
                  </a:cubicBezTo>
                  <a:cubicBezTo>
                    <a:pt x="1689" y="81"/>
                    <a:pt x="1688" y="82"/>
                    <a:pt x="1687" y="83"/>
                  </a:cubicBezTo>
                  <a:lnTo>
                    <a:pt x="1651" y="89"/>
                  </a:lnTo>
                  <a:cubicBezTo>
                    <a:pt x="1650" y="89"/>
                    <a:pt x="1648" y="88"/>
                    <a:pt x="1648" y="87"/>
                  </a:cubicBezTo>
                  <a:cubicBezTo>
                    <a:pt x="1648" y="85"/>
                    <a:pt x="1649" y="84"/>
                    <a:pt x="1650" y="84"/>
                  </a:cubicBezTo>
                  <a:close/>
                  <a:moveTo>
                    <a:pt x="1711" y="73"/>
                  </a:moveTo>
                  <a:lnTo>
                    <a:pt x="1746" y="67"/>
                  </a:lnTo>
                  <a:cubicBezTo>
                    <a:pt x="1748" y="67"/>
                    <a:pt x="1749" y="68"/>
                    <a:pt x="1749" y="69"/>
                  </a:cubicBezTo>
                  <a:cubicBezTo>
                    <a:pt x="1749" y="71"/>
                    <a:pt x="1748" y="72"/>
                    <a:pt x="1747" y="72"/>
                  </a:cubicBezTo>
                  <a:lnTo>
                    <a:pt x="1712" y="78"/>
                  </a:lnTo>
                  <a:cubicBezTo>
                    <a:pt x="1710" y="79"/>
                    <a:pt x="1709" y="78"/>
                    <a:pt x="1709" y="76"/>
                  </a:cubicBezTo>
                  <a:cubicBezTo>
                    <a:pt x="1709" y="75"/>
                    <a:pt x="1709" y="74"/>
                    <a:pt x="1711" y="73"/>
                  </a:cubicBezTo>
                  <a:close/>
                  <a:moveTo>
                    <a:pt x="1771" y="63"/>
                  </a:moveTo>
                  <a:lnTo>
                    <a:pt x="1800" y="58"/>
                  </a:lnTo>
                  <a:lnTo>
                    <a:pt x="1807" y="56"/>
                  </a:lnTo>
                  <a:cubicBezTo>
                    <a:pt x="1808" y="56"/>
                    <a:pt x="1809" y="57"/>
                    <a:pt x="1810" y="58"/>
                  </a:cubicBezTo>
                  <a:cubicBezTo>
                    <a:pt x="1810" y="60"/>
                    <a:pt x="1809" y="61"/>
                    <a:pt x="1808" y="61"/>
                  </a:cubicBezTo>
                  <a:lnTo>
                    <a:pt x="1801" y="63"/>
                  </a:lnTo>
                  <a:lnTo>
                    <a:pt x="1772" y="68"/>
                  </a:lnTo>
                  <a:cubicBezTo>
                    <a:pt x="1771" y="68"/>
                    <a:pt x="1770" y="67"/>
                    <a:pt x="1769" y="66"/>
                  </a:cubicBezTo>
                  <a:cubicBezTo>
                    <a:pt x="1769" y="64"/>
                    <a:pt x="1770" y="63"/>
                    <a:pt x="1771" y="63"/>
                  </a:cubicBezTo>
                  <a:close/>
                  <a:moveTo>
                    <a:pt x="1831" y="51"/>
                  </a:moveTo>
                  <a:lnTo>
                    <a:pt x="1866" y="42"/>
                  </a:lnTo>
                  <a:cubicBezTo>
                    <a:pt x="1868" y="42"/>
                    <a:pt x="1869" y="43"/>
                    <a:pt x="1869" y="44"/>
                  </a:cubicBezTo>
                  <a:cubicBezTo>
                    <a:pt x="1870" y="46"/>
                    <a:pt x="1869" y="47"/>
                    <a:pt x="1867" y="47"/>
                  </a:cubicBezTo>
                  <a:lnTo>
                    <a:pt x="1833" y="56"/>
                  </a:lnTo>
                  <a:cubicBezTo>
                    <a:pt x="1831" y="56"/>
                    <a:pt x="1830" y="55"/>
                    <a:pt x="1830" y="54"/>
                  </a:cubicBezTo>
                  <a:cubicBezTo>
                    <a:pt x="1829" y="52"/>
                    <a:pt x="1830" y="51"/>
                    <a:pt x="1831" y="51"/>
                  </a:cubicBezTo>
                  <a:close/>
                  <a:moveTo>
                    <a:pt x="1891" y="37"/>
                  </a:moveTo>
                  <a:lnTo>
                    <a:pt x="1926" y="29"/>
                  </a:lnTo>
                  <a:cubicBezTo>
                    <a:pt x="1928" y="28"/>
                    <a:pt x="1929" y="29"/>
                    <a:pt x="1929" y="30"/>
                  </a:cubicBezTo>
                  <a:cubicBezTo>
                    <a:pt x="1930" y="32"/>
                    <a:pt x="1929" y="33"/>
                    <a:pt x="1927" y="34"/>
                  </a:cubicBezTo>
                  <a:lnTo>
                    <a:pt x="1892" y="42"/>
                  </a:lnTo>
                  <a:cubicBezTo>
                    <a:pt x="1891" y="42"/>
                    <a:pt x="1890" y="41"/>
                    <a:pt x="1889" y="40"/>
                  </a:cubicBezTo>
                  <a:cubicBezTo>
                    <a:pt x="1889" y="38"/>
                    <a:pt x="1890" y="37"/>
                    <a:pt x="1891" y="37"/>
                  </a:cubicBezTo>
                  <a:close/>
                  <a:moveTo>
                    <a:pt x="1951" y="23"/>
                  </a:moveTo>
                  <a:lnTo>
                    <a:pt x="1986" y="15"/>
                  </a:lnTo>
                  <a:cubicBezTo>
                    <a:pt x="1987" y="14"/>
                    <a:pt x="1989" y="15"/>
                    <a:pt x="1989" y="16"/>
                  </a:cubicBezTo>
                  <a:cubicBezTo>
                    <a:pt x="1989" y="18"/>
                    <a:pt x="1989" y="19"/>
                    <a:pt x="1987" y="20"/>
                  </a:cubicBezTo>
                  <a:lnTo>
                    <a:pt x="1952" y="28"/>
                  </a:lnTo>
                  <a:cubicBezTo>
                    <a:pt x="1951" y="28"/>
                    <a:pt x="1949" y="27"/>
                    <a:pt x="1949" y="26"/>
                  </a:cubicBezTo>
                  <a:cubicBezTo>
                    <a:pt x="1949" y="24"/>
                    <a:pt x="1950" y="23"/>
                    <a:pt x="1951" y="23"/>
                  </a:cubicBezTo>
                  <a:close/>
                  <a:moveTo>
                    <a:pt x="2011" y="9"/>
                  </a:moveTo>
                  <a:lnTo>
                    <a:pt x="2046" y="1"/>
                  </a:lnTo>
                  <a:cubicBezTo>
                    <a:pt x="2047" y="0"/>
                    <a:pt x="2049" y="1"/>
                    <a:pt x="2049" y="3"/>
                  </a:cubicBezTo>
                  <a:cubicBezTo>
                    <a:pt x="2049" y="4"/>
                    <a:pt x="2048" y="5"/>
                    <a:pt x="2047" y="6"/>
                  </a:cubicBezTo>
                  <a:lnTo>
                    <a:pt x="2012" y="14"/>
                  </a:lnTo>
                  <a:cubicBezTo>
                    <a:pt x="2011" y="14"/>
                    <a:pt x="2009" y="13"/>
                    <a:pt x="2009" y="12"/>
                  </a:cubicBezTo>
                  <a:cubicBezTo>
                    <a:pt x="2009" y="10"/>
                    <a:pt x="2010" y="9"/>
                    <a:pt x="2011" y="9"/>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3">
              <a:extLst>
                <a:ext uri="{FF2B5EF4-FFF2-40B4-BE49-F238E27FC236}">
                  <a16:creationId xmlns:a16="http://schemas.microsoft.com/office/drawing/2014/main" id="{22336404-D494-4B09-8551-0ACA59F89681}"/>
                </a:ext>
              </a:extLst>
            </p:cNvPr>
            <p:cNvSpPr>
              <a:spLocks/>
            </p:cNvSpPr>
            <p:nvPr/>
          </p:nvSpPr>
          <p:spPr bwMode="auto">
            <a:xfrm>
              <a:off x="3838" y="2221"/>
              <a:ext cx="58" cy="51"/>
            </a:xfrm>
            <a:custGeom>
              <a:avLst/>
              <a:gdLst>
                <a:gd name="T0" fmla="*/ 0 w 58"/>
                <a:gd name="T1" fmla="*/ 0 h 51"/>
                <a:gd name="T2" fmla="*/ 58 w 58"/>
                <a:gd name="T3" fmla="*/ 12 h 51"/>
                <a:gd name="T4" fmla="*/ 14 w 58"/>
                <a:gd name="T5" fmla="*/ 51 h 51"/>
                <a:gd name="T6" fmla="*/ 0 w 58"/>
                <a:gd name="T7" fmla="*/ 0 h 51"/>
              </a:gdLst>
              <a:ahLst/>
              <a:cxnLst>
                <a:cxn ang="0">
                  <a:pos x="T0" y="T1"/>
                </a:cxn>
                <a:cxn ang="0">
                  <a:pos x="T2" y="T3"/>
                </a:cxn>
                <a:cxn ang="0">
                  <a:pos x="T4" y="T5"/>
                </a:cxn>
                <a:cxn ang="0">
                  <a:pos x="T6" y="T7"/>
                </a:cxn>
              </a:cxnLst>
              <a:rect l="0" t="0" r="r" b="b"/>
              <a:pathLst>
                <a:path w="58" h="51">
                  <a:moveTo>
                    <a:pt x="0" y="0"/>
                  </a:moveTo>
                  <a:lnTo>
                    <a:pt x="58" y="12"/>
                  </a:lnTo>
                  <a:lnTo>
                    <a:pt x="14" y="51"/>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74">
              <a:extLst>
                <a:ext uri="{FF2B5EF4-FFF2-40B4-BE49-F238E27FC236}">
                  <a16:creationId xmlns:a16="http://schemas.microsoft.com/office/drawing/2014/main" id="{73B4C937-DC0A-4A81-8811-4F796C8E52CC}"/>
                </a:ext>
              </a:extLst>
            </p:cNvPr>
            <p:cNvSpPr>
              <a:spLocks noChangeArrowheads="1"/>
            </p:cNvSpPr>
            <p:nvPr/>
          </p:nvSpPr>
          <p:spPr bwMode="auto">
            <a:xfrm>
              <a:off x="3303" y="2276"/>
              <a:ext cx="227" cy="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5">
              <a:extLst>
                <a:ext uri="{FF2B5EF4-FFF2-40B4-BE49-F238E27FC236}">
                  <a16:creationId xmlns:a16="http://schemas.microsoft.com/office/drawing/2014/main" id="{788EC026-F719-46D6-BA44-3C95DD5043BC}"/>
                </a:ext>
              </a:extLst>
            </p:cNvPr>
            <p:cNvSpPr>
              <a:spLocks noEditPoints="1"/>
            </p:cNvSpPr>
            <p:nvPr/>
          </p:nvSpPr>
          <p:spPr bwMode="auto">
            <a:xfrm>
              <a:off x="3306" y="2288"/>
              <a:ext cx="223" cy="40"/>
            </a:xfrm>
            <a:custGeom>
              <a:avLst/>
              <a:gdLst>
                <a:gd name="T0" fmla="*/ 55 w 497"/>
                <a:gd name="T1" fmla="*/ 82 h 88"/>
                <a:gd name="T2" fmla="*/ 3 w 497"/>
                <a:gd name="T3" fmla="*/ 65 h 88"/>
                <a:gd name="T4" fmla="*/ 42 w 497"/>
                <a:gd name="T5" fmla="*/ 6 h 88"/>
                <a:gd name="T6" fmla="*/ 58 w 497"/>
                <a:gd name="T7" fmla="*/ 15 h 88"/>
                <a:gd name="T8" fmla="*/ 54 w 497"/>
                <a:gd name="T9" fmla="*/ 21 h 88"/>
                <a:gd name="T10" fmla="*/ 13 w 497"/>
                <a:gd name="T11" fmla="*/ 33 h 88"/>
                <a:gd name="T12" fmla="*/ 44 w 497"/>
                <a:gd name="T13" fmla="*/ 77 h 88"/>
                <a:gd name="T14" fmla="*/ 59 w 497"/>
                <a:gd name="T15" fmla="*/ 73 h 88"/>
                <a:gd name="T16" fmla="*/ 111 w 497"/>
                <a:gd name="T17" fmla="*/ 87 h 88"/>
                <a:gd name="T18" fmla="*/ 105 w 497"/>
                <a:gd name="T19" fmla="*/ 45 h 88"/>
                <a:gd name="T20" fmla="*/ 78 w 497"/>
                <a:gd name="T21" fmla="*/ 85 h 88"/>
                <a:gd name="T22" fmla="*/ 69 w 497"/>
                <a:gd name="T23" fmla="*/ 87 h 88"/>
                <a:gd name="T24" fmla="*/ 70 w 497"/>
                <a:gd name="T25" fmla="*/ 0 h 88"/>
                <a:gd name="T26" fmla="*/ 78 w 497"/>
                <a:gd name="T27" fmla="*/ 35 h 88"/>
                <a:gd name="T28" fmla="*/ 116 w 497"/>
                <a:gd name="T29" fmla="*/ 51 h 88"/>
                <a:gd name="T30" fmla="*/ 139 w 497"/>
                <a:gd name="T31" fmla="*/ 68 h 88"/>
                <a:gd name="T32" fmla="*/ 173 w 497"/>
                <a:gd name="T33" fmla="*/ 76 h 88"/>
                <a:gd name="T34" fmla="*/ 177 w 497"/>
                <a:gd name="T35" fmla="*/ 81 h 88"/>
                <a:gd name="T36" fmla="*/ 164 w 497"/>
                <a:gd name="T37" fmla="*/ 87 h 88"/>
                <a:gd name="T38" fmla="*/ 130 w 497"/>
                <a:gd name="T39" fmla="*/ 44 h 88"/>
                <a:gd name="T40" fmla="*/ 178 w 497"/>
                <a:gd name="T41" fmla="*/ 43 h 88"/>
                <a:gd name="T42" fmla="*/ 148 w 497"/>
                <a:gd name="T43" fmla="*/ 36 h 88"/>
                <a:gd name="T44" fmla="*/ 236 w 497"/>
                <a:gd name="T45" fmla="*/ 79 h 88"/>
                <a:gd name="T46" fmla="*/ 222 w 497"/>
                <a:gd name="T47" fmla="*/ 87 h 88"/>
                <a:gd name="T48" fmla="*/ 194 w 497"/>
                <a:gd name="T49" fmla="*/ 44 h 88"/>
                <a:gd name="T50" fmla="*/ 232 w 497"/>
                <a:gd name="T51" fmla="*/ 30 h 88"/>
                <a:gd name="T52" fmla="*/ 235 w 497"/>
                <a:gd name="T53" fmla="*/ 41 h 88"/>
                <a:gd name="T54" fmla="*/ 206 w 497"/>
                <a:gd name="T55" fmla="*/ 41 h 88"/>
                <a:gd name="T56" fmla="*/ 224 w 497"/>
                <a:gd name="T57" fmla="*/ 78 h 88"/>
                <a:gd name="T58" fmla="*/ 236 w 497"/>
                <a:gd name="T59" fmla="*/ 75 h 88"/>
                <a:gd name="T60" fmla="*/ 300 w 497"/>
                <a:gd name="T61" fmla="*/ 87 h 88"/>
                <a:gd name="T62" fmla="*/ 270 w 497"/>
                <a:gd name="T63" fmla="*/ 85 h 88"/>
                <a:gd name="T64" fmla="*/ 261 w 497"/>
                <a:gd name="T65" fmla="*/ 87 h 88"/>
                <a:gd name="T66" fmla="*/ 262 w 497"/>
                <a:gd name="T67" fmla="*/ 0 h 88"/>
                <a:gd name="T68" fmla="*/ 270 w 497"/>
                <a:gd name="T69" fmla="*/ 53 h 88"/>
                <a:gd name="T70" fmla="*/ 301 w 497"/>
                <a:gd name="T71" fmla="*/ 27 h 88"/>
                <a:gd name="T72" fmla="*/ 281 w 497"/>
                <a:gd name="T73" fmla="*/ 53 h 88"/>
                <a:gd name="T74" fmla="*/ 367 w 497"/>
                <a:gd name="T75" fmla="*/ 77 h 88"/>
                <a:gd name="T76" fmla="*/ 304 w 497"/>
                <a:gd name="T77" fmla="*/ 47 h 88"/>
                <a:gd name="T78" fmla="*/ 368 w 497"/>
                <a:gd name="T79" fmla="*/ 15 h 88"/>
                <a:gd name="T80" fmla="*/ 352 w 497"/>
                <a:gd name="T81" fmla="*/ 16 h 88"/>
                <a:gd name="T82" fmla="*/ 317 w 497"/>
                <a:gd name="T83" fmla="*/ 59 h 88"/>
                <a:gd name="T84" fmla="*/ 364 w 497"/>
                <a:gd name="T85" fmla="*/ 59 h 88"/>
                <a:gd name="T86" fmla="*/ 447 w 497"/>
                <a:gd name="T87" fmla="*/ 87 h 88"/>
                <a:gd name="T88" fmla="*/ 433 w 497"/>
                <a:gd name="T89" fmla="*/ 86 h 88"/>
                <a:gd name="T90" fmla="*/ 403 w 497"/>
                <a:gd name="T91" fmla="*/ 29 h 88"/>
                <a:gd name="T92" fmla="*/ 413 w 497"/>
                <a:gd name="T93" fmla="*/ 28 h 88"/>
                <a:gd name="T94" fmla="*/ 420 w 497"/>
                <a:gd name="T95" fmla="*/ 78 h 88"/>
                <a:gd name="T96" fmla="*/ 442 w 497"/>
                <a:gd name="T97" fmla="*/ 28 h 88"/>
                <a:gd name="T98" fmla="*/ 452 w 497"/>
                <a:gd name="T99" fmla="*/ 29 h 88"/>
                <a:gd name="T100" fmla="*/ 492 w 497"/>
                <a:gd name="T101" fmla="*/ 87 h 88"/>
                <a:gd name="T102" fmla="*/ 470 w 497"/>
                <a:gd name="T103" fmla="*/ 69 h 88"/>
                <a:gd name="T104" fmla="*/ 461 w 497"/>
                <a:gd name="T105" fmla="*/ 28 h 88"/>
                <a:gd name="T106" fmla="*/ 471 w 497"/>
                <a:gd name="T107" fmla="*/ 13 h 88"/>
                <a:gd name="T108" fmla="*/ 480 w 497"/>
                <a:gd name="T109" fmla="*/ 14 h 88"/>
                <a:gd name="T110" fmla="*/ 497 w 497"/>
                <a:gd name="T111" fmla="*/ 32 h 88"/>
                <a:gd name="T112" fmla="*/ 488 w 497"/>
                <a:gd name="T113" fmla="*/ 79 h 88"/>
                <a:gd name="T114" fmla="*/ 496 w 497"/>
                <a:gd name="T115"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7" h="88">
                  <a:moveTo>
                    <a:pt x="59" y="75"/>
                  </a:moveTo>
                  <a:cubicBezTo>
                    <a:pt x="59" y="76"/>
                    <a:pt x="59" y="77"/>
                    <a:pt x="59" y="77"/>
                  </a:cubicBezTo>
                  <a:cubicBezTo>
                    <a:pt x="59" y="78"/>
                    <a:pt x="59" y="78"/>
                    <a:pt x="59" y="78"/>
                  </a:cubicBezTo>
                  <a:cubicBezTo>
                    <a:pt x="58" y="79"/>
                    <a:pt x="58" y="79"/>
                    <a:pt x="58" y="79"/>
                  </a:cubicBezTo>
                  <a:cubicBezTo>
                    <a:pt x="58" y="80"/>
                    <a:pt x="58" y="80"/>
                    <a:pt x="57" y="81"/>
                  </a:cubicBezTo>
                  <a:cubicBezTo>
                    <a:pt x="57" y="81"/>
                    <a:pt x="56" y="82"/>
                    <a:pt x="55" y="82"/>
                  </a:cubicBezTo>
                  <a:cubicBezTo>
                    <a:pt x="53" y="83"/>
                    <a:pt x="52" y="84"/>
                    <a:pt x="50" y="85"/>
                  </a:cubicBezTo>
                  <a:cubicBezTo>
                    <a:pt x="48" y="86"/>
                    <a:pt x="45" y="86"/>
                    <a:pt x="43" y="87"/>
                  </a:cubicBezTo>
                  <a:cubicBezTo>
                    <a:pt x="40" y="88"/>
                    <a:pt x="37" y="88"/>
                    <a:pt x="34" y="88"/>
                  </a:cubicBezTo>
                  <a:cubicBezTo>
                    <a:pt x="29" y="88"/>
                    <a:pt x="24" y="87"/>
                    <a:pt x="20" y="85"/>
                  </a:cubicBezTo>
                  <a:cubicBezTo>
                    <a:pt x="16" y="83"/>
                    <a:pt x="12" y="81"/>
                    <a:pt x="9" y="77"/>
                  </a:cubicBezTo>
                  <a:cubicBezTo>
                    <a:pt x="6" y="74"/>
                    <a:pt x="4" y="70"/>
                    <a:pt x="3" y="65"/>
                  </a:cubicBezTo>
                  <a:cubicBezTo>
                    <a:pt x="1" y="60"/>
                    <a:pt x="0" y="54"/>
                    <a:pt x="0" y="47"/>
                  </a:cubicBezTo>
                  <a:cubicBezTo>
                    <a:pt x="0" y="41"/>
                    <a:pt x="1" y="35"/>
                    <a:pt x="3" y="30"/>
                  </a:cubicBezTo>
                  <a:cubicBezTo>
                    <a:pt x="4" y="24"/>
                    <a:pt x="7" y="20"/>
                    <a:pt x="10" y="16"/>
                  </a:cubicBezTo>
                  <a:cubicBezTo>
                    <a:pt x="13" y="13"/>
                    <a:pt x="17" y="10"/>
                    <a:pt x="21" y="8"/>
                  </a:cubicBezTo>
                  <a:cubicBezTo>
                    <a:pt x="26" y="6"/>
                    <a:pt x="30" y="5"/>
                    <a:pt x="36" y="5"/>
                  </a:cubicBezTo>
                  <a:cubicBezTo>
                    <a:pt x="38" y="5"/>
                    <a:pt x="40" y="5"/>
                    <a:pt x="42" y="6"/>
                  </a:cubicBezTo>
                  <a:cubicBezTo>
                    <a:pt x="45" y="6"/>
                    <a:pt x="47" y="7"/>
                    <a:pt x="49" y="7"/>
                  </a:cubicBezTo>
                  <a:cubicBezTo>
                    <a:pt x="50" y="8"/>
                    <a:pt x="52" y="9"/>
                    <a:pt x="54" y="10"/>
                  </a:cubicBezTo>
                  <a:cubicBezTo>
                    <a:pt x="55" y="10"/>
                    <a:pt x="56" y="11"/>
                    <a:pt x="57" y="12"/>
                  </a:cubicBezTo>
                  <a:cubicBezTo>
                    <a:pt x="57" y="12"/>
                    <a:pt x="58" y="13"/>
                    <a:pt x="58" y="13"/>
                  </a:cubicBezTo>
                  <a:cubicBezTo>
                    <a:pt x="58" y="13"/>
                    <a:pt x="58" y="14"/>
                    <a:pt x="58" y="14"/>
                  </a:cubicBezTo>
                  <a:cubicBezTo>
                    <a:pt x="58" y="14"/>
                    <a:pt x="58" y="15"/>
                    <a:pt x="58" y="15"/>
                  </a:cubicBezTo>
                  <a:cubicBezTo>
                    <a:pt x="58" y="16"/>
                    <a:pt x="58" y="17"/>
                    <a:pt x="58" y="17"/>
                  </a:cubicBezTo>
                  <a:cubicBezTo>
                    <a:pt x="58" y="18"/>
                    <a:pt x="58" y="19"/>
                    <a:pt x="58" y="20"/>
                  </a:cubicBezTo>
                  <a:cubicBezTo>
                    <a:pt x="58" y="20"/>
                    <a:pt x="58" y="21"/>
                    <a:pt x="58" y="21"/>
                  </a:cubicBezTo>
                  <a:cubicBezTo>
                    <a:pt x="58" y="21"/>
                    <a:pt x="58" y="22"/>
                    <a:pt x="57" y="22"/>
                  </a:cubicBezTo>
                  <a:cubicBezTo>
                    <a:pt x="57" y="22"/>
                    <a:pt x="57" y="22"/>
                    <a:pt x="57" y="22"/>
                  </a:cubicBezTo>
                  <a:cubicBezTo>
                    <a:pt x="56" y="22"/>
                    <a:pt x="55" y="22"/>
                    <a:pt x="54" y="21"/>
                  </a:cubicBezTo>
                  <a:cubicBezTo>
                    <a:pt x="53" y="20"/>
                    <a:pt x="52" y="19"/>
                    <a:pt x="50" y="18"/>
                  </a:cubicBezTo>
                  <a:cubicBezTo>
                    <a:pt x="48" y="17"/>
                    <a:pt x="46" y="16"/>
                    <a:pt x="44" y="16"/>
                  </a:cubicBezTo>
                  <a:cubicBezTo>
                    <a:pt x="42" y="15"/>
                    <a:pt x="39" y="14"/>
                    <a:pt x="35" y="14"/>
                  </a:cubicBezTo>
                  <a:cubicBezTo>
                    <a:pt x="32" y="14"/>
                    <a:pt x="29" y="15"/>
                    <a:pt x="26" y="17"/>
                  </a:cubicBezTo>
                  <a:cubicBezTo>
                    <a:pt x="23" y="18"/>
                    <a:pt x="20" y="20"/>
                    <a:pt x="18" y="23"/>
                  </a:cubicBezTo>
                  <a:cubicBezTo>
                    <a:pt x="16" y="26"/>
                    <a:pt x="14" y="29"/>
                    <a:pt x="13" y="33"/>
                  </a:cubicBezTo>
                  <a:cubicBezTo>
                    <a:pt x="12" y="37"/>
                    <a:pt x="11" y="42"/>
                    <a:pt x="11" y="47"/>
                  </a:cubicBezTo>
                  <a:cubicBezTo>
                    <a:pt x="11" y="52"/>
                    <a:pt x="12" y="57"/>
                    <a:pt x="13" y="60"/>
                  </a:cubicBezTo>
                  <a:cubicBezTo>
                    <a:pt x="14" y="64"/>
                    <a:pt x="16" y="68"/>
                    <a:pt x="18" y="70"/>
                  </a:cubicBezTo>
                  <a:cubicBezTo>
                    <a:pt x="20" y="73"/>
                    <a:pt x="23" y="75"/>
                    <a:pt x="26" y="76"/>
                  </a:cubicBezTo>
                  <a:cubicBezTo>
                    <a:pt x="29" y="78"/>
                    <a:pt x="32" y="78"/>
                    <a:pt x="36" y="78"/>
                  </a:cubicBezTo>
                  <a:cubicBezTo>
                    <a:pt x="39" y="78"/>
                    <a:pt x="42" y="78"/>
                    <a:pt x="44" y="77"/>
                  </a:cubicBezTo>
                  <a:cubicBezTo>
                    <a:pt x="47" y="76"/>
                    <a:pt x="49" y="75"/>
                    <a:pt x="50" y="75"/>
                  </a:cubicBezTo>
                  <a:cubicBezTo>
                    <a:pt x="52" y="74"/>
                    <a:pt x="54" y="73"/>
                    <a:pt x="55" y="72"/>
                  </a:cubicBezTo>
                  <a:cubicBezTo>
                    <a:pt x="56" y="71"/>
                    <a:pt x="57" y="71"/>
                    <a:pt x="57" y="71"/>
                  </a:cubicBezTo>
                  <a:cubicBezTo>
                    <a:pt x="57" y="71"/>
                    <a:pt x="58" y="71"/>
                    <a:pt x="58" y="71"/>
                  </a:cubicBezTo>
                  <a:cubicBezTo>
                    <a:pt x="58" y="71"/>
                    <a:pt x="58" y="71"/>
                    <a:pt x="58" y="72"/>
                  </a:cubicBezTo>
                  <a:cubicBezTo>
                    <a:pt x="59" y="72"/>
                    <a:pt x="59" y="72"/>
                    <a:pt x="59" y="73"/>
                  </a:cubicBezTo>
                  <a:cubicBezTo>
                    <a:pt x="59" y="74"/>
                    <a:pt x="59" y="74"/>
                    <a:pt x="59" y="75"/>
                  </a:cubicBezTo>
                  <a:close/>
                  <a:moveTo>
                    <a:pt x="116" y="85"/>
                  </a:moveTo>
                  <a:cubicBezTo>
                    <a:pt x="116" y="86"/>
                    <a:pt x="116" y="86"/>
                    <a:pt x="116" y="86"/>
                  </a:cubicBezTo>
                  <a:cubicBezTo>
                    <a:pt x="116" y="86"/>
                    <a:pt x="115" y="87"/>
                    <a:pt x="115" y="87"/>
                  </a:cubicBezTo>
                  <a:cubicBezTo>
                    <a:pt x="115" y="87"/>
                    <a:pt x="114" y="87"/>
                    <a:pt x="113" y="87"/>
                  </a:cubicBezTo>
                  <a:cubicBezTo>
                    <a:pt x="113" y="87"/>
                    <a:pt x="112" y="87"/>
                    <a:pt x="111" y="87"/>
                  </a:cubicBezTo>
                  <a:cubicBezTo>
                    <a:pt x="110" y="87"/>
                    <a:pt x="109" y="87"/>
                    <a:pt x="108" y="87"/>
                  </a:cubicBezTo>
                  <a:cubicBezTo>
                    <a:pt x="108" y="87"/>
                    <a:pt x="107" y="87"/>
                    <a:pt x="107" y="87"/>
                  </a:cubicBezTo>
                  <a:cubicBezTo>
                    <a:pt x="106" y="87"/>
                    <a:pt x="106" y="86"/>
                    <a:pt x="106" y="86"/>
                  </a:cubicBezTo>
                  <a:cubicBezTo>
                    <a:pt x="106" y="86"/>
                    <a:pt x="106" y="86"/>
                    <a:pt x="106" y="85"/>
                  </a:cubicBezTo>
                  <a:lnTo>
                    <a:pt x="106" y="52"/>
                  </a:lnTo>
                  <a:cubicBezTo>
                    <a:pt x="106" y="49"/>
                    <a:pt x="105" y="47"/>
                    <a:pt x="105" y="45"/>
                  </a:cubicBezTo>
                  <a:cubicBezTo>
                    <a:pt x="104" y="43"/>
                    <a:pt x="104" y="41"/>
                    <a:pt x="103" y="40"/>
                  </a:cubicBezTo>
                  <a:cubicBezTo>
                    <a:pt x="102" y="38"/>
                    <a:pt x="101" y="37"/>
                    <a:pt x="99" y="36"/>
                  </a:cubicBezTo>
                  <a:cubicBezTo>
                    <a:pt x="98" y="36"/>
                    <a:pt x="96" y="35"/>
                    <a:pt x="94" y="35"/>
                  </a:cubicBezTo>
                  <a:cubicBezTo>
                    <a:pt x="91" y="35"/>
                    <a:pt x="89" y="36"/>
                    <a:pt x="86" y="38"/>
                  </a:cubicBezTo>
                  <a:cubicBezTo>
                    <a:pt x="83" y="40"/>
                    <a:pt x="81" y="42"/>
                    <a:pt x="78" y="46"/>
                  </a:cubicBezTo>
                  <a:lnTo>
                    <a:pt x="78" y="85"/>
                  </a:lnTo>
                  <a:cubicBezTo>
                    <a:pt x="78" y="86"/>
                    <a:pt x="78" y="86"/>
                    <a:pt x="78" y="86"/>
                  </a:cubicBezTo>
                  <a:cubicBezTo>
                    <a:pt x="78" y="86"/>
                    <a:pt x="77" y="87"/>
                    <a:pt x="77" y="87"/>
                  </a:cubicBezTo>
                  <a:cubicBezTo>
                    <a:pt x="76" y="87"/>
                    <a:pt x="76" y="87"/>
                    <a:pt x="75" y="87"/>
                  </a:cubicBezTo>
                  <a:cubicBezTo>
                    <a:pt x="75" y="87"/>
                    <a:pt x="74" y="87"/>
                    <a:pt x="73" y="87"/>
                  </a:cubicBezTo>
                  <a:cubicBezTo>
                    <a:pt x="72" y="87"/>
                    <a:pt x="71" y="87"/>
                    <a:pt x="70" y="87"/>
                  </a:cubicBezTo>
                  <a:cubicBezTo>
                    <a:pt x="70" y="87"/>
                    <a:pt x="69" y="87"/>
                    <a:pt x="69" y="87"/>
                  </a:cubicBezTo>
                  <a:cubicBezTo>
                    <a:pt x="68" y="87"/>
                    <a:pt x="68" y="86"/>
                    <a:pt x="68" y="86"/>
                  </a:cubicBezTo>
                  <a:cubicBezTo>
                    <a:pt x="68" y="86"/>
                    <a:pt x="68" y="86"/>
                    <a:pt x="68" y="85"/>
                  </a:cubicBezTo>
                  <a:lnTo>
                    <a:pt x="68" y="2"/>
                  </a:lnTo>
                  <a:cubicBezTo>
                    <a:pt x="68" y="1"/>
                    <a:pt x="68" y="1"/>
                    <a:pt x="68" y="1"/>
                  </a:cubicBezTo>
                  <a:cubicBezTo>
                    <a:pt x="68" y="1"/>
                    <a:pt x="68" y="0"/>
                    <a:pt x="69" y="0"/>
                  </a:cubicBezTo>
                  <a:cubicBezTo>
                    <a:pt x="69" y="0"/>
                    <a:pt x="70" y="0"/>
                    <a:pt x="70" y="0"/>
                  </a:cubicBezTo>
                  <a:cubicBezTo>
                    <a:pt x="71" y="0"/>
                    <a:pt x="72" y="0"/>
                    <a:pt x="73" y="0"/>
                  </a:cubicBezTo>
                  <a:cubicBezTo>
                    <a:pt x="74" y="0"/>
                    <a:pt x="75" y="0"/>
                    <a:pt x="75" y="0"/>
                  </a:cubicBezTo>
                  <a:cubicBezTo>
                    <a:pt x="76" y="0"/>
                    <a:pt x="76" y="0"/>
                    <a:pt x="77" y="0"/>
                  </a:cubicBezTo>
                  <a:cubicBezTo>
                    <a:pt x="77" y="0"/>
                    <a:pt x="78" y="1"/>
                    <a:pt x="78" y="1"/>
                  </a:cubicBezTo>
                  <a:cubicBezTo>
                    <a:pt x="78" y="1"/>
                    <a:pt x="78" y="1"/>
                    <a:pt x="78" y="2"/>
                  </a:cubicBezTo>
                  <a:lnTo>
                    <a:pt x="78" y="35"/>
                  </a:lnTo>
                  <a:cubicBezTo>
                    <a:pt x="81" y="32"/>
                    <a:pt x="84" y="30"/>
                    <a:pt x="87" y="29"/>
                  </a:cubicBezTo>
                  <a:cubicBezTo>
                    <a:pt x="90" y="27"/>
                    <a:pt x="93" y="26"/>
                    <a:pt x="96" y="26"/>
                  </a:cubicBezTo>
                  <a:cubicBezTo>
                    <a:pt x="100" y="26"/>
                    <a:pt x="103" y="27"/>
                    <a:pt x="105" y="28"/>
                  </a:cubicBezTo>
                  <a:cubicBezTo>
                    <a:pt x="108" y="29"/>
                    <a:pt x="110" y="31"/>
                    <a:pt x="112" y="33"/>
                  </a:cubicBezTo>
                  <a:cubicBezTo>
                    <a:pt x="113" y="35"/>
                    <a:pt x="114" y="38"/>
                    <a:pt x="115" y="41"/>
                  </a:cubicBezTo>
                  <a:cubicBezTo>
                    <a:pt x="116" y="44"/>
                    <a:pt x="116" y="47"/>
                    <a:pt x="116" y="51"/>
                  </a:cubicBezTo>
                  <a:lnTo>
                    <a:pt x="116" y="85"/>
                  </a:lnTo>
                  <a:close/>
                  <a:moveTo>
                    <a:pt x="180" y="55"/>
                  </a:moveTo>
                  <a:cubicBezTo>
                    <a:pt x="180" y="56"/>
                    <a:pt x="179" y="58"/>
                    <a:pt x="178" y="58"/>
                  </a:cubicBezTo>
                  <a:cubicBezTo>
                    <a:pt x="178" y="59"/>
                    <a:pt x="177" y="59"/>
                    <a:pt x="176" y="59"/>
                  </a:cubicBezTo>
                  <a:lnTo>
                    <a:pt x="139" y="59"/>
                  </a:lnTo>
                  <a:cubicBezTo>
                    <a:pt x="139" y="62"/>
                    <a:pt x="139" y="65"/>
                    <a:pt x="139" y="68"/>
                  </a:cubicBezTo>
                  <a:cubicBezTo>
                    <a:pt x="140" y="70"/>
                    <a:pt x="141" y="72"/>
                    <a:pt x="143" y="74"/>
                  </a:cubicBezTo>
                  <a:cubicBezTo>
                    <a:pt x="144" y="76"/>
                    <a:pt x="146" y="77"/>
                    <a:pt x="148" y="78"/>
                  </a:cubicBezTo>
                  <a:cubicBezTo>
                    <a:pt x="151" y="79"/>
                    <a:pt x="154" y="80"/>
                    <a:pt x="157" y="80"/>
                  </a:cubicBezTo>
                  <a:cubicBezTo>
                    <a:pt x="160" y="80"/>
                    <a:pt x="162" y="79"/>
                    <a:pt x="164" y="79"/>
                  </a:cubicBezTo>
                  <a:cubicBezTo>
                    <a:pt x="166" y="79"/>
                    <a:pt x="168" y="78"/>
                    <a:pt x="170" y="78"/>
                  </a:cubicBezTo>
                  <a:cubicBezTo>
                    <a:pt x="171" y="77"/>
                    <a:pt x="172" y="77"/>
                    <a:pt x="173" y="76"/>
                  </a:cubicBezTo>
                  <a:cubicBezTo>
                    <a:pt x="174" y="76"/>
                    <a:pt x="175" y="75"/>
                    <a:pt x="176" y="75"/>
                  </a:cubicBezTo>
                  <a:cubicBezTo>
                    <a:pt x="176" y="75"/>
                    <a:pt x="176" y="75"/>
                    <a:pt x="176" y="76"/>
                  </a:cubicBezTo>
                  <a:cubicBezTo>
                    <a:pt x="177" y="76"/>
                    <a:pt x="177" y="76"/>
                    <a:pt x="177" y="76"/>
                  </a:cubicBezTo>
                  <a:cubicBezTo>
                    <a:pt x="177" y="77"/>
                    <a:pt x="177" y="77"/>
                    <a:pt x="177" y="78"/>
                  </a:cubicBezTo>
                  <a:cubicBezTo>
                    <a:pt x="177" y="78"/>
                    <a:pt x="177" y="79"/>
                    <a:pt x="177" y="79"/>
                  </a:cubicBezTo>
                  <a:cubicBezTo>
                    <a:pt x="177" y="80"/>
                    <a:pt x="177" y="80"/>
                    <a:pt x="177" y="81"/>
                  </a:cubicBezTo>
                  <a:cubicBezTo>
                    <a:pt x="177" y="81"/>
                    <a:pt x="177" y="82"/>
                    <a:pt x="177" y="82"/>
                  </a:cubicBezTo>
                  <a:cubicBezTo>
                    <a:pt x="177" y="82"/>
                    <a:pt x="177" y="82"/>
                    <a:pt x="177" y="83"/>
                  </a:cubicBezTo>
                  <a:cubicBezTo>
                    <a:pt x="177" y="83"/>
                    <a:pt x="176" y="83"/>
                    <a:pt x="176" y="83"/>
                  </a:cubicBezTo>
                  <a:cubicBezTo>
                    <a:pt x="176" y="84"/>
                    <a:pt x="175" y="84"/>
                    <a:pt x="174" y="85"/>
                  </a:cubicBezTo>
                  <a:cubicBezTo>
                    <a:pt x="173" y="85"/>
                    <a:pt x="172" y="86"/>
                    <a:pt x="170" y="86"/>
                  </a:cubicBezTo>
                  <a:cubicBezTo>
                    <a:pt x="168" y="87"/>
                    <a:pt x="166" y="87"/>
                    <a:pt x="164" y="87"/>
                  </a:cubicBezTo>
                  <a:cubicBezTo>
                    <a:pt x="161" y="88"/>
                    <a:pt x="159" y="88"/>
                    <a:pt x="156" y="88"/>
                  </a:cubicBezTo>
                  <a:cubicBezTo>
                    <a:pt x="151" y="88"/>
                    <a:pt x="147" y="87"/>
                    <a:pt x="144" y="86"/>
                  </a:cubicBezTo>
                  <a:cubicBezTo>
                    <a:pt x="140" y="85"/>
                    <a:pt x="137" y="83"/>
                    <a:pt x="135" y="80"/>
                  </a:cubicBezTo>
                  <a:cubicBezTo>
                    <a:pt x="133" y="78"/>
                    <a:pt x="131" y="75"/>
                    <a:pt x="130" y="71"/>
                  </a:cubicBezTo>
                  <a:cubicBezTo>
                    <a:pt x="128" y="67"/>
                    <a:pt x="128" y="63"/>
                    <a:pt x="128" y="57"/>
                  </a:cubicBezTo>
                  <a:cubicBezTo>
                    <a:pt x="128" y="53"/>
                    <a:pt x="128" y="48"/>
                    <a:pt x="130" y="44"/>
                  </a:cubicBezTo>
                  <a:cubicBezTo>
                    <a:pt x="131" y="41"/>
                    <a:pt x="133" y="37"/>
                    <a:pt x="135" y="35"/>
                  </a:cubicBezTo>
                  <a:cubicBezTo>
                    <a:pt x="137" y="32"/>
                    <a:pt x="140" y="30"/>
                    <a:pt x="144" y="28"/>
                  </a:cubicBezTo>
                  <a:cubicBezTo>
                    <a:pt x="147" y="27"/>
                    <a:pt x="151" y="26"/>
                    <a:pt x="155" y="26"/>
                  </a:cubicBezTo>
                  <a:cubicBezTo>
                    <a:pt x="159" y="26"/>
                    <a:pt x="163" y="27"/>
                    <a:pt x="166" y="28"/>
                  </a:cubicBezTo>
                  <a:cubicBezTo>
                    <a:pt x="169" y="30"/>
                    <a:pt x="172" y="32"/>
                    <a:pt x="174" y="34"/>
                  </a:cubicBezTo>
                  <a:cubicBezTo>
                    <a:pt x="176" y="36"/>
                    <a:pt x="177" y="39"/>
                    <a:pt x="178" y="43"/>
                  </a:cubicBezTo>
                  <a:cubicBezTo>
                    <a:pt x="179" y="46"/>
                    <a:pt x="180" y="49"/>
                    <a:pt x="180" y="53"/>
                  </a:cubicBezTo>
                  <a:lnTo>
                    <a:pt x="180" y="55"/>
                  </a:lnTo>
                  <a:close/>
                  <a:moveTo>
                    <a:pt x="169" y="52"/>
                  </a:moveTo>
                  <a:cubicBezTo>
                    <a:pt x="169" y="46"/>
                    <a:pt x="168" y="42"/>
                    <a:pt x="166" y="39"/>
                  </a:cubicBezTo>
                  <a:cubicBezTo>
                    <a:pt x="163" y="36"/>
                    <a:pt x="159" y="34"/>
                    <a:pt x="154" y="34"/>
                  </a:cubicBezTo>
                  <a:cubicBezTo>
                    <a:pt x="152" y="34"/>
                    <a:pt x="150" y="35"/>
                    <a:pt x="148" y="36"/>
                  </a:cubicBezTo>
                  <a:cubicBezTo>
                    <a:pt x="146" y="37"/>
                    <a:pt x="144" y="38"/>
                    <a:pt x="143" y="40"/>
                  </a:cubicBezTo>
                  <a:cubicBezTo>
                    <a:pt x="141" y="41"/>
                    <a:pt x="140" y="43"/>
                    <a:pt x="140" y="45"/>
                  </a:cubicBezTo>
                  <a:cubicBezTo>
                    <a:pt x="139" y="47"/>
                    <a:pt x="139" y="49"/>
                    <a:pt x="139" y="52"/>
                  </a:cubicBezTo>
                  <a:lnTo>
                    <a:pt x="169" y="52"/>
                  </a:lnTo>
                  <a:close/>
                  <a:moveTo>
                    <a:pt x="236" y="77"/>
                  </a:moveTo>
                  <a:cubicBezTo>
                    <a:pt x="236" y="77"/>
                    <a:pt x="236" y="78"/>
                    <a:pt x="236" y="79"/>
                  </a:cubicBezTo>
                  <a:cubicBezTo>
                    <a:pt x="236" y="79"/>
                    <a:pt x="236" y="80"/>
                    <a:pt x="236" y="80"/>
                  </a:cubicBezTo>
                  <a:cubicBezTo>
                    <a:pt x="236" y="80"/>
                    <a:pt x="236" y="81"/>
                    <a:pt x="235" y="81"/>
                  </a:cubicBezTo>
                  <a:cubicBezTo>
                    <a:pt x="235" y="81"/>
                    <a:pt x="235" y="81"/>
                    <a:pt x="234" y="82"/>
                  </a:cubicBezTo>
                  <a:cubicBezTo>
                    <a:pt x="234" y="83"/>
                    <a:pt x="233" y="83"/>
                    <a:pt x="232" y="84"/>
                  </a:cubicBezTo>
                  <a:cubicBezTo>
                    <a:pt x="230" y="85"/>
                    <a:pt x="229" y="85"/>
                    <a:pt x="228" y="86"/>
                  </a:cubicBezTo>
                  <a:cubicBezTo>
                    <a:pt x="226" y="87"/>
                    <a:pt x="224" y="87"/>
                    <a:pt x="222" y="87"/>
                  </a:cubicBezTo>
                  <a:cubicBezTo>
                    <a:pt x="221" y="88"/>
                    <a:pt x="219" y="88"/>
                    <a:pt x="217" y="88"/>
                  </a:cubicBezTo>
                  <a:cubicBezTo>
                    <a:pt x="213" y="88"/>
                    <a:pt x="209" y="87"/>
                    <a:pt x="206" y="86"/>
                  </a:cubicBezTo>
                  <a:cubicBezTo>
                    <a:pt x="203" y="85"/>
                    <a:pt x="200" y="83"/>
                    <a:pt x="198" y="80"/>
                  </a:cubicBezTo>
                  <a:cubicBezTo>
                    <a:pt x="196" y="78"/>
                    <a:pt x="194" y="74"/>
                    <a:pt x="193" y="71"/>
                  </a:cubicBezTo>
                  <a:cubicBezTo>
                    <a:pt x="192" y="67"/>
                    <a:pt x="192" y="63"/>
                    <a:pt x="192" y="58"/>
                  </a:cubicBezTo>
                  <a:cubicBezTo>
                    <a:pt x="192" y="52"/>
                    <a:pt x="192" y="48"/>
                    <a:pt x="194" y="44"/>
                  </a:cubicBezTo>
                  <a:cubicBezTo>
                    <a:pt x="195" y="40"/>
                    <a:pt x="197" y="36"/>
                    <a:pt x="199" y="34"/>
                  </a:cubicBezTo>
                  <a:cubicBezTo>
                    <a:pt x="202" y="31"/>
                    <a:pt x="204" y="29"/>
                    <a:pt x="208" y="28"/>
                  </a:cubicBezTo>
                  <a:cubicBezTo>
                    <a:pt x="211" y="27"/>
                    <a:pt x="214" y="26"/>
                    <a:pt x="218" y="26"/>
                  </a:cubicBezTo>
                  <a:cubicBezTo>
                    <a:pt x="220" y="26"/>
                    <a:pt x="221" y="26"/>
                    <a:pt x="223" y="27"/>
                  </a:cubicBezTo>
                  <a:cubicBezTo>
                    <a:pt x="225" y="27"/>
                    <a:pt x="226" y="28"/>
                    <a:pt x="228" y="28"/>
                  </a:cubicBezTo>
                  <a:cubicBezTo>
                    <a:pt x="229" y="29"/>
                    <a:pt x="230" y="29"/>
                    <a:pt x="232" y="30"/>
                  </a:cubicBezTo>
                  <a:cubicBezTo>
                    <a:pt x="233" y="31"/>
                    <a:pt x="233" y="31"/>
                    <a:pt x="234" y="32"/>
                  </a:cubicBezTo>
                  <a:cubicBezTo>
                    <a:pt x="234" y="32"/>
                    <a:pt x="235" y="33"/>
                    <a:pt x="235" y="33"/>
                  </a:cubicBezTo>
                  <a:cubicBezTo>
                    <a:pt x="235" y="33"/>
                    <a:pt x="235" y="34"/>
                    <a:pt x="235" y="34"/>
                  </a:cubicBezTo>
                  <a:cubicBezTo>
                    <a:pt x="236" y="34"/>
                    <a:pt x="236" y="35"/>
                    <a:pt x="236" y="35"/>
                  </a:cubicBezTo>
                  <a:cubicBezTo>
                    <a:pt x="236" y="36"/>
                    <a:pt x="236" y="36"/>
                    <a:pt x="236" y="37"/>
                  </a:cubicBezTo>
                  <a:cubicBezTo>
                    <a:pt x="236" y="39"/>
                    <a:pt x="236" y="40"/>
                    <a:pt x="235" y="41"/>
                  </a:cubicBezTo>
                  <a:cubicBezTo>
                    <a:pt x="235" y="41"/>
                    <a:pt x="234" y="42"/>
                    <a:pt x="234" y="42"/>
                  </a:cubicBezTo>
                  <a:cubicBezTo>
                    <a:pt x="233" y="42"/>
                    <a:pt x="233" y="41"/>
                    <a:pt x="232" y="41"/>
                  </a:cubicBezTo>
                  <a:cubicBezTo>
                    <a:pt x="231" y="40"/>
                    <a:pt x="230" y="39"/>
                    <a:pt x="229" y="38"/>
                  </a:cubicBezTo>
                  <a:cubicBezTo>
                    <a:pt x="227" y="37"/>
                    <a:pt x="226" y="37"/>
                    <a:pt x="224" y="36"/>
                  </a:cubicBezTo>
                  <a:cubicBezTo>
                    <a:pt x="222" y="35"/>
                    <a:pt x="220" y="35"/>
                    <a:pt x="218" y="35"/>
                  </a:cubicBezTo>
                  <a:cubicBezTo>
                    <a:pt x="213" y="35"/>
                    <a:pt x="209" y="37"/>
                    <a:pt x="206" y="41"/>
                  </a:cubicBezTo>
                  <a:cubicBezTo>
                    <a:pt x="204" y="45"/>
                    <a:pt x="202" y="50"/>
                    <a:pt x="202" y="57"/>
                  </a:cubicBezTo>
                  <a:cubicBezTo>
                    <a:pt x="202" y="61"/>
                    <a:pt x="203" y="64"/>
                    <a:pt x="203" y="67"/>
                  </a:cubicBezTo>
                  <a:cubicBezTo>
                    <a:pt x="204" y="70"/>
                    <a:pt x="205" y="72"/>
                    <a:pt x="206" y="74"/>
                  </a:cubicBezTo>
                  <a:cubicBezTo>
                    <a:pt x="208" y="76"/>
                    <a:pt x="209" y="77"/>
                    <a:pt x="211" y="78"/>
                  </a:cubicBezTo>
                  <a:cubicBezTo>
                    <a:pt x="213" y="79"/>
                    <a:pt x="216" y="79"/>
                    <a:pt x="218" y="79"/>
                  </a:cubicBezTo>
                  <a:cubicBezTo>
                    <a:pt x="220" y="79"/>
                    <a:pt x="223" y="79"/>
                    <a:pt x="224" y="78"/>
                  </a:cubicBezTo>
                  <a:cubicBezTo>
                    <a:pt x="226" y="77"/>
                    <a:pt x="228" y="76"/>
                    <a:pt x="229" y="76"/>
                  </a:cubicBezTo>
                  <a:cubicBezTo>
                    <a:pt x="230" y="75"/>
                    <a:pt x="231" y="74"/>
                    <a:pt x="232" y="73"/>
                  </a:cubicBezTo>
                  <a:cubicBezTo>
                    <a:pt x="233" y="72"/>
                    <a:pt x="234" y="72"/>
                    <a:pt x="234" y="72"/>
                  </a:cubicBezTo>
                  <a:cubicBezTo>
                    <a:pt x="235" y="72"/>
                    <a:pt x="235" y="72"/>
                    <a:pt x="235" y="72"/>
                  </a:cubicBezTo>
                  <a:cubicBezTo>
                    <a:pt x="235" y="72"/>
                    <a:pt x="235" y="73"/>
                    <a:pt x="236" y="73"/>
                  </a:cubicBezTo>
                  <a:cubicBezTo>
                    <a:pt x="236" y="73"/>
                    <a:pt x="236" y="74"/>
                    <a:pt x="236" y="75"/>
                  </a:cubicBezTo>
                  <a:cubicBezTo>
                    <a:pt x="236" y="75"/>
                    <a:pt x="236" y="76"/>
                    <a:pt x="236" y="77"/>
                  </a:cubicBezTo>
                  <a:close/>
                  <a:moveTo>
                    <a:pt x="306" y="85"/>
                  </a:moveTo>
                  <a:cubicBezTo>
                    <a:pt x="306" y="86"/>
                    <a:pt x="306" y="86"/>
                    <a:pt x="306" y="86"/>
                  </a:cubicBezTo>
                  <a:cubicBezTo>
                    <a:pt x="305" y="86"/>
                    <a:pt x="305" y="87"/>
                    <a:pt x="305" y="87"/>
                  </a:cubicBezTo>
                  <a:cubicBezTo>
                    <a:pt x="304" y="87"/>
                    <a:pt x="304" y="87"/>
                    <a:pt x="303" y="87"/>
                  </a:cubicBezTo>
                  <a:cubicBezTo>
                    <a:pt x="302" y="87"/>
                    <a:pt x="301" y="87"/>
                    <a:pt x="300" y="87"/>
                  </a:cubicBezTo>
                  <a:cubicBezTo>
                    <a:pt x="299" y="87"/>
                    <a:pt x="298" y="87"/>
                    <a:pt x="298" y="87"/>
                  </a:cubicBezTo>
                  <a:cubicBezTo>
                    <a:pt x="297" y="87"/>
                    <a:pt x="296" y="87"/>
                    <a:pt x="296" y="87"/>
                  </a:cubicBezTo>
                  <a:cubicBezTo>
                    <a:pt x="295" y="87"/>
                    <a:pt x="295" y="86"/>
                    <a:pt x="295" y="86"/>
                  </a:cubicBezTo>
                  <a:cubicBezTo>
                    <a:pt x="294" y="86"/>
                    <a:pt x="294" y="86"/>
                    <a:pt x="294" y="85"/>
                  </a:cubicBezTo>
                  <a:lnTo>
                    <a:pt x="270" y="54"/>
                  </a:lnTo>
                  <a:lnTo>
                    <a:pt x="270" y="85"/>
                  </a:lnTo>
                  <a:cubicBezTo>
                    <a:pt x="270" y="86"/>
                    <a:pt x="270" y="86"/>
                    <a:pt x="270" y="86"/>
                  </a:cubicBezTo>
                  <a:cubicBezTo>
                    <a:pt x="270" y="86"/>
                    <a:pt x="269" y="87"/>
                    <a:pt x="269" y="87"/>
                  </a:cubicBezTo>
                  <a:cubicBezTo>
                    <a:pt x="268" y="87"/>
                    <a:pt x="268" y="87"/>
                    <a:pt x="267" y="87"/>
                  </a:cubicBezTo>
                  <a:cubicBezTo>
                    <a:pt x="267" y="87"/>
                    <a:pt x="266" y="87"/>
                    <a:pt x="265" y="87"/>
                  </a:cubicBezTo>
                  <a:cubicBezTo>
                    <a:pt x="264" y="87"/>
                    <a:pt x="263" y="87"/>
                    <a:pt x="262" y="87"/>
                  </a:cubicBezTo>
                  <a:cubicBezTo>
                    <a:pt x="262" y="87"/>
                    <a:pt x="261" y="87"/>
                    <a:pt x="261" y="87"/>
                  </a:cubicBezTo>
                  <a:cubicBezTo>
                    <a:pt x="260" y="87"/>
                    <a:pt x="260" y="86"/>
                    <a:pt x="260" y="86"/>
                  </a:cubicBezTo>
                  <a:cubicBezTo>
                    <a:pt x="260" y="86"/>
                    <a:pt x="260" y="86"/>
                    <a:pt x="260" y="85"/>
                  </a:cubicBezTo>
                  <a:lnTo>
                    <a:pt x="260" y="2"/>
                  </a:lnTo>
                  <a:cubicBezTo>
                    <a:pt x="260" y="1"/>
                    <a:pt x="260" y="1"/>
                    <a:pt x="260" y="1"/>
                  </a:cubicBezTo>
                  <a:cubicBezTo>
                    <a:pt x="260" y="1"/>
                    <a:pt x="260" y="0"/>
                    <a:pt x="261" y="0"/>
                  </a:cubicBezTo>
                  <a:cubicBezTo>
                    <a:pt x="261" y="0"/>
                    <a:pt x="262" y="0"/>
                    <a:pt x="262" y="0"/>
                  </a:cubicBezTo>
                  <a:cubicBezTo>
                    <a:pt x="263" y="0"/>
                    <a:pt x="264" y="0"/>
                    <a:pt x="265" y="0"/>
                  </a:cubicBezTo>
                  <a:cubicBezTo>
                    <a:pt x="266" y="0"/>
                    <a:pt x="267" y="0"/>
                    <a:pt x="267" y="0"/>
                  </a:cubicBezTo>
                  <a:cubicBezTo>
                    <a:pt x="268" y="0"/>
                    <a:pt x="268" y="0"/>
                    <a:pt x="269" y="0"/>
                  </a:cubicBezTo>
                  <a:cubicBezTo>
                    <a:pt x="269" y="0"/>
                    <a:pt x="270" y="1"/>
                    <a:pt x="270" y="1"/>
                  </a:cubicBezTo>
                  <a:cubicBezTo>
                    <a:pt x="270" y="1"/>
                    <a:pt x="270" y="1"/>
                    <a:pt x="270" y="2"/>
                  </a:cubicBezTo>
                  <a:lnTo>
                    <a:pt x="270" y="53"/>
                  </a:lnTo>
                  <a:lnTo>
                    <a:pt x="291" y="29"/>
                  </a:lnTo>
                  <a:cubicBezTo>
                    <a:pt x="292" y="29"/>
                    <a:pt x="292" y="29"/>
                    <a:pt x="292" y="28"/>
                  </a:cubicBezTo>
                  <a:cubicBezTo>
                    <a:pt x="293" y="28"/>
                    <a:pt x="293" y="28"/>
                    <a:pt x="294" y="28"/>
                  </a:cubicBezTo>
                  <a:cubicBezTo>
                    <a:pt x="294" y="27"/>
                    <a:pt x="295" y="27"/>
                    <a:pt x="295" y="27"/>
                  </a:cubicBezTo>
                  <a:cubicBezTo>
                    <a:pt x="296" y="27"/>
                    <a:pt x="297" y="27"/>
                    <a:pt x="298" y="27"/>
                  </a:cubicBezTo>
                  <a:cubicBezTo>
                    <a:pt x="299" y="27"/>
                    <a:pt x="300" y="27"/>
                    <a:pt x="301" y="27"/>
                  </a:cubicBezTo>
                  <a:cubicBezTo>
                    <a:pt x="301" y="27"/>
                    <a:pt x="302" y="27"/>
                    <a:pt x="302" y="28"/>
                  </a:cubicBezTo>
                  <a:cubicBezTo>
                    <a:pt x="303" y="28"/>
                    <a:pt x="303" y="28"/>
                    <a:pt x="303" y="28"/>
                  </a:cubicBezTo>
                  <a:cubicBezTo>
                    <a:pt x="303" y="28"/>
                    <a:pt x="304" y="29"/>
                    <a:pt x="304" y="29"/>
                  </a:cubicBezTo>
                  <a:cubicBezTo>
                    <a:pt x="304" y="29"/>
                    <a:pt x="303" y="30"/>
                    <a:pt x="303" y="30"/>
                  </a:cubicBezTo>
                  <a:cubicBezTo>
                    <a:pt x="303" y="31"/>
                    <a:pt x="302" y="32"/>
                    <a:pt x="302" y="32"/>
                  </a:cubicBezTo>
                  <a:lnTo>
                    <a:pt x="281" y="53"/>
                  </a:lnTo>
                  <a:lnTo>
                    <a:pt x="304" y="82"/>
                  </a:lnTo>
                  <a:cubicBezTo>
                    <a:pt x="305" y="83"/>
                    <a:pt x="305" y="84"/>
                    <a:pt x="305" y="84"/>
                  </a:cubicBezTo>
                  <a:cubicBezTo>
                    <a:pt x="306" y="84"/>
                    <a:pt x="306" y="85"/>
                    <a:pt x="306" y="85"/>
                  </a:cubicBezTo>
                  <a:close/>
                  <a:moveTo>
                    <a:pt x="377" y="45"/>
                  </a:moveTo>
                  <a:cubicBezTo>
                    <a:pt x="377" y="52"/>
                    <a:pt x="376" y="58"/>
                    <a:pt x="374" y="63"/>
                  </a:cubicBezTo>
                  <a:cubicBezTo>
                    <a:pt x="373" y="68"/>
                    <a:pt x="370" y="73"/>
                    <a:pt x="367" y="77"/>
                  </a:cubicBezTo>
                  <a:cubicBezTo>
                    <a:pt x="364" y="80"/>
                    <a:pt x="360" y="83"/>
                    <a:pt x="356" y="85"/>
                  </a:cubicBezTo>
                  <a:cubicBezTo>
                    <a:pt x="351" y="87"/>
                    <a:pt x="346" y="88"/>
                    <a:pt x="340" y="88"/>
                  </a:cubicBezTo>
                  <a:cubicBezTo>
                    <a:pt x="334" y="88"/>
                    <a:pt x="328" y="87"/>
                    <a:pt x="324" y="85"/>
                  </a:cubicBezTo>
                  <a:cubicBezTo>
                    <a:pt x="319" y="84"/>
                    <a:pt x="316" y="81"/>
                    <a:pt x="313" y="77"/>
                  </a:cubicBezTo>
                  <a:cubicBezTo>
                    <a:pt x="310" y="74"/>
                    <a:pt x="308" y="70"/>
                    <a:pt x="306" y="65"/>
                  </a:cubicBezTo>
                  <a:cubicBezTo>
                    <a:pt x="305" y="59"/>
                    <a:pt x="304" y="54"/>
                    <a:pt x="304" y="47"/>
                  </a:cubicBezTo>
                  <a:cubicBezTo>
                    <a:pt x="304" y="40"/>
                    <a:pt x="305" y="35"/>
                    <a:pt x="307" y="29"/>
                  </a:cubicBezTo>
                  <a:cubicBezTo>
                    <a:pt x="308" y="24"/>
                    <a:pt x="310" y="20"/>
                    <a:pt x="313" y="16"/>
                  </a:cubicBezTo>
                  <a:cubicBezTo>
                    <a:pt x="317" y="13"/>
                    <a:pt x="320" y="10"/>
                    <a:pt x="325" y="8"/>
                  </a:cubicBezTo>
                  <a:cubicBezTo>
                    <a:pt x="330" y="6"/>
                    <a:pt x="335" y="5"/>
                    <a:pt x="341" y="5"/>
                  </a:cubicBezTo>
                  <a:cubicBezTo>
                    <a:pt x="347" y="5"/>
                    <a:pt x="352" y="6"/>
                    <a:pt x="357" y="7"/>
                  </a:cubicBezTo>
                  <a:cubicBezTo>
                    <a:pt x="361" y="9"/>
                    <a:pt x="365" y="12"/>
                    <a:pt x="368" y="15"/>
                  </a:cubicBezTo>
                  <a:cubicBezTo>
                    <a:pt x="371" y="19"/>
                    <a:pt x="373" y="23"/>
                    <a:pt x="374" y="28"/>
                  </a:cubicBezTo>
                  <a:cubicBezTo>
                    <a:pt x="376" y="33"/>
                    <a:pt x="377" y="39"/>
                    <a:pt x="377" y="45"/>
                  </a:cubicBezTo>
                  <a:close/>
                  <a:moveTo>
                    <a:pt x="365" y="46"/>
                  </a:moveTo>
                  <a:cubicBezTo>
                    <a:pt x="365" y="42"/>
                    <a:pt x="365" y="37"/>
                    <a:pt x="364" y="33"/>
                  </a:cubicBezTo>
                  <a:cubicBezTo>
                    <a:pt x="363" y="30"/>
                    <a:pt x="362" y="26"/>
                    <a:pt x="360" y="23"/>
                  </a:cubicBezTo>
                  <a:cubicBezTo>
                    <a:pt x="358" y="20"/>
                    <a:pt x="355" y="18"/>
                    <a:pt x="352" y="16"/>
                  </a:cubicBezTo>
                  <a:cubicBezTo>
                    <a:pt x="349" y="15"/>
                    <a:pt x="345" y="14"/>
                    <a:pt x="341" y="14"/>
                  </a:cubicBezTo>
                  <a:cubicBezTo>
                    <a:pt x="336" y="14"/>
                    <a:pt x="332" y="15"/>
                    <a:pt x="329" y="17"/>
                  </a:cubicBezTo>
                  <a:cubicBezTo>
                    <a:pt x="326" y="18"/>
                    <a:pt x="323" y="21"/>
                    <a:pt x="321" y="24"/>
                  </a:cubicBezTo>
                  <a:cubicBezTo>
                    <a:pt x="319" y="27"/>
                    <a:pt x="318" y="30"/>
                    <a:pt x="317" y="34"/>
                  </a:cubicBezTo>
                  <a:cubicBezTo>
                    <a:pt x="316" y="38"/>
                    <a:pt x="316" y="42"/>
                    <a:pt x="316" y="46"/>
                  </a:cubicBezTo>
                  <a:cubicBezTo>
                    <a:pt x="316" y="51"/>
                    <a:pt x="316" y="55"/>
                    <a:pt x="317" y="59"/>
                  </a:cubicBezTo>
                  <a:cubicBezTo>
                    <a:pt x="318" y="63"/>
                    <a:pt x="319" y="67"/>
                    <a:pt x="321" y="70"/>
                  </a:cubicBezTo>
                  <a:cubicBezTo>
                    <a:pt x="323" y="72"/>
                    <a:pt x="325" y="75"/>
                    <a:pt x="328" y="76"/>
                  </a:cubicBezTo>
                  <a:cubicBezTo>
                    <a:pt x="331" y="78"/>
                    <a:pt x="335" y="79"/>
                    <a:pt x="340" y="79"/>
                  </a:cubicBezTo>
                  <a:cubicBezTo>
                    <a:pt x="345" y="79"/>
                    <a:pt x="349" y="78"/>
                    <a:pt x="352" y="76"/>
                  </a:cubicBezTo>
                  <a:cubicBezTo>
                    <a:pt x="355" y="74"/>
                    <a:pt x="358" y="72"/>
                    <a:pt x="360" y="69"/>
                  </a:cubicBezTo>
                  <a:cubicBezTo>
                    <a:pt x="362" y="66"/>
                    <a:pt x="363" y="63"/>
                    <a:pt x="364" y="59"/>
                  </a:cubicBezTo>
                  <a:cubicBezTo>
                    <a:pt x="365" y="55"/>
                    <a:pt x="365" y="51"/>
                    <a:pt x="365" y="46"/>
                  </a:cubicBezTo>
                  <a:close/>
                  <a:moveTo>
                    <a:pt x="452" y="85"/>
                  </a:moveTo>
                  <a:cubicBezTo>
                    <a:pt x="452" y="86"/>
                    <a:pt x="452" y="86"/>
                    <a:pt x="452" y="86"/>
                  </a:cubicBezTo>
                  <a:cubicBezTo>
                    <a:pt x="451" y="86"/>
                    <a:pt x="451" y="87"/>
                    <a:pt x="451" y="87"/>
                  </a:cubicBezTo>
                  <a:cubicBezTo>
                    <a:pt x="450" y="87"/>
                    <a:pt x="450" y="87"/>
                    <a:pt x="449" y="87"/>
                  </a:cubicBezTo>
                  <a:cubicBezTo>
                    <a:pt x="449" y="87"/>
                    <a:pt x="448" y="87"/>
                    <a:pt x="447" y="87"/>
                  </a:cubicBezTo>
                  <a:cubicBezTo>
                    <a:pt x="446" y="87"/>
                    <a:pt x="445" y="87"/>
                    <a:pt x="445" y="87"/>
                  </a:cubicBezTo>
                  <a:cubicBezTo>
                    <a:pt x="444" y="87"/>
                    <a:pt x="444" y="87"/>
                    <a:pt x="443" y="87"/>
                  </a:cubicBezTo>
                  <a:cubicBezTo>
                    <a:pt x="443" y="87"/>
                    <a:pt x="443" y="86"/>
                    <a:pt x="443" y="86"/>
                  </a:cubicBezTo>
                  <a:cubicBezTo>
                    <a:pt x="442" y="86"/>
                    <a:pt x="442" y="86"/>
                    <a:pt x="442" y="85"/>
                  </a:cubicBezTo>
                  <a:lnTo>
                    <a:pt x="442" y="78"/>
                  </a:lnTo>
                  <a:cubicBezTo>
                    <a:pt x="439" y="81"/>
                    <a:pt x="436" y="84"/>
                    <a:pt x="433" y="86"/>
                  </a:cubicBezTo>
                  <a:cubicBezTo>
                    <a:pt x="430" y="87"/>
                    <a:pt x="427" y="88"/>
                    <a:pt x="423" y="88"/>
                  </a:cubicBezTo>
                  <a:cubicBezTo>
                    <a:pt x="420" y="88"/>
                    <a:pt x="417" y="87"/>
                    <a:pt x="414" y="86"/>
                  </a:cubicBezTo>
                  <a:cubicBezTo>
                    <a:pt x="411" y="85"/>
                    <a:pt x="409" y="83"/>
                    <a:pt x="408" y="81"/>
                  </a:cubicBezTo>
                  <a:cubicBezTo>
                    <a:pt x="406" y="79"/>
                    <a:pt x="405" y="76"/>
                    <a:pt x="404" y="74"/>
                  </a:cubicBezTo>
                  <a:cubicBezTo>
                    <a:pt x="404" y="71"/>
                    <a:pt x="403" y="67"/>
                    <a:pt x="403" y="63"/>
                  </a:cubicBezTo>
                  <a:lnTo>
                    <a:pt x="403" y="29"/>
                  </a:lnTo>
                  <a:cubicBezTo>
                    <a:pt x="403" y="29"/>
                    <a:pt x="403" y="28"/>
                    <a:pt x="404" y="28"/>
                  </a:cubicBezTo>
                  <a:cubicBezTo>
                    <a:pt x="404" y="28"/>
                    <a:pt x="404" y="28"/>
                    <a:pt x="404" y="28"/>
                  </a:cubicBezTo>
                  <a:cubicBezTo>
                    <a:pt x="405" y="27"/>
                    <a:pt x="405" y="27"/>
                    <a:pt x="406" y="27"/>
                  </a:cubicBezTo>
                  <a:cubicBezTo>
                    <a:pt x="407" y="27"/>
                    <a:pt x="407" y="27"/>
                    <a:pt x="408" y="27"/>
                  </a:cubicBezTo>
                  <a:cubicBezTo>
                    <a:pt x="409" y="27"/>
                    <a:pt x="410" y="27"/>
                    <a:pt x="411" y="27"/>
                  </a:cubicBezTo>
                  <a:cubicBezTo>
                    <a:pt x="412" y="27"/>
                    <a:pt x="412" y="27"/>
                    <a:pt x="413" y="28"/>
                  </a:cubicBezTo>
                  <a:cubicBezTo>
                    <a:pt x="413" y="28"/>
                    <a:pt x="413" y="28"/>
                    <a:pt x="413" y="28"/>
                  </a:cubicBezTo>
                  <a:cubicBezTo>
                    <a:pt x="414" y="28"/>
                    <a:pt x="414" y="29"/>
                    <a:pt x="414" y="29"/>
                  </a:cubicBezTo>
                  <a:lnTo>
                    <a:pt x="414" y="62"/>
                  </a:lnTo>
                  <a:cubicBezTo>
                    <a:pt x="414" y="65"/>
                    <a:pt x="414" y="68"/>
                    <a:pt x="414" y="70"/>
                  </a:cubicBezTo>
                  <a:cubicBezTo>
                    <a:pt x="415" y="72"/>
                    <a:pt x="416" y="73"/>
                    <a:pt x="417" y="75"/>
                  </a:cubicBezTo>
                  <a:cubicBezTo>
                    <a:pt x="418" y="76"/>
                    <a:pt x="419" y="77"/>
                    <a:pt x="420" y="78"/>
                  </a:cubicBezTo>
                  <a:cubicBezTo>
                    <a:pt x="422" y="79"/>
                    <a:pt x="424" y="79"/>
                    <a:pt x="426" y="79"/>
                  </a:cubicBezTo>
                  <a:cubicBezTo>
                    <a:pt x="428" y="79"/>
                    <a:pt x="431" y="78"/>
                    <a:pt x="433" y="76"/>
                  </a:cubicBezTo>
                  <a:cubicBezTo>
                    <a:pt x="436" y="75"/>
                    <a:pt x="439" y="72"/>
                    <a:pt x="441" y="68"/>
                  </a:cubicBezTo>
                  <a:lnTo>
                    <a:pt x="441" y="29"/>
                  </a:lnTo>
                  <a:cubicBezTo>
                    <a:pt x="441" y="29"/>
                    <a:pt x="441" y="28"/>
                    <a:pt x="442" y="28"/>
                  </a:cubicBezTo>
                  <a:cubicBezTo>
                    <a:pt x="442" y="28"/>
                    <a:pt x="442" y="28"/>
                    <a:pt x="442" y="28"/>
                  </a:cubicBezTo>
                  <a:cubicBezTo>
                    <a:pt x="443" y="27"/>
                    <a:pt x="443" y="27"/>
                    <a:pt x="444" y="27"/>
                  </a:cubicBezTo>
                  <a:cubicBezTo>
                    <a:pt x="445" y="27"/>
                    <a:pt x="446" y="27"/>
                    <a:pt x="447" y="27"/>
                  </a:cubicBezTo>
                  <a:cubicBezTo>
                    <a:pt x="448" y="27"/>
                    <a:pt x="448" y="27"/>
                    <a:pt x="449" y="27"/>
                  </a:cubicBezTo>
                  <a:cubicBezTo>
                    <a:pt x="450" y="27"/>
                    <a:pt x="450" y="27"/>
                    <a:pt x="451" y="28"/>
                  </a:cubicBezTo>
                  <a:cubicBezTo>
                    <a:pt x="451" y="28"/>
                    <a:pt x="451" y="28"/>
                    <a:pt x="452" y="28"/>
                  </a:cubicBezTo>
                  <a:cubicBezTo>
                    <a:pt x="452" y="28"/>
                    <a:pt x="452" y="29"/>
                    <a:pt x="452" y="29"/>
                  </a:cubicBezTo>
                  <a:lnTo>
                    <a:pt x="452" y="85"/>
                  </a:lnTo>
                  <a:close/>
                  <a:moveTo>
                    <a:pt x="497" y="81"/>
                  </a:moveTo>
                  <a:cubicBezTo>
                    <a:pt x="497" y="82"/>
                    <a:pt x="497" y="83"/>
                    <a:pt x="497" y="84"/>
                  </a:cubicBezTo>
                  <a:cubicBezTo>
                    <a:pt x="496" y="85"/>
                    <a:pt x="496" y="85"/>
                    <a:pt x="496" y="86"/>
                  </a:cubicBezTo>
                  <a:cubicBezTo>
                    <a:pt x="496" y="86"/>
                    <a:pt x="495" y="86"/>
                    <a:pt x="494" y="87"/>
                  </a:cubicBezTo>
                  <a:cubicBezTo>
                    <a:pt x="494" y="87"/>
                    <a:pt x="493" y="87"/>
                    <a:pt x="492" y="87"/>
                  </a:cubicBezTo>
                  <a:cubicBezTo>
                    <a:pt x="491" y="87"/>
                    <a:pt x="490" y="88"/>
                    <a:pt x="489" y="88"/>
                  </a:cubicBezTo>
                  <a:cubicBezTo>
                    <a:pt x="488" y="88"/>
                    <a:pt x="487" y="88"/>
                    <a:pt x="486" y="88"/>
                  </a:cubicBezTo>
                  <a:cubicBezTo>
                    <a:pt x="484" y="88"/>
                    <a:pt x="481" y="88"/>
                    <a:pt x="479" y="87"/>
                  </a:cubicBezTo>
                  <a:cubicBezTo>
                    <a:pt x="477" y="86"/>
                    <a:pt x="475" y="85"/>
                    <a:pt x="474" y="83"/>
                  </a:cubicBezTo>
                  <a:cubicBezTo>
                    <a:pt x="473" y="82"/>
                    <a:pt x="472" y="80"/>
                    <a:pt x="471" y="77"/>
                  </a:cubicBezTo>
                  <a:cubicBezTo>
                    <a:pt x="470" y="75"/>
                    <a:pt x="470" y="72"/>
                    <a:pt x="470" y="69"/>
                  </a:cubicBezTo>
                  <a:lnTo>
                    <a:pt x="470" y="36"/>
                  </a:lnTo>
                  <a:lnTo>
                    <a:pt x="462" y="36"/>
                  </a:lnTo>
                  <a:cubicBezTo>
                    <a:pt x="462" y="36"/>
                    <a:pt x="461" y="36"/>
                    <a:pt x="461" y="35"/>
                  </a:cubicBezTo>
                  <a:cubicBezTo>
                    <a:pt x="460" y="34"/>
                    <a:pt x="460" y="33"/>
                    <a:pt x="460" y="32"/>
                  </a:cubicBezTo>
                  <a:cubicBezTo>
                    <a:pt x="460" y="31"/>
                    <a:pt x="460" y="30"/>
                    <a:pt x="460" y="30"/>
                  </a:cubicBezTo>
                  <a:cubicBezTo>
                    <a:pt x="460" y="29"/>
                    <a:pt x="461" y="29"/>
                    <a:pt x="461" y="28"/>
                  </a:cubicBezTo>
                  <a:cubicBezTo>
                    <a:pt x="461" y="28"/>
                    <a:pt x="461" y="28"/>
                    <a:pt x="461" y="28"/>
                  </a:cubicBezTo>
                  <a:cubicBezTo>
                    <a:pt x="462" y="27"/>
                    <a:pt x="462" y="27"/>
                    <a:pt x="462" y="27"/>
                  </a:cubicBezTo>
                  <a:lnTo>
                    <a:pt x="470" y="27"/>
                  </a:lnTo>
                  <a:lnTo>
                    <a:pt x="470" y="14"/>
                  </a:lnTo>
                  <a:cubicBezTo>
                    <a:pt x="470" y="14"/>
                    <a:pt x="470" y="13"/>
                    <a:pt x="470" y="13"/>
                  </a:cubicBezTo>
                  <a:cubicBezTo>
                    <a:pt x="470" y="13"/>
                    <a:pt x="471" y="13"/>
                    <a:pt x="471" y="13"/>
                  </a:cubicBezTo>
                  <a:cubicBezTo>
                    <a:pt x="471" y="12"/>
                    <a:pt x="472" y="12"/>
                    <a:pt x="473" y="12"/>
                  </a:cubicBezTo>
                  <a:cubicBezTo>
                    <a:pt x="473" y="12"/>
                    <a:pt x="474" y="12"/>
                    <a:pt x="475" y="12"/>
                  </a:cubicBezTo>
                  <a:cubicBezTo>
                    <a:pt x="476" y="12"/>
                    <a:pt x="477" y="12"/>
                    <a:pt x="478" y="12"/>
                  </a:cubicBezTo>
                  <a:cubicBezTo>
                    <a:pt x="478" y="12"/>
                    <a:pt x="479" y="12"/>
                    <a:pt x="479" y="13"/>
                  </a:cubicBezTo>
                  <a:cubicBezTo>
                    <a:pt x="480" y="13"/>
                    <a:pt x="480" y="13"/>
                    <a:pt x="480" y="13"/>
                  </a:cubicBezTo>
                  <a:cubicBezTo>
                    <a:pt x="480" y="13"/>
                    <a:pt x="480" y="14"/>
                    <a:pt x="480" y="14"/>
                  </a:cubicBezTo>
                  <a:lnTo>
                    <a:pt x="480" y="27"/>
                  </a:lnTo>
                  <a:lnTo>
                    <a:pt x="495" y="27"/>
                  </a:lnTo>
                  <a:cubicBezTo>
                    <a:pt x="495" y="27"/>
                    <a:pt x="495" y="27"/>
                    <a:pt x="496" y="28"/>
                  </a:cubicBezTo>
                  <a:cubicBezTo>
                    <a:pt x="496" y="28"/>
                    <a:pt x="496" y="28"/>
                    <a:pt x="496" y="28"/>
                  </a:cubicBezTo>
                  <a:cubicBezTo>
                    <a:pt x="497" y="29"/>
                    <a:pt x="497" y="29"/>
                    <a:pt x="497" y="30"/>
                  </a:cubicBezTo>
                  <a:cubicBezTo>
                    <a:pt x="497" y="30"/>
                    <a:pt x="497" y="31"/>
                    <a:pt x="497" y="32"/>
                  </a:cubicBezTo>
                  <a:cubicBezTo>
                    <a:pt x="497" y="33"/>
                    <a:pt x="497" y="34"/>
                    <a:pt x="496" y="35"/>
                  </a:cubicBezTo>
                  <a:cubicBezTo>
                    <a:pt x="496" y="36"/>
                    <a:pt x="495" y="36"/>
                    <a:pt x="495" y="36"/>
                  </a:cubicBezTo>
                  <a:lnTo>
                    <a:pt x="480" y="36"/>
                  </a:lnTo>
                  <a:lnTo>
                    <a:pt x="480" y="67"/>
                  </a:lnTo>
                  <a:cubicBezTo>
                    <a:pt x="480" y="71"/>
                    <a:pt x="481" y="74"/>
                    <a:pt x="482" y="76"/>
                  </a:cubicBezTo>
                  <a:cubicBezTo>
                    <a:pt x="483" y="78"/>
                    <a:pt x="485" y="79"/>
                    <a:pt x="488" y="79"/>
                  </a:cubicBezTo>
                  <a:cubicBezTo>
                    <a:pt x="489" y="79"/>
                    <a:pt x="490" y="79"/>
                    <a:pt x="491" y="79"/>
                  </a:cubicBezTo>
                  <a:cubicBezTo>
                    <a:pt x="492" y="79"/>
                    <a:pt x="492" y="78"/>
                    <a:pt x="493" y="78"/>
                  </a:cubicBezTo>
                  <a:cubicBezTo>
                    <a:pt x="493" y="78"/>
                    <a:pt x="494" y="78"/>
                    <a:pt x="494" y="78"/>
                  </a:cubicBezTo>
                  <a:cubicBezTo>
                    <a:pt x="495" y="77"/>
                    <a:pt x="495" y="77"/>
                    <a:pt x="495" y="77"/>
                  </a:cubicBezTo>
                  <a:cubicBezTo>
                    <a:pt x="496" y="77"/>
                    <a:pt x="496" y="77"/>
                    <a:pt x="496" y="78"/>
                  </a:cubicBezTo>
                  <a:cubicBezTo>
                    <a:pt x="496" y="78"/>
                    <a:pt x="496" y="78"/>
                    <a:pt x="496" y="78"/>
                  </a:cubicBezTo>
                  <a:cubicBezTo>
                    <a:pt x="497" y="78"/>
                    <a:pt x="497" y="79"/>
                    <a:pt x="497" y="79"/>
                  </a:cubicBezTo>
                  <a:cubicBezTo>
                    <a:pt x="497" y="80"/>
                    <a:pt x="497" y="80"/>
                    <a:pt x="497" y="81"/>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6">
              <a:extLst>
                <a:ext uri="{FF2B5EF4-FFF2-40B4-BE49-F238E27FC236}">
                  <a16:creationId xmlns:a16="http://schemas.microsoft.com/office/drawing/2014/main" id="{EDAEB338-BE2E-42FD-A655-C9920A4B85DE}"/>
                </a:ext>
              </a:extLst>
            </p:cNvPr>
            <p:cNvSpPr>
              <a:spLocks noEditPoints="1"/>
            </p:cNvSpPr>
            <p:nvPr/>
          </p:nvSpPr>
          <p:spPr bwMode="auto">
            <a:xfrm>
              <a:off x="4976" y="2124"/>
              <a:ext cx="912" cy="78"/>
            </a:xfrm>
            <a:custGeom>
              <a:avLst/>
              <a:gdLst>
                <a:gd name="T0" fmla="*/ 38 w 2039"/>
                <a:gd name="T1" fmla="*/ 127 h 174"/>
                <a:gd name="T2" fmla="*/ 62 w 2039"/>
                <a:gd name="T3" fmla="*/ 116 h 174"/>
                <a:gd name="T4" fmla="*/ 63 w 2039"/>
                <a:gd name="T5" fmla="*/ 121 h 174"/>
                <a:gd name="T6" fmla="*/ 156 w 2039"/>
                <a:gd name="T7" fmla="*/ 93 h 174"/>
                <a:gd name="T8" fmla="*/ 119 w 2039"/>
                <a:gd name="T9" fmla="*/ 105 h 174"/>
                <a:gd name="T10" fmla="*/ 219 w 2039"/>
                <a:gd name="T11" fmla="*/ 81 h 174"/>
                <a:gd name="T12" fmla="*/ 181 w 2039"/>
                <a:gd name="T13" fmla="*/ 87 h 174"/>
                <a:gd name="T14" fmla="*/ 279 w 2039"/>
                <a:gd name="T15" fmla="*/ 68 h 174"/>
                <a:gd name="T16" fmla="*/ 239 w 2039"/>
                <a:gd name="T17" fmla="*/ 76 h 174"/>
                <a:gd name="T18" fmla="*/ 339 w 2039"/>
                <a:gd name="T19" fmla="*/ 58 h 174"/>
                <a:gd name="T20" fmla="*/ 301 w 2039"/>
                <a:gd name="T21" fmla="*/ 62 h 174"/>
                <a:gd name="T22" fmla="*/ 398 w 2039"/>
                <a:gd name="T23" fmla="*/ 51 h 174"/>
                <a:gd name="T24" fmla="*/ 422 w 2039"/>
                <a:gd name="T25" fmla="*/ 42 h 174"/>
                <a:gd name="T26" fmla="*/ 423 w 2039"/>
                <a:gd name="T27" fmla="*/ 47 h 174"/>
                <a:gd name="T28" fmla="*/ 513 w 2039"/>
                <a:gd name="T29" fmla="*/ 27 h 174"/>
                <a:gd name="T30" fmla="*/ 514 w 2039"/>
                <a:gd name="T31" fmla="*/ 32 h 174"/>
                <a:gd name="T32" fmla="*/ 544 w 2039"/>
                <a:gd name="T33" fmla="*/ 24 h 174"/>
                <a:gd name="T34" fmla="*/ 545 w 2039"/>
                <a:gd name="T35" fmla="*/ 29 h 174"/>
                <a:gd name="T36" fmla="*/ 641 w 2039"/>
                <a:gd name="T37" fmla="*/ 16 h 174"/>
                <a:gd name="T38" fmla="*/ 603 w 2039"/>
                <a:gd name="T39" fmla="*/ 22 h 174"/>
                <a:gd name="T40" fmla="*/ 705 w 2039"/>
                <a:gd name="T41" fmla="*/ 12 h 174"/>
                <a:gd name="T42" fmla="*/ 667 w 2039"/>
                <a:gd name="T43" fmla="*/ 13 h 174"/>
                <a:gd name="T44" fmla="*/ 764 w 2039"/>
                <a:gd name="T45" fmla="*/ 10 h 174"/>
                <a:gd name="T46" fmla="*/ 789 w 2039"/>
                <a:gd name="T47" fmla="*/ 4 h 174"/>
                <a:gd name="T48" fmla="*/ 789 w 2039"/>
                <a:gd name="T49" fmla="*/ 9 h 174"/>
                <a:gd name="T50" fmla="*/ 886 w 2039"/>
                <a:gd name="T51" fmla="*/ 2 h 174"/>
                <a:gd name="T52" fmla="*/ 848 w 2039"/>
                <a:gd name="T53" fmla="*/ 5 h 174"/>
                <a:gd name="T54" fmla="*/ 950 w 2039"/>
                <a:gd name="T55" fmla="*/ 4 h 174"/>
                <a:gd name="T56" fmla="*/ 912 w 2039"/>
                <a:gd name="T57" fmla="*/ 2 h 174"/>
                <a:gd name="T58" fmla="*/ 1009 w 2039"/>
                <a:gd name="T59" fmla="*/ 5 h 174"/>
                <a:gd name="T60" fmla="*/ 1035 w 2039"/>
                <a:gd name="T61" fmla="*/ 0 h 174"/>
                <a:gd name="T62" fmla="*/ 1035 w 2039"/>
                <a:gd name="T63" fmla="*/ 5 h 174"/>
                <a:gd name="T64" fmla="*/ 1132 w 2039"/>
                <a:gd name="T65" fmla="*/ 5 h 174"/>
                <a:gd name="T66" fmla="*/ 1094 w 2039"/>
                <a:gd name="T67" fmla="*/ 6 h 174"/>
                <a:gd name="T68" fmla="*/ 1196 w 2039"/>
                <a:gd name="T69" fmla="*/ 11 h 174"/>
                <a:gd name="T70" fmla="*/ 1158 w 2039"/>
                <a:gd name="T71" fmla="*/ 7 h 174"/>
                <a:gd name="T72" fmla="*/ 1255 w 2039"/>
                <a:gd name="T73" fmla="*/ 17 h 174"/>
                <a:gd name="T74" fmla="*/ 1280 w 2039"/>
                <a:gd name="T75" fmla="*/ 13 h 174"/>
                <a:gd name="T76" fmla="*/ 1316 w 2039"/>
                <a:gd name="T77" fmla="*/ 22 h 174"/>
                <a:gd name="T78" fmla="*/ 1280 w 2039"/>
                <a:gd name="T79" fmla="*/ 13 h 174"/>
                <a:gd name="T80" fmla="*/ 1376 w 2039"/>
                <a:gd name="T81" fmla="*/ 31 h 174"/>
                <a:gd name="T82" fmla="*/ 1402 w 2039"/>
                <a:gd name="T83" fmla="*/ 29 h 174"/>
                <a:gd name="T84" fmla="*/ 1402 w 2039"/>
                <a:gd name="T85" fmla="*/ 34 h 174"/>
                <a:gd name="T86" fmla="*/ 1499 w 2039"/>
                <a:gd name="T87" fmla="*/ 42 h 174"/>
                <a:gd name="T88" fmla="*/ 1460 w 2039"/>
                <a:gd name="T89" fmla="*/ 39 h 174"/>
                <a:gd name="T90" fmla="*/ 1560 w 2039"/>
                <a:gd name="T91" fmla="*/ 51 h 174"/>
                <a:gd name="T92" fmla="*/ 1524 w 2039"/>
                <a:gd name="T93" fmla="*/ 51 h 174"/>
                <a:gd name="T94" fmla="*/ 1620 w 2039"/>
                <a:gd name="T95" fmla="*/ 64 h 174"/>
                <a:gd name="T96" fmla="*/ 1582 w 2039"/>
                <a:gd name="T97" fmla="*/ 58 h 174"/>
                <a:gd name="T98" fmla="*/ 1682 w 2039"/>
                <a:gd name="T99" fmla="*/ 79 h 174"/>
                <a:gd name="T100" fmla="*/ 1645 w 2039"/>
                <a:gd name="T101" fmla="*/ 69 h 174"/>
                <a:gd name="T102" fmla="*/ 1739 w 2039"/>
                <a:gd name="T103" fmla="*/ 94 h 174"/>
                <a:gd name="T104" fmla="*/ 1765 w 2039"/>
                <a:gd name="T105" fmla="*/ 94 h 174"/>
                <a:gd name="T106" fmla="*/ 1764 w 2039"/>
                <a:gd name="T107" fmla="*/ 99 h 174"/>
                <a:gd name="T108" fmla="*/ 1860 w 2039"/>
                <a:gd name="T109" fmla="*/ 118 h 174"/>
                <a:gd name="T110" fmla="*/ 1822 w 2039"/>
                <a:gd name="T111" fmla="*/ 110 h 174"/>
                <a:gd name="T112" fmla="*/ 1921 w 2039"/>
                <a:gd name="T113" fmla="*/ 138 h 174"/>
                <a:gd name="T114" fmla="*/ 1884 w 2039"/>
                <a:gd name="T115" fmla="*/ 125 h 174"/>
                <a:gd name="T116" fmla="*/ 1976 w 2039"/>
                <a:gd name="T117" fmla="*/ 157 h 174"/>
                <a:gd name="T118" fmla="*/ 2002 w 2039"/>
                <a:gd name="T119" fmla="*/ 159 h 174"/>
                <a:gd name="T120" fmla="*/ 2001 w 2039"/>
                <a:gd name="T121"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9" h="174">
                  <a:moveTo>
                    <a:pt x="2" y="131"/>
                  </a:moveTo>
                  <a:lnTo>
                    <a:pt x="37" y="122"/>
                  </a:lnTo>
                  <a:cubicBezTo>
                    <a:pt x="38" y="122"/>
                    <a:pt x="39" y="123"/>
                    <a:pt x="40" y="124"/>
                  </a:cubicBezTo>
                  <a:cubicBezTo>
                    <a:pt x="40" y="126"/>
                    <a:pt x="39" y="127"/>
                    <a:pt x="38" y="127"/>
                  </a:cubicBezTo>
                  <a:lnTo>
                    <a:pt x="3" y="136"/>
                  </a:lnTo>
                  <a:cubicBezTo>
                    <a:pt x="2" y="136"/>
                    <a:pt x="0" y="135"/>
                    <a:pt x="0" y="134"/>
                  </a:cubicBezTo>
                  <a:cubicBezTo>
                    <a:pt x="0" y="133"/>
                    <a:pt x="0" y="131"/>
                    <a:pt x="2" y="131"/>
                  </a:cubicBezTo>
                  <a:close/>
                  <a:moveTo>
                    <a:pt x="62" y="116"/>
                  </a:moveTo>
                  <a:lnTo>
                    <a:pt x="96" y="108"/>
                  </a:lnTo>
                  <a:cubicBezTo>
                    <a:pt x="98" y="108"/>
                    <a:pt x="99" y="108"/>
                    <a:pt x="99" y="110"/>
                  </a:cubicBezTo>
                  <a:cubicBezTo>
                    <a:pt x="100" y="111"/>
                    <a:pt x="99" y="113"/>
                    <a:pt x="98" y="113"/>
                  </a:cubicBezTo>
                  <a:lnTo>
                    <a:pt x="63" y="121"/>
                  </a:lnTo>
                  <a:cubicBezTo>
                    <a:pt x="61" y="122"/>
                    <a:pt x="60" y="121"/>
                    <a:pt x="60" y="120"/>
                  </a:cubicBezTo>
                  <a:cubicBezTo>
                    <a:pt x="59" y="118"/>
                    <a:pt x="60" y="117"/>
                    <a:pt x="62" y="116"/>
                  </a:cubicBezTo>
                  <a:close/>
                  <a:moveTo>
                    <a:pt x="121" y="102"/>
                  </a:moveTo>
                  <a:lnTo>
                    <a:pt x="156" y="93"/>
                  </a:lnTo>
                  <a:cubicBezTo>
                    <a:pt x="157" y="93"/>
                    <a:pt x="159" y="94"/>
                    <a:pt x="159" y="95"/>
                  </a:cubicBezTo>
                  <a:cubicBezTo>
                    <a:pt x="159" y="97"/>
                    <a:pt x="159" y="98"/>
                    <a:pt x="157" y="98"/>
                  </a:cubicBezTo>
                  <a:lnTo>
                    <a:pt x="122" y="107"/>
                  </a:lnTo>
                  <a:cubicBezTo>
                    <a:pt x="121" y="107"/>
                    <a:pt x="120" y="106"/>
                    <a:pt x="119" y="105"/>
                  </a:cubicBezTo>
                  <a:cubicBezTo>
                    <a:pt x="119" y="104"/>
                    <a:pt x="120" y="102"/>
                    <a:pt x="121" y="102"/>
                  </a:cubicBezTo>
                  <a:close/>
                  <a:moveTo>
                    <a:pt x="181" y="87"/>
                  </a:moveTo>
                  <a:lnTo>
                    <a:pt x="216" y="79"/>
                  </a:lnTo>
                  <a:cubicBezTo>
                    <a:pt x="217" y="78"/>
                    <a:pt x="218" y="79"/>
                    <a:pt x="219" y="81"/>
                  </a:cubicBezTo>
                  <a:cubicBezTo>
                    <a:pt x="219" y="82"/>
                    <a:pt x="218" y="83"/>
                    <a:pt x="217" y="84"/>
                  </a:cubicBezTo>
                  <a:lnTo>
                    <a:pt x="182" y="92"/>
                  </a:lnTo>
                  <a:cubicBezTo>
                    <a:pt x="181" y="93"/>
                    <a:pt x="179" y="92"/>
                    <a:pt x="179" y="90"/>
                  </a:cubicBezTo>
                  <a:cubicBezTo>
                    <a:pt x="179" y="89"/>
                    <a:pt x="180" y="88"/>
                    <a:pt x="181" y="87"/>
                  </a:cubicBezTo>
                  <a:close/>
                  <a:moveTo>
                    <a:pt x="241" y="73"/>
                  </a:moveTo>
                  <a:lnTo>
                    <a:pt x="256" y="69"/>
                  </a:lnTo>
                  <a:lnTo>
                    <a:pt x="276" y="66"/>
                  </a:lnTo>
                  <a:cubicBezTo>
                    <a:pt x="277" y="65"/>
                    <a:pt x="279" y="66"/>
                    <a:pt x="279" y="68"/>
                  </a:cubicBezTo>
                  <a:cubicBezTo>
                    <a:pt x="279" y="69"/>
                    <a:pt x="278" y="71"/>
                    <a:pt x="277" y="71"/>
                  </a:cubicBezTo>
                  <a:lnTo>
                    <a:pt x="257" y="74"/>
                  </a:lnTo>
                  <a:lnTo>
                    <a:pt x="242" y="78"/>
                  </a:lnTo>
                  <a:cubicBezTo>
                    <a:pt x="240" y="78"/>
                    <a:pt x="239" y="77"/>
                    <a:pt x="239" y="76"/>
                  </a:cubicBezTo>
                  <a:cubicBezTo>
                    <a:pt x="238" y="74"/>
                    <a:pt x="239" y="73"/>
                    <a:pt x="241" y="73"/>
                  </a:cubicBezTo>
                  <a:close/>
                  <a:moveTo>
                    <a:pt x="301" y="62"/>
                  </a:moveTo>
                  <a:lnTo>
                    <a:pt x="337" y="56"/>
                  </a:lnTo>
                  <a:cubicBezTo>
                    <a:pt x="338" y="56"/>
                    <a:pt x="339" y="57"/>
                    <a:pt x="339" y="58"/>
                  </a:cubicBezTo>
                  <a:cubicBezTo>
                    <a:pt x="340" y="59"/>
                    <a:pt x="339" y="61"/>
                    <a:pt x="337" y="61"/>
                  </a:cubicBezTo>
                  <a:lnTo>
                    <a:pt x="302" y="67"/>
                  </a:lnTo>
                  <a:cubicBezTo>
                    <a:pt x="301" y="67"/>
                    <a:pt x="299" y="66"/>
                    <a:pt x="299" y="65"/>
                  </a:cubicBezTo>
                  <a:cubicBezTo>
                    <a:pt x="299" y="63"/>
                    <a:pt x="300" y="62"/>
                    <a:pt x="301" y="62"/>
                  </a:cubicBezTo>
                  <a:close/>
                  <a:moveTo>
                    <a:pt x="362" y="52"/>
                  </a:moveTo>
                  <a:lnTo>
                    <a:pt x="397" y="46"/>
                  </a:lnTo>
                  <a:cubicBezTo>
                    <a:pt x="399" y="46"/>
                    <a:pt x="400" y="47"/>
                    <a:pt x="400" y="48"/>
                  </a:cubicBezTo>
                  <a:cubicBezTo>
                    <a:pt x="400" y="49"/>
                    <a:pt x="399" y="51"/>
                    <a:pt x="398" y="51"/>
                  </a:cubicBezTo>
                  <a:lnTo>
                    <a:pt x="363" y="57"/>
                  </a:lnTo>
                  <a:cubicBezTo>
                    <a:pt x="361" y="57"/>
                    <a:pt x="360" y="56"/>
                    <a:pt x="360" y="55"/>
                  </a:cubicBezTo>
                  <a:cubicBezTo>
                    <a:pt x="359" y="53"/>
                    <a:pt x="360" y="52"/>
                    <a:pt x="362" y="52"/>
                  </a:cubicBezTo>
                  <a:close/>
                  <a:moveTo>
                    <a:pt x="422" y="42"/>
                  </a:moveTo>
                  <a:lnTo>
                    <a:pt x="458" y="36"/>
                  </a:lnTo>
                  <a:cubicBezTo>
                    <a:pt x="459" y="36"/>
                    <a:pt x="461" y="37"/>
                    <a:pt x="461" y="38"/>
                  </a:cubicBezTo>
                  <a:cubicBezTo>
                    <a:pt x="461" y="39"/>
                    <a:pt x="460" y="41"/>
                    <a:pt x="459" y="41"/>
                  </a:cubicBezTo>
                  <a:lnTo>
                    <a:pt x="423" y="47"/>
                  </a:lnTo>
                  <a:cubicBezTo>
                    <a:pt x="422" y="47"/>
                    <a:pt x="421" y="46"/>
                    <a:pt x="420" y="45"/>
                  </a:cubicBezTo>
                  <a:cubicBezTo>
                    <a:pt x="420" y="43"/>
                    <a:pt x="421" y="42"/>
                    <a:pt x="422" y="42"/>
                  </a:cubicBezTo>
                  <a:close/>
                  <a:moveTo>
                    <a:pt x="483" y="32"/>
                  </a:moveTo>
                  <a:lnTo>
                    <a:pt x="513" y="27"/>
                  </a:lnTo>
                  <a:lnTo>
                    <a:pt x="519" y="26"/>
                  </a:lnTo>
                  <a:cubicBezTo>
                    <a:pt x="520" y="26"/>
                    <a:pt x="521" y="27"/>
                    <a:pt x="521" y="29"/>
                  </a:cubicBezTo>
                  <a:cubicBezTo>
                    <a:pt x="522" y="30"/>
                    <a:pt x="521" y="31"/>
                    <a:pt x="519" y="32"/>
                  </a:cubicBezTo>
                  <a:lnTo>
                    <a:pt x="514" y="32"/>
                  </a:lnTo>
                  <a:lnTo>
                    <a:pt x="484" y="37"/>
                  </a:lnTo>
                  <a:cubicBezTo>
                    <a:pt x="482" y="37"/>
                    <a:pt x="481" y="36"/>
                    <a:pt x="481" y="35"/>
                  </a:cubicBezTo>
                  <a:cubicBezTo>
                    <a:pt x="481" y="33"/>
                    <a:pt x="482" y="32"/>
                    <a:pt x="483" y="32"/>
                  </a:cubicBezTo>
                  <a:close/>
                  <a:moveTo>
                    <a:pt x="544" y="24"/>
                  </a:moveTo>
                  <a:lnTo>
                    <a:pt x="580" y="21"/>
                  </a:lnTo>
                  <a:cubicBezTo>
                    <a:pt x="581" y="21"/>
                    <a:pt x="583" y="22"/>
                    <a:pt x="583" y="23"/>
                  </a:cubicBezTo>
                  <a:cubicBezTo>
                    <a:pt x="583" y="25"/>
                    <a:pt x="582" y="26"/>
                    <a:pt x="580" y="26"/>
                  </a:cubicBezTo>
                  <a:lnTo>
                    <a:pt x="545" y="29"/>
                  </a:lnTo>
                  <a:cubicBezTo>
                    <a:pt x="543" y="29"/>
                    <a:pt x="542" y="28"/>
                    <a:pt x="542" y="27"/>
                  </a:cubicBezTo>
                  <a:cubicBezTo>
                    <a:pt x="542" y="26"/>
                    <a:pt x="543" y="24"/>
                    <a:pt x="544" y="24"/>
                  </a:cubicBezTo>
                  <a:close/>
                  <a:moveTo>
                    <a:pt x="605" y="19"/>
                  </a:moveTo>
                  <a:lnTo>
                    <a:pt x="641" y="16"/>
                  </a:lnTo>
                  <a:cubicBezTo>
                    <a:pt x="642" y="15"/>
                    <a:pt x="644" y="16"/>
                    <a:pt x="644" y="18"/>
                  </a:cubicBezTo>
                  <a:cubicBezTo>
                    <a:pt x="644" y="19"/>
                    <a:pt x="643" y="21"/>
                    <a:pt x="642" y="21"/>
                  </a:cubicBezTo>
                  <a:lnTo>
                    <a:pt x="606" y="24"/>
                  </a:lnTo>
                  <a:cubicBezTo>
                    <a:pt x="604" y="24"/>
                    <a:pt x="603" y="23"/>
                    <a:pt x="603" y="22"/>
                  </a:cubicBezTo>
                  <a:cubicBezTo>
                    <a:pt x="603" y="20"/>
                    <a:pt x="604" y="19"/>
                    <a:pt x="605" y="19"/>
                  </a:cubicBezTo>
                  <a:close/>
                  <a:moveTo>
                    <a:pt x="667" y="13"/>
                  </a:moveTo>
                  <a:lnTo>
                    <a:pt x="702" y="10"/>
                  </a:lnTo>
                  <a:cubicBezTo>
                    <a:pt x="704" y="10"/>
                    <a:pt x="705" y="11"/>
                    <a:pt x="705" y="12"/>
                  </a:cubicBezTo>
                  <a:cubicBezTo>
                    <a:pt x="705" y="14"/>
                    <a:pt x="704" y="15"/>
                    <a:pt x="703" y="15"/>
                  </a:cubicBezTo>
                  <a:lnTo>
                    <a:pt x="667" y="18"/>
                  </a:lnTo>
                  <a:cubicBezTo>
                    <a:pt x="666" y="19"/>
                    <a:pt x="664" y="17"/>
                    <a:pt x="664" y="16"/>
                  </a:cubicBezTo>
                  <a:cubicBezTo>
                    <a:pt x="664" y="15"/>
                    <a:pt x="665" y="13"/>
                    <a:pt x="667" y="13"/>
                  </a:cubicBezTo>
                  <a:close/>
                  <a:moveTo>
                    <a:pt x="728" y="8"/>
                  </a:moveTo>
                  <a:lnTo>
                    <a:pt x="763" y="5"/>
                  </a:lnTo>
                  <a:cubicBezTo>
                    <a:pt x="765" y="5"/>
                    <a:pt x="766" y="6"/>
                    <a:pt x="766" y="7"/>
                  </a:cubicBezTo>
                  <a:cubicBezTo>
                    <a:pt x="766" y="8"/>
                    <a:pt x="765" y="10"/>
                    <a:pt x="764" y="10"/>
                  </a:cubicBezTo>
                  <a:lnTo>
                    <a:pt x="728" y="13"/>
                  </a:lnTo>
                  <a:cubicBezTo>
                    <a:pt x="727" y="13"/>
                    <a:pt x="726" y="12"/>
                    <a:pt x="725" y="11"/>
                  </a:cubicBezTo>
                  <a:cubicBezTo>
                    <a:pt x="725" y="9"/>
                    <a:pt x="726" y="8"/>
                    <a:pt x="728" y="8"/>
                  </a:cubicBezTo>
                  <a:close/>
                  <a:moveTo>
                    <a:pt x="789" y="4"/>
                  </a:moveTo>
                  <a:lnTo>
                    <a:pt x="825" y="3"/>
                  </a:lnTo>
                  <a:cubicBezTo>
                    <a:pt x="826" y="3"/>
                    <a:pt x="828" y="4"/>
                    <a:pt x="828" y="6"/>
                  </a:cubicBezTo>
                  <a:cubicBezTo>
                    <a:pt x="828" y="7"/>
                    <a:pt x="827" y="8"/>
                    <a:pt x="825" y="8"/>
                  </a:cubicBezTo>
                  <a:lnTo>
                    <a:pt x="789" y="9"/>
                  </a:lnTo>
                  <a:cubicBezTo>
                    <a:pt x="788" y="9"/>
                    <a:pt x="787" y="8"/>
                    <a:pt x="787" y="6"/>
                  </a:cubicBezTo>
                  <a:cubicBezTo>
                    <a:pt x="787" y="5"/>
                    <a:pt x="788" y="4"/>
                    <a:pt x="789" y="4"/>
                  </a:cubicBezTo>
                  <a:close/>
                  <a:moveTo>
                    <a:pt x="851" y="3"/>
                  </a:moveTo>
                  <a:lnTo>
                    <a:pt x="886" y="2"/>
                  </a:lnTo>
                  <a:cubicBezTo>
                    <a:pt x="888" y="2"/>
                    <a:pt x="889" y="3"/>
                    <a:pt x="889" y="5"/>
                  </a:cubicBezTo>
                  <a:cubicBezTo>
                    <a:pt x="889" y="6"/>
                    <a:pt x="888" y="7"/>
                    <a:pt x="887" y="7"/>
                  </a:cubicBezTo>
                  <a:lnTo>
                    <a:pt x="851" y="8"/>
                  </a:lnTo>
                  <a:cubicBezTo>
                    <a:pt x="849" y="8"/>
                    <a:pt x="848" y="7"/>
                    <a:pt x="848" y="5"/>
                  </a:cubicBezTo>
                  <a:cubicBezTo>
                    <a:pt x="848" y="4"/>
                    <a:pt x="849" y="3"/>
                    <a:pt x="851" y="3"/>
                  </a:cubicBezTo>
                  <a:close/>
                  <a:moveTo>
                    <a:pt x="912" y="2"/>
                  </a:moveTo>
                  <a:lnTo>
                    <a:pt x="948" y="1"/>
                  </a:lnTo>
                  <a:cubicBezTo>
                    <a:pt x="949" y="1"/>
                    <a:pt x="950" y="2"/>
                    <a:pt x="950" y="4"/>
                  </a:cubicBezTo>
                  <a:cubicBezTo>
                    <a:pt x="950" y="5"/>
                    <a:pt x="949" y="6"/>
                    <a:pt x="948" y="6"/>
                  </a:cubicBezTo>
                  <a:lnTo>
                    <a:pt x="912" y="7"/>
                  </a:lnTo>
                  <a:cubicBezTo>
                    <a:pt x="911" y="7"/>
                    <a:pt x="910" y="6"/>
                    <a:pt x="910" y="4"/>
                  </a:cubicBezTo>
                  <a:cubicBezTo>
                    <a:pt x="909" y="3"/>
                    <a:pt x="911" y="2"/>
                    <a:pt x="912" y="2"/>
                  </a:cubicBezTo>
                  <a:close/>
                  <a:moveTo>
                    <a:pt x="973" y="1"/>
                  </a:moveTo>
                  <a:lnTo>
                    <a:pt x="1009" y="0"/>
                  </a:lnTo>
                  <a:cubicBezTo>
                    <a:pt x="1011" y="0"/>
                    <a:pt x="1012" y="1"/>
                    <a:pt x="1012" y="3"/>
                  </a:cubicBezTo>
                  <a:cubicBezTo>
                    <a:pt x="1012" y="4"/>
                    <a:pt x="1011" y="5"/>
                    <a:pt x="1009" y="5"/>
                  </a:cubicBezTo>
                  <a:lnTo>
                    <a:pt x="974" y="6"/>
                  </a:lnTo>
                  <a:cubicBezTo>
                    <a:pt x="972" y="6"/>
                    <a:pt x="971" y="5"/>
                    <a:pt x="971" y="3"/>
                  </a:cubicBezTo>
                  <a:cubicBezTo>
                    <a:pt x="971" y="2"/>
                    <a:pt x="972" y="1"/>
                    <a:pt x="973" y="1"/>
                  </a:cubicBezTo>
                  <a:close/>
                  <a:moveTo>
                    <a:pt x="1035" y="0"/>
                  </a:moveTo>
                  <a:lnTo>
                    <a:pt x="1071" y="2"/>
                  </a:lnTo>
                  <a:cubicBezTo>
                    <a:pt x="1072" y="2"/>
                    <a:pt x="1073" y="3"/>
                    <a:pt x="1073" y="5"/>
                  </a:cubicBezTo>
                  <a:cubicBezTo>
                    <a:pt x="1073" y="6"/>
                    <a:pt x="1072" y="7"/>
                    <a:pt x="1071" y="7"/>
                  </a:cubicBezTo>
                  <a:lnTo>
                    <a:pt x="1035" y="5"/>
                  </a:lnTo>
                  <a:cubicBezTo>
                    <a:pt x="1033" y="5"/>
                    <a:pt x="1032" y="4"/>
                    <a:pt x="1032" y="2"/>
                  </a:cubicBezTo>
                  <a:cubicBezTo>
                    <a:pt x="1032" y="1"/>
                    <a:pt x="1034" y="0"/>
                    <a:pt x="1035" y="0"/>
                  </a:cubicBezTo>
                  <a:close/>
                  <a:moveTo>
                    <a:pt x="1096" y="3"/>
                  </a:moveTo>
                  <a:lnTo>
                    <a:pt x="1132" y="5"/>
                  </a:lnTo>
                  <a:cubicBezTo>
                    <a:pt x="1134" y="5"/>
                    <a:pt x="1135" y="7"/>
                    <a:pt x="1135" y="8"/>
                  </a:cubicBezTo>
                  <a:cubicBezTo>
                    <a:pt x="1135" y="9"/>
                    <a:pt x="1133" y="10"/>
                    <a:pt x="1132" y="10"/>
                  </a:cubicBezTo>
                  <a:lnTo>
                    <a:pt x="1096" y="8"/>
                  </a:lnTo>
                  <a:cubicBezTo>
                    <a:pt x="1095" y="8"/>
                    <a:pt x="1094" y="7"/>
                    <a:pt x="1094" y="6"/>
                  </a:cubicBezTo>
                  <a:cubicBezTo>
                    <a:pt x="1094" y="4"/>
                    <a:pt x="1095" y="3"/>
                    <a:pt x="1096" y="3"/>
                  </a:cubicBezTo>
                  <a:close/>
                  <a:moveTo>
                    <a:pt x="1158" y="7"/>
                  </a:moveTo>
                  <a:lnTo>
                    <a:pt x="1194" y="9"/>
                  </a:lnTo>
                  <a:cubicBezTo>
                    <a:pt x="1195" y="9"/>
                    <a:pt x="1196" y="10"/>
                    <a:pt x="1196" y="11"/>
                  </a:cubicBezTo>
                  <a:cubicBezTo>
                    <a:pt x="1196" y="13"/>
                    <a:pt x="1195" y="14"/>
                    <a:pt x="1193" y="14"/>
                  </a:cubicBezTo>
                  <a:lnTo>
                    <a:pt x="1157" y="12"/>
                  </a:lnTo>
                  <a:cubicBezTo>
                    <a:pt x="1156" y="12"/>
                    <a:pt x="1155" y="11"/>
                    <a:pt x="1155" y="9"/>
                  </a:cubicBezTo>
                  <a:cubicBezTo>
                    <a:pt x="1155" y="8"/>
                    <a:pt x="1156" y="7"/>
                    <a:pt x="1158" y="7"/>
                  </a:cubicBezTo>
                  <a:close/>
                  <a:moveTo>
                    <a:pt x="1219" y="10"/>
                  </a:moveTo>
                  <a:lnTo>
                    <a:pt x="1255" y="12"/>
                  </a:lnTo>
                  <a:cubicBezTo>
                    <a:pt x="1256" y="12"/>
                    <a:pt x="1257" y="13"/>
                    <a:pt x="1257" y="15"/>
                  </a:cubicBezTo>
                  <a:cubicBezTo>
                    <a:pt x="1257" y="16"/>
                    <a:pt x="1256" y="17"/>
                    <a:pt x="1255" y="17"/>
                  </a:cubicBezTo>
                  <a:lnTo>
                    <a:pt x="1219" y="15"/>
                  </a:lnTo>
                  <a:cubicBezTo>
                    <a:pt x="1217" y="15"/>
                    <a:pt x="1216" y="14"/>
                    <a:pt x="1216" y="12"/>
                  </a:cubicBezTo>
                  <a:cubicBezTo>
                    <a:pt x="1216" y="11"/>
                    <a:pt x="1218" y="10"/>
                    <a:pt x="1219" y="10"/>
                  </a:cubicBezTo>
                  <a:close/>
                  <a:moveTo>
                    <a:pt x="1280" y="13"/>
                  </a:moveTo>
                  <a:lnTo>
                    <a:pt x="1292" y="14"/>
                  </a:lnTo>
                  <a:lnTo>
                    <a:pt x="1316" y="17"/>
                  </a:lnTo>
                  <a:cubicBezTo>
                    <a:pt x="1318" y="17"/>
                    <a:pt x="1319" y="19"/>
                    <a:pt x="1318" y="20"/>
                  </a:cubicBezTo>
                  <a:cubicBezTo>
                    <a:pt x="1318" y="22"/>
                    <a:pt x="1317" y="23"/>
                    <a:pt x="1316" y="22"/>
                  </a:cubicBezTo>
                  <a:lnTo>
                    <a:pt x="1291" y="19"/>
                  </a:lnTo>
                  <a:lnTo>
                    <a:pt x="1280" y="18"/>
                  </a:lnTo>
                  <a:cubicBezTo>
                    <a:pt x="1279" y="18"/>
                    <a:pt x="1278" y="17"/>
                    <a:pt x="1278" y="16"/>
                  </a:cubicBezTo>
                  <a:cubicBezTo>
                    <a:pt x="1278" y="14"/>
                    <a:pt x="1279" y="13"/>
                    <a:pt x="1280" y="13"/>
                  </a:cubicBezTo>
                  <a:close/>
                  <a:moveTo>
                    <a:pt x="1342" y="21"/>
                  </a:moveTo>
                  <a:lnTo>
                    <a:pt x="1377" y="26"/>
                  </a:lnTo>
                  <a:cubicBezTo>
                    <a:pt x="1379" y="26"/>
                    <a:pt x="1379" y="27"/>
                    <a:pt x="1379" y="28"/>
                  </a:cubicBezTo>
                  <a:cubicBezTo>
                    <a:pt x="1379" y="30"/>
                    <a:pt x="1378" y="31"/>
                    <a:pt x="1376" y="31"/>
                  </a:cubicBezTo>
                  <a:lnTo>
                    <a:pt x="1341" y="26"/>
                  </a:lnTo>
                  <a:cubicBezTo>
                    <a:pt x="1340" y="26"/>
                    <a:pt x="1339" y="24"/>
                    <a:pt x="1339" y="23"/>
                  </a:cubicBezTo>
                  <a:cubicBezTo>
                    <a:pt x="1339" y="22"/>
                    <a:pt x="1340" y="21"/>
                    <a:pt x="1342" y="21"/>
                  </a:cubicBezTo>
                  <a:close/>
                  <a:moveTo>
                    <a:pt x="1402" y="29"/>
                  </a:moveTo>
                  <a:lnTo>
                    <a:pt x="1438" y="34"/>
                  </a:lnTo>
                  <a:cubicBezTo>
                    <a:pt x="1439" y="34"/>
                    <a:pt x="1440" y="35"/>
                    <a:pt x="1440" y="37"/>
                  </a:cubicBezTo>
                  <a:cubicBezTo>
                    <a:pt x="1440" y="38"/>
                    <a:pt x="1439" y="39"/>
                    <a:pt x="1437" y="39"/>
                  </a:cubicBezTo>
                  <a:lnTo>
                    <a:pt x="1402" y="34"/>
                  </a:lnTo>
                  <a:cubicBezTo>
                    <a:pt x="1400" y="34"/>
                    <a:pt x="1399" y="33"/>
                    <a:pt x="1400" y="31"/>
                  </a:cubicBezTo>
                  <a:cubicBezTo>
                    <a:pt x="1400" y="30"/>
                    <a:pt x="1401" y="29"/>
                    <a:pt x="1402" y="29"/>
                  </a:cubicBezTo>
                  <a:close/>
                  <a:moveTo>
                    <a:pt x="1463" y="37"/>
                  </a:moveTo>
                  <a:lnTo>
                    <a:pt x="1499" y="42"/>
                  </a:lnTo>
                  <a:cubicBezTo>
                    <a:pt x="1500" y="42"/>
                    <a:pt x="1501" y="44"/>
                    <a:pt x="1501" y="45"/>
                  </a:cubicBezTo>
                  <a:cubicBezTo>
                    <a:pt x="1501" y="46"/>
                    <a:pt x="1500" y="47"/>
                    <a:pt x="1498" y="47"/>
                  </a:cubicBezTo>
                  <a:lnTo>
                    <a:pt x="1463" y="42"/>
                  </a:lnTo>
                  <a:cubicBezTo>
                    <a:pt x="1461" y="42"/>
                    <a:pt x="1460" y="41"/>
                    <a:pt x="1460" y="39"/>
                  </a:cubicBezTo>
                  <a:cubicBezTo>
                    <a:pt x="1461" y="38"/>
                    <a:pt x="1462" y="37"/>
                    <a:pt x="1463" y="37"/>
                  </a:cubicBezTo>
                  <a:close/>
                  <a:moveTo>
                    <a:pt x="1524" y="46"/>
                  </a:moveTo>
                  <a:lnTo>
                    <a:pt x="1549" y="49"/>
                  </a:lnTo>
                  <a:lnTo>
                    <a:pt x="1560" y="51"/>
                  </a:lnTo>
                  <a:cubicBezTo>
                    <a:pt x="1561" y="51"/>
                    <a:pt x="1562" y="53"/>
                    <a:pt x="1562" y="54"/>
                  </a:cubicBezTo>
                  <a:cubicBezTo>
                    <a:pt x="1561" y="56"/>
                    <a:pt x="1560" y="57"/>
                    <a:pt x="1559" y="56"/>
                  </a:cubicBezTo>
                  <a:lnTo>
                    <a:pt x="1548" y="54"/>
                  </a:lnTo>
                  <a:lnTo>
                    <a:pt x="1524" y="51"/>
                  </a:lnTo>
                  <a:cubicBezTo>
                    <a:pt x="1522" y="50"/>
                    <a:pt x="1521" y="49"/>
                    <a:pt x="1521" y="48"/>
                  </a:cubicBezTo>
                  <a:cubicBezTo>
                    <a:pt x="1522" y="46"/>
                    <a:pt x="1523" y="45"/>
                    <a:pt x="1524" y="46"/>
                  </a:cubicBezTo>
                  <a:close/>
                  <a:moveTo>
                    <a:pt x="1585" y="56"/>
                  </a:moveTo>
                  <a:lnTo>
                    <a:pt x="1620" y="64"/>
                  </a:lnTo>
                  <a:cubicBezTo>
                    <a:pt x="1621" y="64"/>
                    <a:pt x="1622" y="65"/>
                    <a:pt x="1622" y="67"/>
                  </a:cubicBezTo>
                  <a:cubicBezTo>
                    <a:pt x="1622" y="68"/>
                    <a:pt x="1620" y="69"/>
                    <a:pt x="1619" y="69"/>
                  </a:cubicBezTo>
                  <a:lnTo>
                    <a:pt x="1584" y="61"/>
                  </a:lnTo>
                  <a:cubicBezTo>
                    <a:pt x="1582" y="61"/>
                    <a:pt x="1582" y="60"/>
                    <a:pt x="1582" y="58"/>
                  </a:cubicBezTo>
                  <a:cubicBezTo>
                    <a:pt x="1582" y="57"/>
                    <a:pt x="1583" y="56"/>
                    <a:pt x="1585" y="56"/>
                  </a:cubicBezTo>
                  <a:close/>
                  <a:moveTo>
                    <a:pt x="1645" y="69"/>
                  </a:moveTo>
                  <a:lnTo>
                    <a:pt x="1680" y="76"/>
                  </a:lnTo>
                  <a:cubicBezTo>
                    <a:pt x="1681" y="76"/>
                    <a:pt x="1682" y="78"/>
                    <a:pt x="1682" y="79"/>
                  </a:cubicBezTo>
                  <a:cubicBezTo>
                    <a:pt x="1682" y="81"/>
                    <a:pt x="1680" y="82"/>
                    <a:pt x="1679" y="81"/>
                  </a:cubicBezTo>
                  <a:lnTo>
                    <a:pt x="1644" y="74"/>
                  </a:lnTo>
                  <a:cubicBezTo>
                    <a:pt x="1643" y="74"/>
                    <a:pt x="1642" y="72"/>
                    <a:pt x="1642" y="71"/>
                  </a:cubicBezTo>
                  <a:cubicBezTo>
                    <a:pt x="1642" y="70"/>
                    <a:pt x="1644" y="69"/>
                    <a:pt x="1645" y="69"/>
                  </a:cubicBezTo>
                  <a:close/>
                  <a:moveTo>
                    <a:pt x="1705" y="81"/>
                  </a:moveTo>
                  <a:lnTo>
                    <a:pt x="1740" y="89"/>
                  </a:lnTo>
                  <a:cubicBezTo>
                    <a:pt x="1742" y="89"/>
                    <a:pt x="1742" y="90"/>
                    <a:pt x="1742" y="92"/>
                  </a:cubicBezTo>
                  <a:cubicBezTo>
                    <a:pt x="1742" y="93"/>
                    <a:pt x="1741" y="94"/>
                    <a:pt x="1739" y="94"/>
                  </a:cubicBezTo>
                  <a:lnTo>
                    <a:pt x="1704" y="86"/>
                  </a:lnTo>
                  <a:cubicBezTo>
                    <a:pt x="1703" y="86"/>
                    <a:pt x="1702" y="85"/>
                    <a:pt x="1702" y="83"/>
                  </a:cubicBezTo>
                  <a:cubicBezTo>
                    <a:pt x="1702" y="82"/>
                    <a:pt x="1704" y="81"/>
                    <a:pt x="1705" y="81"/>
                  </a:cubicBezTo>
                  <a:close/>
                  <a:moveTo>
                    <a:pt x="1765" y="94"/>
                  </a:moveTo>
                  <a:lnTo>
                    <a:pt x="1800" y="101"/>
                  </a:lnTo>
                  <a:cubicBezTo>
                    <a:pt x="1802" y="101"/>
                    <a:pt x="1803" y="103"/>
                    <a:pt x="1802" y="104"/>
                  </a:cubicBezTo>
                  <a:cubicBezTo>
                    <a:pt x="1802" y="106"/>
                    <a:pt x="1801" y="107"/>
                    <a:pt x="1799" y="106"/>
                  </a:cubicBezTo>
                  <a:lnTo>
                    <a:pt x="1764" y="99"/>
                  </a:lnTo>
                  <a:cubicBezTo>
                    <a:pt x="1763" y="99"/>
                    <a:pt x="1762" y="97"/>
                    <a:pt x="1762" y="96"/>
                  </a:cubicBezTo>
                  <a:cubicBezTo>
                    <a:pt x="1763" y="95"/>
                    <a:pt x="1764" y="94"/>
                    <a:pt x="1765" y="94"/>
                  </a:cubicBezTo>
                  <a:close/>
                  <a:moveTo>
                    <a:pt x="1825" y="108"/>
                  </a:moveTo>
                  <a:lnTo>
                    <a:pt x="1860" y="118"/>
                  </a:lnTo>
                  <a:cubicBezTo>
                    <a:pt x="1861" y="118"/>
                    <a:pt x="1862" y="120"/>
                    <a:pt x="1861" y="121"/>
                  </a:cubicBezTo>
                  <a:cubicBezTo>
                    <a:pt x="1861" y="122"/>
                    <a:pt x="1860" y="123"/>
                    <a:pt x="1858" y="123"/>
                  </a:cubicBezTo>
                  <a:lnTo>
                    <a:pt x="1824" y="113"/>
                  </a:lnTo>
                  <a:cubicBezTo>
                    <a:pt x="1822" y="113"/>
                    <a:pt x="1822" y="111"/>
                    <a:pt x="1822" y="110"/>
                  </a:cubicBezTo>
                  <a:cubicBezTo>
                    <a:pt x="1822" y="108"/>
                    <a:pt x="1824" y="108"/>
                    <a:pt x="1825" y="108"/>
                  </a:cubicBezTo>
                  <a:close/>
                  <a:moveTo>
                    <a:pt x="1884" y="125"/>
                  </a:moveTo>
                  <a:lnTo>
                    <a:pt x="1919" y="135"/>
                  </a:lnTo>
                  <a:cubicBezTo>
                    <a:pt x="1920" y="135"/>
                    <a:pt x="1921" y="137"/>
                    <a:pt x="1921" y="138"/>
                  </a:cubicBezTo>
                  <a:cubicBezTo>
                    <a:pt x="1920" y="139"/>
                    <a:pt x="1919" y="140"/>
                    <a:pt x="1917" y="140"/>
                  </a:cubicBezTo>
                  <a:lnTo>
                    <a:pt x="1883" y="130"/>
                  </a:lnTo>
                  <a:cubicBezTo>
                    <a:pt x="1882" y="129"/>
                    <a:pt x="1881" y="128"/>
                    <a:pt x="1881" y="127"/>
                  </a:cubicBezTo>
                  <a:cubicBezTo>
                    <a:pt x="1882" y="125"/>
                    <a:pt x="1883" y="125"/>
                    <a:pt x="1884" y="125"/>
                  </a:cubicBezTo>
                  <a:close/>
                  <a:moveTo>
                    <a:pt x="1943" y="142"/>
                  </a:moveTo>
                  <a:lnTo>
                    <a:pt x="1978" y="152"/>
                  </a:lnTo>
                  <a:cubicBezTo>
                    <a:pt x="1979" y="152"/>
                    <a:pt x="1980" y="153"/>
                    <a:pt x="1980" y="155"/>
                  </a:cubicBezTo>
                  <a:cubicBezTo>
                    <a:pt x="1979" y="156"/>
                    <a:pt x="1978" y="157"/>
                    <a:pt x="1976" y="157"/>
                  </a:cubicBezTo>
                  <a:lnTo>
                    <a:pt x="1942" y="147"/>
                  </a:lnTo>
                  <a:cubicBezTo>
                    <a:pt x="1941" y="146"/>
                    <a:pt x="1940" y="145"/>
                    <a:pt x="1940" y="144"/>
                  </a:cubicBezTo>
                  <a:cubicBezTo>
                    <a:pt x="1941" y="142"/>
                    <a:pt x="1942" y="141"/>
                    <a:pt x="1943" y="142"/>
                  </a:cubicBezTo>
                  <a:close/>
                  <a:moveTo>
                    <a:pt x="2002" y="159"/>
                  </a:moveTo>
                  <a:lnTo>
                    <a:pt x="2037" y="169"/>
                  </a:lnTo>
                  <a:cubicBezTo>
                    <a:pt x="2038" y="169"/>
                    <a:pt x="2039" y="170"/>
                    <a:pt x="2039" y="172"/>
                  </a:cubicBezTo>
                  <a:cubicBezTo>
                    <a:pt x="2038" y="173"/>
                    <a:pt x="2037" y="174"/>
                    <a:pt x="2035" y="173"/>
                  </a:cubicBezTo>
                  <a:lnTo>
                    <a:pt x="2001" y="164"/>
                  </a:lnTo>
                  <a:cubicBezTo>
                    <a:pt x="2000" y="163"/>
                    <a:pt x="1999" y="162"/>
                    <a:pt x="1999" y="160"/>
                  </a:cubicBezTo>
                  <a:cubicBezTo>
                    <a:pt x="2000" y="159"/>
                    <a:pt x="2001" y="158"/>
                    <a:pt x="2002" y="159"/>
                  </a:cubicBezTo>
                  <a:close/>
                </a:path>
              </a:pathLst>
            </a:custGeom>
            <a:solidFill>
              <a:srgbClr val="0C0C0C"/>
            </a:solidFill>
            <a:ln w="0" cap="flat">
              <a:solidFill>
                <a:srgbClr val="0C0C0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7">
              <a:extLst>
                <a:ext uri="{FF2B5EF4-FFF2-40B4-BE49-F238E27FC236}">
                  <a16:creationId xmlns:a16="http://schemas.microsoft.com/office/drawing/2014/main" id="{7A1C352A-2B2F-4494-A9EE-600827BB51AF}"/>
                </a:ext>
              </a:extLst>
            </p:cNvPr>
            <p:cNvSpPr>
              <a:spLocks/>
            </p:cNvSpPr>
            <p:nvPr/>
          </p:nvSpPr>
          <p:spPr bwMode="auto">
            <a:xfrm>
              <a:off x="5880" y="2176"/>
              <a:ext cx="58" cy="50"/>
            </a:xfrm>
            <a:custGeom>
              <a:avLst/>
              <a:gdLst>
                <a:gd name="T0" fmla="*/ 17 w 58"/>
                <a:gd name="T1" fmla="*/ 0 h 50"/>
                <a:gd name="T2" fmla="*/ 58 w 58"/>
                <a:gd name="T3" fmla="*/ 42 h 50"/>
                <a:gd name="T4" fmla="*/ 0 w 58"/>
                <a:gd name="T5" fmla="*/ 50 h 50"/>
                <a:gd name="T6" fmla="*/ 17 w 58"/>
                <a:gd name="T7" fmla="*/ 0 h 50"/>
              </a:gdLst>
              <a:ahLst/>
              <a:cxnLst>
                <a:cxn ang="0">
                  <a:pos x="T0" y="T1"/>
                </a:cxn>
                <a:cxn ang="0">
                  <a:pos x="T2" y="T3"/>
                </a:cxn>
                <a:cxn ang="0">
                  <a:pos x="T4" y="T5"/>
                </a:cxn>
                <a:cxn ang="0">
                  <a:pos x="T6" y="T7"/>
                </a:cxn>
              </a:cxnLst>
              <a:rect l="0" t="0" r="r" b="b"/>
              <a:pathLst>
                <a:path w="58" h="50">
                  <a:moveTo>
                    <a:pt x="17" y="0"/>
                  </a:moveTo>
                  <a:lnTo>
                    <a:pt x="58" y="42"/>
                  </a:lnTo>
                  <a:lnTo>
                    <a:pt x="0" y="50"/>
                  </a:lnTo>
                  <a:lnTo>
                    <a:pt x="17" y="0"/>
                  </a:lnTo>
                  <a:close/>
                </a:path>
              </a:pathLst>
            </a:custGeom>
            <a:solidFill>
              <a:srgbClr val="0C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78">
              <a:extLst>
                <a:ext uri="{FF2B5EF4-FFF2-40B4-BE49-F238E27FC236}">
                  <a16:creationId xmlns:a16="http://schemas.microsoft.com/office/drawing/2014/main" id="{EEF7ACBB-2BAB-4D4C-BEEA-8BF85AEEF25C}"/>
                </a:ext>
              </a:extLst>
            </p:cNvPr>
            <p:cNvSpPr>
              <a:spLocks noChangeArrowheads="1"/>
            </p:cNvSpPr>
            <p:nvPr/>
          </p:nvSpPr>
          <p:spPr bwMode="auto">
            <a:xfrm>
              <a:off x="5151" y="2091"/>
              <a:ext cx="619" cy="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9">
              <a:extLst>
                <a:ext uri="{FF2B5EF4-FFF2-40B4-BE49-F238E27FC236}">
                  <a16:creationId xmlns:a16="http://schemas.microsoft.com/office/drawing/2014/main" id="{3B2D099D-3461-42C7-9293-0E9A2F332E92}"/>
                </a:ext>
              </a:extLst>
            </p:cNvPr>
            <p:cNvSpPr>
              <a:spLocks noEditPoints="1"/>
            </p:cNvSpPr>
            <p:nvPr/>
          </p:nvSpPr>
          <p:spPr bwMode="auto">
            <a:xfrm>
              <a:off x="5155" y="2104"/>
              <a:ext cx="614" cy="40"/>
            </a:xfrm>
            <a:custGeom>
              <a:avLst/>
              <a:gdLst>
                <a:gd name="T0" fmla="*/ 10 w 1372"/>
                <a:gd name="T1" fmla="*/ 85 h 88"/>
                <a:gd name="T2" fmla="*/ 44 w 1372"/>
                <a:gd name="T3" fmla="*/ 13 h 88"/>
                <a:gd name="T4" fmla="*/ 28 w 1372"/>
                <a:gd name="T5" fmla="*/ 15 h 88"/>
                <a:gd name="T6" fmla="*/ 96 w 1372"/>
                <a:gd name="T7" fmla="*/ 85 h 88"/>
                <a:gd name="T8" fmla="*/ 88 w 1372"/>
                <a:gd name="T9" fmla="*/ 35 h 88"/>
                <a:gd name="T10" fmla="*/ 93 w 1372"/>
                <a:gd name="T11" fmla="*/ 27 h 88"/>
                <a:gd name="T12" fmla="*/ 137 w 1372"/>
                <a:gd name="T13" fmla="*/ 85 h 88"/>
                <a:gd name="T14" fmla="*/ 136 w 1372"/>
                <a:gd name="T15" fmla="*/ 28 h 88"/>
                <a:gd name="T16" fmla="*/ 172 w 1372"/>
                <a:gd name="T17" fmla="*/ 88 h 88"/>
                <a:gd name="T18" fmla="*/ 180 w 1372"/>
                <a:gd name="T19" fmla="*/ 77 h 88"/>
                <a:gd name="T20" fmla="*/ 184 w 1372"/>
                <a:gd name="T21" fmla="*/ 27 h 88"/>
                <a:gd name="T22" fmla="*/ 168 w 1372"/>
                <a:gd name="T23" fmla="*/ 36 h 88"/>
                <a:gd name="T24" fmla="*/ 217 w 1372"/>
                <a:gd name="T25" fmla="*/ 74 h 88"/>
                <a:gd name="T26" fmla="*/ 244 w 1372"/>
                <a:gd name="T27" fmla="*/ 86 h 88"/>
                <a:gd name="T28" fmla="*/ 244 w 1372"/>
                <a:gd name="T29" fmla="*/ 51 h 88"/>
                <a:gd name="T30" fmla="*/ 303 w 1372"/>
                <a:gd name="T31" fmla="*/ 58 h 88"/>
                <a:gd name="T32" fmla="*/ 348 w 1372"/>
                <a:gd name="T33" fmla="*/ 73 h 88"/>
                <a:gd name="T34" fmla="*/ 405 w 1372"/>
                <a:gd name="T35" fmla="*/ 87 h 88"/>
                <a:gd name="T36" fmla="*/ 401 w 1372"/>
                <a:gd name="T37" fmla="*/ 79 h 88"/>
                <a:gd name="T38" fmla="*/ 404 w 1372"/>
                <a:gd name="T39" fmla="*/ 26 h 88"/>
                <a:gd name="T40" fmla="*/ 395 w 1372"/>
                <a:gd name="T41" fmla="*/ 35 h 88"/>
                <a:gd name="T42" fmla="*/ 438 w 1372"/>
                <a:gd name="T43" fmla="*/ 67 h 88"/>
                <a:gd name="T44" fmla="*/ 473 w 1372"/>
                <a:gd name="T45" fmla="*/ 84 h 88"/>
                <a:gd name="T46" fmla="*/ 478 w 1372"/>
                <a:gd name="T47" fmla="*/ 55 h 88"/>
                <a:gd name="T48" fmla="*/ 521 w 1372"/>
                <a:gd name="T49" fmla="*/ 36 h 88"/>
                <a:gd name="T50" fmla="*/ 495 w 1372"/>
                <a:gd name="T51" fmla="*/ 28 h 88"/>
                <a:gd name="T52" fmla="*/ 526 w 1372"/>
                <a:gd name="T53" fmla="*/ 28 h 88"/>
                <a:gd name="T54" fmla="*/ 573 w 1372"/>
                <a:gd name="T55" fmla="*/ 65 h 88"/>
                <a:gd name="T56" fmla="*/ 628 w 1372"/>
                <a:gd name="T57" fmla="*/ 22 h 88"/>
                <a:gd name="T58" fmla="*/ 625 w 1372"/>
                <a:gd name="T59" fmla="*/ 72 h 88"/>
                <a:gd name="T60" fmla="*/ 676 w 1372"/>
                <a:gd name="T61" fmla="*/ 44 h 88"/>
                <a:gd name="T62" fmla="*/ 639 w 1372"/>
                <a:gd name="T63" fmla="*/ 1 h 88"/>
                <a:gd name="T64" fmla="*/ 750 w 1372"/>
                <a:gd name="T65" fmla="*/ 55 h 88"/>
                <a:gd name="T66" fmla="*/ 748 w 1372"/>
                <a:gd name="T67" fmla="*/ 81 h 88"/>
                <a:gd name="T68" fmla="*/ 737 w 1372"/>
                <a:gd name="T69" fmla="*/ 28 h 88"/>
                <a:gd name="T70" fmla="*/ 806 w 1372"/>
                <a:gd name="T71" fmla="*/ 81 h 88"/>
                <a:gd name="T72" fmla="*/ 802 w 1372"/>
                <a:gd name="T73" fmla="*/ 30 h 88"/>
                <a:gd name="T74" fmla="*/ 782 w 1372"/>
                <a:gd name="T75" fmla="*/ 78 h 88"/>
                <a:gd name="T76" fmla="*/ 866 w 1372"/>
                <a:gd name="T77" fmla="*/ 87 h 88"/>
                <a:gd name="T78" fmla="*/ 833 w 1372"/>
                <a:gd name="T79" fmla="*/ 0 h 88"/>
                <a:gd name="T80" fmla="*/ 874 w 1372"/>
                <a:gd name="T81" fmla="*/ 30 h 88"/>
                <a:gd name="T82" fmla="*/ 882 w 1372"/>
                <a:gd name="T83" fmla="*/ 35 h 88"/>
                <a:gd name="T84" fmla="*/ 886 w 1372"/>
                <a:gd name="T85" fmla="*/ 65 h 88"/>
                <a:gd name="T86" fmla="*/ 981 w 1372"/>
                <a:gd name="T87" fmla="*/ 85 h 88"/>
                <a:gd name="T88" fmla="*/ 952 w 1372"/>
                <a:gd name="T89" fmla="*/ 29 h 88"/>
                <a:gd name="T90" fmla="*/ 991 w 1372"/>
                <a:gd name="T91" fmla="*/ 29 h 88"/>
                <a:gd name="T92" fmla="*/ 1015 w 1372"/>
                <a:gd name="T93" fmla="*/ 32 h 88"/>
                <a:gd name="T94" fmla="*/ 1050 w 1372"/>
                <a:gd name="T95" fmla="*/ 27 h 88"/>
                <a:gd name="T96" fmla="*/ 1051 w 1372"/>
                <a:gd name="T97" fmla="*/ 78 h 88"/>
                <a:gd name="T98" fmla="*/ 1131 w 1372"/>
                <a:gd name="T99" fmla="*/ 7 h 88"/>
                <a:gd name="T100" fmla="*/ 1126 w 1372"/>
                <a:gd name="T101" fmla="*/ 49 h 88"/>
                <a:gd name="T102" fmla="*/ 1175 w 1372"/>
                <a:gd name="T103" fmla="*/ 87 h 88"/>
                <a:gd name="T104" fmla="*/ 1153 w 1372"/>
                <a:gd name="T105" fmla="*/ 27 h 88"/>
                <a:gd name="T106" fmla="*/ 1261 w 1372"/>
                <a:gd name="T107" fmla="*/ 58 h 88"/>
                <a:gd name="T108" fmla="*/ 1260 w 1372"/>
                <a:gd name="T109" fmla="*/ 82 h 88"/>
                <a:gd name="T110" fmla="*/ 1257 w 1372"/>
                <a:gd name="T111" fmla="*/ 34 h 88"/>
                <a:gd name="T112" fmla="*/ 1322 w 1372"/>
                <a:gd name="T113" fmla="*/ 87 h 88"/>
                <a:gd name="T114" fmla="*/ 1283 w 1372"/>
                <a:gd name="T115" fmla="*/ 87 h 88"/>
                <a:gd name="T116" fmla="*/ 1307 w 1372"/>
                <a:gd name="T117" fmla="*/ 26 h 88"/>
                <a:gd name="T118" fmla="*/ 1345 w 1372"/>
                <a:gd name="T119" fmla="*/ 69 h 88"/>
                <a:gd name="T120" fmla="*/ 1354 w 1372"/>
                <a:gd name="T121" fmla="*/ 12 h 88"/>
                <a:gd name="T122" fmla="*/ 1368 w 1372"/>
                <a:gd name="T123"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2" h="88">
                  <a:moveTo>
                    <a:pt x="53" y="85"/>
                  </a:moveTo>
                  <a:cubicBezTo>
                    <a:pt x="53" y="85"/>
                    <a:pt x="53" y="86"/>
                    <a:pt x="53" y="86"/>
                  </a:cubicBezTo>
                  <a:cubicBezTo>
                    <a:pt x="53" y="86"/>
                    <a:pt x="53" y="86"/>
                    <a:pt x="52" y="87"/>
                  </a:cubicBezTo>
                  <a:cubicBezTo>
                    <a:pt x="52" y="87"/>
                    <a:pt x="51" y="87"/>
                    <a:pt x="51" y="87"/>
                  </a:cubicBezTo>
                  <a:cubicBezTo>
                    <a:pt x="50" y="87"/>
                    <a:pt x="49" y="87"/>
                    <a:pt x="48" y="87"/>
                  </a:cubicBezTo>
                  <a:cubicBezTo>
                    <a:pt x="47" y="87"/>
                    <a:pt x="46" y="87"/>
                    <a:pt x="45" y="87"/>
                  </a:cubicBezTo>
                  <a:cubicBezTo>
                    <a:pt x="44" y="87"/>
                    <a:pt x="44" y="87"/>
                    <a:pt x="43" y="86"/>
                  </a:cubicBezTo>
                  <a:cubicBezTo>
                    <a:pt x="43" y="86"/>
                    <a:pt x="43" y="86"/>
                    <a:pt x="42" y="86"/>
                  </a:cubicBezTo>
                  <a:cubicBezTo>
                    <a:pt x="42" y="85"/>
                    <a:pt x="42" y="85"/>
                    <a:pt x="42" y="84"/>
                  </a:cubicBezTo>
                  <a:lnTo>
                    <a:pt x="34" y="65"/>
                  </a:lnTo>
                  <a:cubicBezTo>
                    <a:pt x="34" y="63"/>
                    <a:pt x="33" y="61"/>
                    <a:pt x="32" y="59"/>
                  </a:cubicBezTo>
                  <a:cubicBezTo>
                    <a:pt x="31" y="58"/>
                    <a:pt x="30" y="56"/>
                    <a:pt x="28" y="55"/>
                  </a:cubicBezTo>
                  <a:cubicBezTo>
                    <a:pt x="27" y="53"/>
                    <a:pt x="26" y="52"/>
                    <a:pt x="24" y="52"/>
                  </a:cubicBezTo>
                  <a:cubicBezTo>
                    <a:pt x="22" y="51"/>
                    <a:pt x="20" y="51"/>
                    <a:pt x="17" y="51"/>
                  </a:cubicBezTo>
                  <a:lnTo>
                    <a:pt x="10" y="51"/>
                  </a:lnTo>
                  <a:lnTo>
                    <a:pt x="10" y="85"/>
                  </a:lnTo>
                  <a:cubicBezTo>
                    <a:pt x="10" y="85"/>
                    <a:pt x="10" y="86"/>
                    <a:pt x="10" y="86"/>
                  </a:cubicBezTo>
                  <a:cubicBezTo>
                    <a:pt x="10" y="86"/>
                    <a:pt x="10" y="86"/>
                    <a:pt x="9" y="86"/>
                  </a:cubicBezTo>
                  <a:cubicBezTo>
                    <a:pt x="9" y="87"/>
                    <a:pt x="8" y="87"/>
                    <a:pt x="8" y="87"/>
                  </a:cubicBezTo>
                  <a:cubicBezTo>
                    <a:pt x="7" y="87"/>
                    <a:pt x="6" y="87"/>
                    <a:pt x="5" y="87"/>
                  </a:cubicBezTo>
                  <a:cubicBezTo>
                    <a:pt x="4" y="87"/>
                    <a:pt x="3" y="87"/>
                    <a:pt x="2" y="87"/>
                  </a:cubicBezTo>
                  <a:cubicBezTo>
                    <a:pt x="2" y="87"/>
                    <a:pt x="1" y="87"/>
                    <a:pt x="1" y="86"/>
                  </a:cubicBezTo>
                  <a:cubicBezTo>
                    <a:pt x="0" y="86"/>
                    <a:pt x="0" y="86"/>
                    <a:pt x="0" y="86"/>
                  </a:cubicBezTo>
                  <a:cubicBezTo>
                    <a:pt x="0" y="86"/>
                    <a:pt x="0" y="85"/>
                    <a:pt x="0" y="85"/>
                  </a:cubicBezTo>
                  <a:lnTo>
                    <a:pt x="0" y="10"/>
                  </a:lnTo>
                  <a:cubicBezTo>
                    <a:pt x="0" y="9"/>
                    <a:pt x="0" y="7"/>
                    <a:pt x="1" y="7"/>
                  </a:cubicBezTo>
                  <a:cubicBezTo>
                    <a:pt x="2" y="6"/>
                    <a:pt x="3" y="6"/>
                    <a:pt x="4" y="6"/>
                  </a:cubicBezTo>
                  <a:lnTo>
                    <a:pt x="21" y="6"/>
                  </a:lnTo>
                  <a:cubicBezTo>
                    <a:pt x="23" y="6"/>
                    <a:pt x="24" y="6"/>
                    <a:pt x="26" y="6"/>
                  </a:cubicBezTo>
                  <a:cubicBezTo>
                    <a:pt x="27" y="6"/>
                    <a:pt x="28" y="6"/>
                    <a:pt x="29" y="6"/>
                  </a:cubicBezTo>
                  <a:cubicBezTo>
                    <a:pt x="33" y="7"/>
                    <a:pt x="35" y="8"/>
                    <a:pt x="38" y="9"/>
                  </a:cubicBezTo>
                  <a:cubicBezTo>
                    <a:pt x="40" y="10"/>
                    <a:pt x="42" y="11"/>
                    <a:pt x="44" y="13"/>
                  </a:cubicBezTo>
                  <a:cubicBezTo>
                    <a:pt x="45" y="15"/>
                    <a:pt x="47" y="17"/>
                    <a:pt x="47" y="19"/>
                  </a:cubicBezTo>
                  <a:cubicBezTo>
                    <a:pt x="48" y="22"/>
                    <a:pt x="49" y="24"/>
                    <a:pt x="49" y="27"/>
                  </a:cubicBezTo>
                  <a:cubicBezTo>
                    <a:pt x="49" y="30"/>
                    <a:pt x="48" y="32"/>
                    <a:pt x="48" y="34"/>
                  </a:cubicBezTo>
                  <a:cubicBezTo>
                    <a:pt x="47" y="37"/>
                    <a:pt x="46" y="38"/>
                    <a:pt x="44" y="40"/>
                  </a:cubicBezTo>
                  <a:cubicBezTo>
                    <a:pt x="43" y="42"/>
                    <a:pt x="41" y="43"/>
                    <a:pt x="39" y="44"/>
                  </a:cubicBezTo>
                  <a:cubicBezTo>
                    <a:pt x="38" y="46"/>
                    <a:pt x="35" y="47"/>
                    <a:pt x="33" y="47"/>
                  </a:cubicBezTo>
                  <a:cubicBezTo>
                    <a:pt x="34" y="48"/>
                    <a:pt x="36" y="49"/>
                    <a:pt x="37" y="50"/>
                  </a:cubicBezTo>
                  <a:cubicBezTo>
                    <a:pt x="38" y="51"/>
                    <a:pt x="39" y="52"/>
                    <a:pt x="40" y="53"/>
                  </a:cubicBezTo>
                  <a:cubicBezTo>
                    <a:pt x="41" y="54"/>
                    <a:pt x="42" y="56"/>
                    <a:pt x="42" y="57"/>
                  </a:cubicBezTo>
                  <a:cubicBezTo>
                    <a:pt x="43" y="59"/>
                    <a:pt x="44" y="61"/>
                    <a:pt x="45" y="63"/>
                  </a:cubicBezTo>
                  <a:lnTo>
                    <a:pt x="52" y="80"/>
                  </a:lnTo>
                  <a:cubicBezTo>
                    <a:pt x="53" y="82"/>
                    <a:pt x="53" y="83"/>
                    <a:pt x="53" y="84"/>
                  </a:cubicBezTo>
                  <a:cubicBezTo>
                    <a:pt x="53" y="84"/>
                    <a:pt x="53" y="85"/>
                    <a:pt x="53" y="85"/>
                  </a:cubicBezTo>
                  <a:close/>
                  <a:moveTo>
                    <a:pt x="37" y="28"/>
                  </a:moveTo>
                  <a:cubicBezTo>
                    <a:pt x="37" y="25"/>
                    <a:pt x="37" y="22"/>
                    <a:pt x="35" y="20"/>
                  </a:cubicBezTo>
                  <a:cubicBezTo>
                    <a:pt x="34" y="18"/>
                    <a:pt x="31" y="16"/>
                    <a:pt x="28" y="15"/>
                  </a:cubicBezTo>
                  <a:cubicBezTo>
                    <a:pt x="27" y="15"/>
                    <a:pt x="26" y="15"/>
                    <a:pt x="25" y="15"/>
                  </a:cubicBezTo>
                  <a:cubicBezTo>
                    <a:pt x="23" y="15"/>
                    <a:pt x="21" y="15"/>
                    <a:pt x="19" y="15"/>
                  </a:cubicBezTo>
                  <a:lnTo>
                    <a:pt x="10" y="15"/>
                  </a:lnTo>
                  <a:lnTo>
                    <a:pt x="10" y="42"/>
                  </a:lnTo>
                  <a:lnTo>
                    <a:pt x="21" y="42"/>
                  </a:lnTo>
                  <a:cubicBezTo>
                    <a:pt x="24" y="42"/>
                    <a:pt x="26" y="42"/>
                    <a:pt x="28" y="41"/>
                  </a:cubicBezTo>
                  <a:cubicBezTo>
                    <a:pt x="30" y="40"/>
                    <a:pt x="32" y="39"/>
                    <a:pt x="33" y="38"/>
                  </a:cubicBezTo>
                  <a:cubicBezTo>
                    <a:pt x="35" y="37"/>
                    <a:pt x="36" y="35"/>
                    <a:pt x="36" y="34"/>
                  </a:cubicBezTo>
                  <a:cubicBezTo>
                    <a:pt x="37" y="32"/>
                    <a:pt x="37" y="30"/>
                    <a:pt x="37" y="28"/>
                  </a:cubicBezTo>
                  <a:close/>
                  <a:moveTo>
                    <a:pt x="105" y="85"/>
                  </a:moveTo>
                  <a:cubicBezTo>
                    <a:pt x="105" y="86"/>
                    <a:pt x="105" y="86"/>
                    <a:pt x="104" y="86"/>
                  </a:cubicBezTo>
                  <a:cubicBezTo>
                    <a:pt x="104" y="87"/>
                    <a:pt x="103" y="87"/>
                    <a:pt x="103" y="87"/>
                  </a:cubicBezTo>
                  <a:cubicBezTo>
                    <a:pt x="102" y="87"/>
                    <a:pt x="101" y="87"/>
                    <a:pt x="100" y="87"/>
                  </a:cubicBezTo>
                  <a:cubicBezTo>
                    <a:pt x="99" y="87"/>
                    <a:pt x="98" y="87"/>
                    <a:pt x="98" y="87"/>
                  </a:cubicBezTo>
                  <a:cubicBezTo>
                    <a:pt x="97" y="87"/>
                    <a:pt x="97" y="87"/>
                    <a:pt x="96" y="86"/>
                  </a:cubicBezTo>
                  <a:cubicBezTo>
                    <a:pt x="96" y="86"/>
                    <a:pt x="96" y="86"/>
                    <a:pt x="96" y="85"/>
                  </a:cubicBezTo>
                  <a:lnTo>
                    <a:pt x="96" y="80"/>
                  </a:lnTo>
                  <a:cubicBezTo>
                    <a:pt x="93" y="82"/>
                    <a:pt x="91" y="84"/>
                    <a:pt x="88" y="86"/>
                  </a:cubicBezTo>
                  <a:cubicBezTo>
                    <a:pt x="85" y="87"/>
                    <a:pt x="81" y="88"/>
                    <a:pt x="78" y="88"/>
                  </a:cubicBezTo>
                  <a:cubicBezTo>
                    <a:pt x="75" y="88"/>
                    <a:pt x="72" y="87"/>
                    <a:pt x="70" y="87"/>
                  </a:cubicBezTo>
                  <a:cubicBezTo>
                    <a:pt x="68" y="86"/>
                    <a:pt x="66" y="85"/>
                    <a:pt x="64" y="83"/>
                  </a:cubicBezTo>
                  <a:cubicBezTo>
                    <a:pt x="62" y="82"/>
                    <a:pt x="61" y="80"/>
                    <a:pt x="60" y="78"/>
                  </a:cubicBezTo>
                  <a:cubicBezTo>
                    <a:pt x="59" y="76"/>
                    <a:pt x="59" y="73"/>
                    <a:pt x="59" y="71"/>
                  </a:cubicBezTo>
                  <a:cubicBezTo>
                    <a:pt x="59" y="68"/>
                    <a:pt x="59" y="65"/>
                    <a:pt x="60" y="62"/>
                  </a:cubicBezTo>
                  <a:cubicBezTo>
                    <a:pt x="62" y="60"/>
                    <a:pt x="64" y="58"/>
                    <a:pt x="66" y="57"/>
                  </a:cubicBezTo>
                  <a:cubicBezTo>
                    <a:pt x="68" y="55"/>
                    <a:pt x="71" y="54"/>
                    <a:pt x="75" y="53"/>
                  </a:cubicBezTo>
                  <a:cubicBezTo>
                    <a:pt x="78" y="52"/>
                    <a:pt x="82" y="52"/>
                    <a:pt x="87" y="52"/>
                  </a:cubicBezTo>
                  <a:lnTo>
                    <a:pt x="94" y="52"/>
                  </a:lnTo>
                  <a:lnTo>
                    <a:pt x="94" y="48"/>
                  </a:lnTo>
                  <a:cubicBezTo>
                    <a:pt x="94" y="45"/>
                    <a:pt x="94" y="44"/>
                    <a:pt x="94" y="42"/>
                  </a:cubicBezTo>
                  <a:cubicBezTo>
                    <a:pt x="93" y="40"/>
                    <a:pt x="93" y="39"/>
                    <a:pt x="92" y="38"/>
                  </a:cubicBezTo>
                  <a:cubicBezTo>
                    <a:pt x="91" y="37"/>
                    <a:pt x="89" y="36"/>
                    <a:pt x="88" y="35"/>
                  </a:cubicBezTo>
                  <a:cubicBezTo>
                    <a:pt x="86" y="35"/>
                    <a:pt x="84" y="34"/>
                    <a:pt x="82" y="34"/>
                  </a:cubicBezTo>
                  <a:cubicBezTo>
                    <a:pt x="79" y="34"/>
                    <a:pt x="77" y="35"/>
                    <a:pt x="75" y="35"/>
                  </a:cubicBezTo>
                  <a:cubicBezTo>
                    <a:pt x="73" y="36"/>
                    <a:pt x="71" y="37"/>
                    <a:pt x="69" y="37"/>
                  </a:cubicBezTo>
                  <a:cubicBezTo>
                    <a:pt x="68" y="38"/>
                    <a:pt x="67" y="39"/>
                    <a:pt x="66" y="39"/>
                  </a:cubicBezTo>
                  <a:cubicBezTo>
                    <a:pt x="65" y="40"/>
                    <a:pt x="64" y="40"/>
                    <a:pt x="63" y="40"/>
                  </a:cubicBezTo>
                  <a:cubicBezTo>
                    <a:pt x="63" y="40"/>
                    <a:pt x="63" y="40"/>
                    <a:pt x="62" y="40"/>
                  </a:cubicBezTo>
                  <a:cubicBezTo>
                    <a:pt x="62" y="40"/>
                    <a:pt x="62" y="40"/>
                    <a:pt x="62" y="39"/>
                  </a:cubicBezTo>
                  <a:cubicBezTo>
                    <a:pt x="62" y="39"/>
                    <a:pt x="61" y="38"/>
                    <a:pt x="61" y="38"/>
                  </a:cubicBezTo>
                  <a:cubicBezTo>
                    <a:pt x="61" y="37"/>
                    <a:pt x="61" y="37"/>
                    <a:pt x="61" y="36"/>
                  </a:cubicBezTo>
                  <a:cubicBezTo>
                    <a:pt x="61" y="35"/>
                    <a:pt x="61" y="34"/>
                    <a:pt x="62" y="34"/>
                  </a:cubicBezTo>
                  <a:cubicBezTo>
                    <a:pt x="62" y="33"/>
                    <a:pt x="62" y="33"/>
                    <a:pt x="63" y="32"/>
                  </a:cubicBezTo>
                  <a:cubicBezTo>
                    <a:pt x="63" y="31"/>
                    <a:pt x="64" y="31"/>
                    <a:pt x="65" y="30"/>
                  </a:cubicBezTo>
                  <a:cubicBezTo>
                    <a:pt x="67" y="29"/>
                    <a:pt x="68" y="29"/>
                    <a:pt x="70" y="28"/>
                  </a:cubicBezTo>
                  <a:cubicBezTo>
                    <a:pt x="72" y="28"/>
                    <a:pt x="74" y="27"/>
                    <a:pt x="76" y="27"/>
                  </a:cubicBezTo>
                  <a:cubicBezTo>
                    <a:pt x="78" y="26"/>
                    <a:pt x="80" y="26"/>
                    <a:pt x="83" y="26"/>
                  </a:cubicBezTo>
                  <a:cubicBezTo>
                    <a:pt x="87" y="26"/>
                    <a:pt x="90" y="26"/>
                    <a:pt x="93" y="27"/>
                  </a:cubicBezTo>
                  <a:cubicBezTo>
                    <a:pt x="96" y="28"/>
                    <a:pt x="98" y="30"/>
                    <a:pt x="100" y="31"/>
                  </a:cubicBezTo>
                  <a:cubicBezTo>
                    <a:pt x="101" y="33"/>
                    <a:pt x="103" y="35"/>
                    <a:pt x="104" y="38"/>
                  </a:cubicBezTo>
                  <a:cubicBezTo>
                    <a:pt x="104" y="41"/>
                    <a:pt x="105" y="44"/>
                    <a:pt x="105" y="47"/>
                  </a:cubicBezTo>
                  <a:lnTo>
                    <a:pt x="105" y="85"/>
                  </a:lnTo>
                  <a:close/>
                  <a:moveTo>
                    <a:pt x="94" y="59"/>
                  </a:moveTo>
                  <a:lnTo>
                    <a:pt x="86" y="59"/>
                  </a:lnTo>
                  <a:cubicBezTo>
                    <a:pt x="83" y="59"/>
                    <a:pt x="80" y="60"/>
                    <a:pt x="78" y="60"/>
                  </a:cubicBezTo>
                  <a:cubicBezTo>
                    <a:pt x="76" y="61"/>
                    <a:pt x="74" y="61"/>
                    <a:pt x="73" y="62"/>
                  </a:cubicBezTo>
                  <a:cubicBezTo>
                    <a:pt x="72" y="63"/>
                    <a:pt x="71" y="64"/>
                    <a:pt x="70" y="66"/>
                  </a:cubicBezTo>
                  <a:cubicBezTo>
                    <a:pt x="69" y="67"/>
                    <a:pt x="69" y="69"/>
                    <a:pt x="69" y="70"/>
                  </a:cubicBezTo>
                  <a:cubicBezTo>
                    <a:pt x="69" y="73"/>
                    <a:pt x="70" y="75"/>
                    <a:pt x="72" y="77"/>
                  </a:cubicBezTo>
                  <a:cubicBezTo>
                    <a:pt x="74" y="79"/>
                    <a:pt x="76" y="80"/>
                    <a:pt x="80" y="80"/>
                  </a:cubicBezTo>
                  <a:cubicBezTo>
                    <a:pt x="82" y="80"/>
                    <a:pt x="85" y="79"/>
                    <a:pt x="87" y="78"/>
                  </a:cubicBezTo>
                  <a:cubicBezTo>
                    <a:pt x="90" y="76"/>
                    <a:pt x="92" y="74"/>
                    <a:pt x="94" y="71"/>
                  </a:cubicBezTo>
                  <a:lnTo>
                    <a:pt x="94" y="59"/>
                  </a:lnTo>
                  <a:close/>
                  <a:moveTo>
                    <a:pt x="137" y="85"/>
                  </a:moveTo>
                  <a:cubicBezTo>
                    <a:pt x="137" y="85"/>
                    <a:pt x="137" y="86"/>
                    <a:pt x="136" y="86"/>
                  </a:cubicBezTo>
                  <a:cubicBezTo>
                    <a:pt x="136" y="86"/>
                    <a:pt x="136" y="86"/>
                    <a:pt x="136" y="87"/>
                  </a:cubicBezTo>
                  <a:cubicBezTo>
                    <a:pt x="135" y="87"/>
                    <a:pt x="135" y="87"/>
                    <a:pt x="134" y="87"/>
                  </a:cubicBezTo>
                  <a:cubicBezTo>
                    <a:pt x="133" y="87"/>
                    <a:pt x="133" y="87"/>
                    <a:pt x="131" y="87"/>
                  </a:cubicBezTo>
                  <a:cubicBezTo>
                    <a:pt x="130" y="87"/>
                    <a:pt x="130" y="87"/>
                    <a:pt x="129" y="87"/>
                  </a:cubicBezTo>
                  <a:cubicBezTo>
                    <a:pt x="128" y="87"/>
                    <a:pt x="128" y="87"/>
                    <a:pt x="127" y="87"/>
                  </a:cubicBezTo>
                  <a:cubicBezTo>
                    <a:pt x="127" y="86"/>
                    <a:pt x="127" y="86"/>
                    <a:pt x="127" y="86"/>
                  </a:cubicBezTo>
                  <a:cubicBezTo>
                    <a:pt x="126" y="86"/>
                    <a:pt x="126" y="85"/>
                    <a:pt x="126" y="85"/>
                  </a:cubicBezTo>
                  <a:lnTo>
                    <a:pt x="126" y="29"/>
                  </a:lnTo>
                  <a:cubicBezTo>
                    <a:pt x="126" y="29"/>
                    <a:pt x="126" y="28"/>
                    <a:pt x="127" y="28"/>
                  </a:cubicBezTo>
                  <a:cubicBezTo>
                    <a:pt x="127" y="28"/>
                    <a:pt x="127" y="28"/>
                    <a:pt x="127" y="27"/>
                  </a:cubicBezTo>
                  <a:cubicBezTo>
                    <a:pt x="128" y="27"/>
                    <a:pt x="128" y="27"/>
                    <a:pt x="129" y="27"/>
                  </a:cubicBezTo>
                  <a:cubicBezTo>
                    <a:pt x="130" y="27"/>
                    <a:pt x="130" y="27"/>
                    <a:pt x="131" y="27"/>
                  </a:cubicBezTo>
                  <a:cubicBezTo>
                    <a:pt x="133" y="27"/>
                    <a:pt x="133" y="27"/>
                    <a:pt x="134" y="27"/>
                  </a:cubicBezTo>
                  <a:cubicBezTo>
                    <a:pt x="135" y="27"/>
                    <a:pt x="135" y="27"/>
                    <a:pt x="136" y="27"/>
                  </a:cubicBezTo>
                  <a:cubicBezTo>
                    <a:pt x="136" y="28"/>
                    <a:pt x="136" y="28"/>
                    <a:pt x="136" y="28"/>
                  </a:cubicBezTo>
                  <a:cubicBezTo>
                    <a:pt x="137" y="28"/>
                    <a:pt x="137" y="29"/>
                    <a:pt x="137" y="29"/>
                  </a:cubicBezTo>
                  <a:lnTo>
                    <a:pt x="137" y="85"/>
                  </a:lnTo>
                  <a:close/>
                  <a:moveTo>
                    <a:pt x="138" y="10"/>
                  </a:moveTo>
                  <a:cubicBezTo>
                    <a:pt x="138" y="12"/>
                    <a:pt x="137" y="14"/>
                    <a:pt x="136" y="15"/>
                  </a:cubicBezTo>
                  <a:cubicBezTo>
                    <a:pt x="136" y="16"/>
                    <a:pt x="134" y="16"/>
                    <a:pt x="131" y="16"/>
                  </a:cubicBezTo>
                  <a:cubicBezTo>
                    <a:pt x="129" y="16"/>
                    <a:pt x="127" y="16"/>
                    <a:pt x="126" y="15"/>
                  </a:cubicBezTo>
                  <a:cubicBezTo>
                    <a:pt x="126" y="14"/>
                    <a:pt x="125" y="12"/>
                    <a:pt x="125" y="10"/>
                  </a:cubicBezTo>
                  <a:cubicBezTo>
                    <a:pt x="125" y="8"/>
                    <a:pt x="126" y="6"/>
                    <a:pt x="126" y="5"/>
                  </a:cubicBezTo>
                  <a:cubicBezTo>
                    <a:pt x="127" y="4"/>
                    <a:pt x="129" y="4"/>
                    <a:pt x="132" y="4"/>
                  </a:cubicBezTo>
                  <a:cubicBezTo>
                    <a:pt x="134" y="4"/>
                    <a:pt x="136" y="4"/>
                    <a:pt x="137" y="5"/>
                  </a:cubicBezTo>
                  <a:cubicBezTo>
                    <a:pt x="137" y="6"/>
                    <a:pt x="138" y="7"/>
                    <a:pt x="138" y="10"/>
                  </a:cubicBezTo>
                  <a:close/>
                  <a:moveTo>
                    <a:pt x="194" y="70"/>
                  </a:moveTo>
                  <a:cubicBezTo>
                    <a:pt x="194" y="73"/>
                    <a:pt x="193" y="75"/>
                    <a:pt x="192" y="77"/>
                  </a:cubicBezTo>
                  <a:cubicBezTo>
                    <a:pt x="191" y="80"/>
                    <a:pt x="189" y="82"/>
                    <a:pt x="188" y="83"/>
                  </a:cubicBezTo>
                  <a:cubicBezTo>
                    <a:pt x="186" y="85"/>
                    <a:pt x="183" y="86"/>
                    <a:pt x="181" y="87"/>
                  </a:cubicBezTo>
                  <a:cubicBezTo>
                    <a:pt x="178" y="87"/>
                    <a:pt x="175" y="88"/>
                    <a:pt x="172" y="88"/>
                  </a:cubicBezTo>
                  <a:cubicBezTo>
                    <a:pt x="170" y="88"/>
                    <a:pt x="168" y="88"/>
                    <a:pt x="166" y="87"/>
                  </a:cubicBezTo>
                  <a:cubicBezTo>
                    <a:pt x="164" y="87"/>
                    <a:pt x="162" y="87"/>
                    <a:pt x="161" y="86"/>
                  </a:cubicBezTo>
                  <a:cubicBezTo>
                    <a:pt x="160" y="86"/>
                    <a:pt x="158" y="85"/>
                    <a:pt x="157" y="85"/>
                  </a:cubicBezTo>
                  <a:cubicBezTo>
                    <a:pt x="156" y="84"/>
                    <a:pt x="156" y="84"/>
                    <a:pt x="155" y="83"/>
                  </a:cubicBezTo>
                  <a:cubicBezTo>
                    <a:pt x="155" y="83"/>
                    <a:pt x="154" y="82"/>
                    <a:pt x="154" y="82"/>
                  </a:cubicBezTo>
                  <a:cubicBezTo>
                    <a:pt x="154" y="81"/>
                    <a:pt x="154" y="80"/>
                    <a:pt x="154" y="78"/>
                  </a:cubicBezTo>
                  <a:cubicBezTo>
                    <a:pt x="154" y="78"/>
                    <a:pt x="154" y="77"/>
                    <a:pt x="154" y="76"/>
                  </a:cubicBezTo>
                  <a:cubicBezTo>
                    <a:pt x="154" y="76"/>
                    <a:pt x="154" y="75"/>
                    <a:pt x="154" y="75"/>
                  </a:cubicBezTo>
                  <a:cubicBezTo>
                    <a:pt x="154" y="75"/>
                    <a:pt x="155" y="75"/>
                    <a:pt x="155" y="74"/>
                  </a:cubicBezTo>
                  <a:cubicBezTo>
                    <a:pt x="155" y="74"/>
                    <a:pt x="155" y="74"/>
                    <a:pt x="156" y="74"/>
                  </a:cubicBezTo>
                  <a:cubicBezTo>
                    <a:pt x="156" y="74"/>
                    <a:pt x="157" y="74"/>
                    <a:pt x="158" y="75"/>
                  </a:cubicBezTo>
                  <a:cubicBezTo>
                    <a:pt x="159" y="76"/>
                    <a:pt x="160" y="76"/>
                    <a:pt x="161" y="77"/>
                  </a:cubicBezTo>
                  <a:cubicBezTo>
                    <a:pt x="162" y="78"/>
                    <a:pt x="164" y="78"/>
                    <a:pt x="166" y="79"/>
                  </a:cubicBezTo>
                  <a:cubicBezTo>
                    <a:pt x="167" y="79"/>
                    <a:pt x="169" y="80"/>
                    <a:pt x="172" y="80"/>
                  </a:cubicBezTo>
                  <a:cubicBezTo>
                    <a:pt x="174" y="80"/>
                    <a:pt x="175" y="79"/>
                    <a:pt x="177" y="79"/>
                  </a:cubicBezTo>
                  <a:cubicBezTo>
                    <a:pt x="178" y="79"/>
                    <a:pt x="179" y="78"/>
                    <a:pt x="180" y="77"/>
                  </a:cubicBezTo>
                  <a:cubicBezTo>
                    <a:pt x="181" y="77"/>
                    <a:pt x="182" y="76"/>
                    <a:pt x="183" y="75"/>
                  </a:cubicBezTo>
                  <a:cubicBezTo>
                    <a:pt x="183" y="73"/>
                    <a:pt x="183" y="72"/>
                    <a:pt x="183" y="71"/>
                  </a:cubicBezTo>
                  <a:cubicBezTo>
                    <a:pt x="183" y="69"/>
                    <a:pt x="183" y="68"/>
                    <a:pt x="182" y="67"/>
                  </a:cubicBezTo>
                  <a:cubicBezTo>
                    <a:pt x="181" y="66"/>
                    <a:pt x="180" y="65"/>
                    <a:pt x="179" y="64"/>
                  </a:cubicBezTo>
                  <a:cubicBezTo>
                    <a:pt x="178" y="63"/>
                    <a:pt x="176" y="62"/>
                    <a:pt x="175" y="61"/>
                  </a:cubicBezTo>
                  <a:cubicBezTo>
                    <a:pt x="173" y="61"/>
                    <a:pt x="171" y="60"/>
                    <a:pt x="169" y="59"/>
                  </a:cubicBezTo>
                  <a:cubicBezTo>
                    <a:pt x="168" y="59"/>
                    <a:pt x="166" y="58"/>
                    <a:pt x="164" y="57"/>
                  </a:cubicBezTo>
                  <a:cubicBezTo>
                    <a:pt x="163" y="56"/>
                    <a:pt x="161" y="55"/>
                    <a:pt x="160" y="54"/>
                  </a:cubicBezTo>
                  <a:cubicBezTo>
                    <a:pt x="158" y="52"/>
                    <a:pt x="157" y="51"/>
                    <a:pt x="156" y="49"/>
                  </a:cubicBezTo>
                  <a:cubicBezTo>
                    <a:pt x="156" y="47"/>
                    <a:pt x="155" y="45"/>
                    <a:pt x="155" y="43"/>
                  </a:cubicBezTo>
                  <a:cubicBezTo>
                    <a:pt x="155" y="41"/>
                    <a:pt x="156" y="38"/>
                    <a:pt x="157" y="36"/>
                  </a:cubicBezTo>
                  <a:cubicBezTo>
                    <a:pt x="157" y="34"/>
                    <a:pt x="159" y="33"/>
                    <a:pt x="160" y="31"/>
                  </a:cubicBezTo>
                  <a:cubicBezTo>
                    <a:pt x="162" y="30"/>
                    <a:pt x="164" y="28"/>
                    <a:pt x="167" y="27"/>
                  </a:cubicBezTo>
                  <a:cubicBezTo>
                    <a:pt x="169" y="26"/>
                    <a:pt x="172" y="26"/>
                    <a:pt x="176" y="26"/>
                  </a:cubicBezTo>
                  <a:cubicBezTo>
                    <a:pt x="177" y="26"/>
                    <a:pt x="179" y="26"/>
                    <a:pt x="180" y="26"/>
                  </a:cubicBezTo>
                  <a:cubicBezTo>
                    <a:pt x="182" y="27"/>
                    <a:pt x="183" y="27"/>
                    <a:pt x="184" y="27"/>
                  </a:cubicBezTo>
                  <a:cubicBezTo>
                    <a:pt x="185" y="28"/>
                    <a:pt x="187" y="28"/>
                    <a:pt x="187" y="29"/>
                  </a:cubicBezTo>
                  <a:cubicBezTo>
                    <a:pt x="188" y="29"/>
                    <a:pt x="189" y="29"/>
                    <a:pt x="189" y="30"/>
                  </a:cubicBezTo>
                  <a:cubicBezTo>
                    <a:pt x="190" y="30"/>
                    <a:pt x="190" y="30"/>
                    <a:pt x="190" y="31"/>
                  </a:cubicBezTo>
                  <a:cubicBezTo>
                    <a:pt x="190" y="31"/>
                    <a:pt x="190" y="31"/>
                    <a:pt x="191" y="31"/>
                  </a:cubicBezTo>
                  <a:cubicBezTo>
                    <a:pt x="191" y="32"/>
                    <a:pt x="191" y="32"/>
                    <a:pt x="191" y="33"/>
                  </a:cubicBezTo>
                  <a:cubicBezTo>
                    <a:pt x="191" y="33"/>
                    <a:pt x="191" y="34"/>
                    <a:pt x="191" y="34"/>
                  </a:cubicBezTo>
                  <a:cubicBezTo>
                    <a:pt x="191" y="35"/>
                    <a:pt x="191" y="36"/>
                    <a:pt x="191" y="36"/>
                  </a:cubicBezTo>
                  <a:cubicBezTo>
                    <a:pt x="191" y="37"/>
                    <a:pt x="191" y="37"/>
                    <a:pt x="190" y="37"/>
                  </a:cubicBezTo>
                  <a:cubicBezTo>
                    <a:pt x="190" y="38"/>
                    <a:pt x="190" y="38"/>
                    <a:pt x="190" y="38"/>
                  </a:cubicBezTo>
                  <a:cubicBezTo>
                    <a:pt x="190" y="38"/>
                    <a:pt x="189" y="38"/>
                    <a:pt x="189" y="38"/>
                  </a:cubicBezTo>
                  <a:cubicBezTo>
                    <a:pt x="189" y="38"/>
                    <a:pt x="188" y="38"/>
                    <a:pt x="188" y="38"/>
                  </a:cubicBezTo>
                  <a:cubicBezTo>
                    <a:pt x="187" y="37"/>
                    <a:pt x="186" y="37"/>
                    <a:pt x="185" y="36"/>
                  </a:cubicBezTo>
                  <a:cubicBezTo>
                    <a:pt x="184" y="36"/>
                    <a:pt x="182" y="35"/>
                    <a:pt x="181" y="35"/>
                  </a:cubicBezTo>
                  <a:cubicBezTo>
                    <a:pt x="179" y="34"/>
                    <a:pt x="178" y="34"/>
                    <a:pt x="176" y="34"/>
                  </a:cubicBezTo>
                  <a:cubicBezTo>
                    <a:pt x="174" y="34"/>
                    <a:pt x="172" y="34"/>
                    <a:pt x="171" y="35"/>
                  </a:cubicBezTo>
                  <a:cubicBezTo>
                    <a:pt x="170" y="35"/>
                    <a:pt x="169" y="36"/>
                    <a:pt x="168" y="36"/>
                  </a:cubicBezTo>
                  <a:cubicBezTo>
                    <a:pt x="167" y="37"/>
                    <a:pt x="166" y="38"/>
                    <a:pt x="166" y="39"/>
                  </a:cubicBezTo>
                  <a:cubicBezTo>
                    <a:pt x="165" y="40"/>
                    <a:pt x="165" y="41"/>
                    <a:pt x="165" y="42"/>
                  </a:cubicBezTo>
                  <a:cubicBezTo>
                    <a:pt x="165" y="44"/>
                    <a:pt x="166" y="45"/>
                    <a:pt x="166" y="46"/>
                  </a:cubicBezTo>
                  <a:cubicBezTo>
                    <a:pt x="167" y="47"/>
                    <a:pt x="168" y="48"/>
                    <a:pt x="170" y="49"/>
                  </a:cubicBezTo>
                  <a:cubicBezTo>
                    <a:pt x="171" y="50"/>
                    <a:pt x="172" y="51"/>
                    <a:pt x="174" y="51"/>
                  </a:cubicBezTo>
                  <a:cubicBezTo>
                    <a:pt x="176" y="52"/>
                    <a:pt x="178" y="53"/>
                    <a:pt x="179" y="53"/>
                  </a:cubicBezTo>
                  <a:cubicBezTo>
                    <a:pt x="181" y="54"/>
                    <a:pt x="183" y="55"/>
                    <a:pt x="185" y="56"/>
                  </a:cubicBezTo>
                  <a:cubicBezTo>
                    <a:pt x="186" y="57"/>
                    <a:pt x="188" y="58"/>
                    <a:pt x="189" y="59"/>
                  </a:cubicBezTo>
                  <a:cubicBezTo>
                    <a:pt x="191" y="60"/>
                    <a:pt x="192" y="62"/>
                    <a:pt x="192" y="64"/>
                  </a:cubicBezTo>
                  <a:cubicBezTo>
                    <a:pt x="193" y="65"/>
                    <a:pt x="194" y="67"/>
                    <a:pt x="194" y="70"/>
                  </a:cubicBezTo>
                  <a:close/>
                  <a:moveTo>
                    <a:pt x="254" y="55"/>
                  </a:moveTo>
                  <a:cubicBezTo>
                    <a:pt x="254" y="56"/>
                    <a:pt x="254" y="57"/>
                    <a:pt x="253" y="58"/>
                  </a:cubicBezTo>
                  <a:cubicBezTo>
                    <a:pt x="252" y="59"/>
                    <a:pt x="251" y="59"/>
                    <a:pt x="250" y="59"/>
                  </a:cubicBezTo>
                  <a:lnTo>
                    <a:pt x="213" y="59"/>
                  </a:lnTo>
                  <a:cubicBezTo>
                    <a:pt x="213" y="62"/>
                    <a:pt x="214" y="65"/>
                    <a:pt x="214" y="67"/>
                  </a:cubicBezTo>
                  <a:cubicBezTo>
                    <a:pt x="215" y="70"/>
                    <a:pt x="216" y="72"/>
                    <a:pt x="217" y="74"/>
                  </a:cubicBezTo>
                  <a:cubicBezTo>
                    <a:pt x="219" y="76"/>
                    <a:pt x="221" y="77"/>
                    <a:pt x="223" y="78"/>
                  </a:cubicBezTo>
                  <a:cubicBezTo>
                    <a:pt x="225" y="79"/>
                    <a:pt x="228" y="79"/>
                    <a:pt x="232" y="79"/>
                  </a:cubicBezTo>
                  <a:cubicBezTo>
                    <a:pt x="234" y="79"/>
                    <a:pt x="237" y="79"/>
                    <a:pt x="239" y="79"/>
                  </a:cubicBezTo>
                  <a:cubicBezTo>
                    <a:pt x="241" y="78"/>
                    <a:pt x="243" y="78"/>
                    <a:pt x="244" y="77"/>
                  </a:cubicBezTo>
                  <a:cubicBezTo>
                    <a:pt x="246" y="77"/>
                    <a:pt x="247" y="76"/>
                    <a:pt x="248" y="76"/>
                  </a:cubicBezTo>
                  <a:cubicBezTo>
                    <a:pt x="249" y="75"/>
                    <a:pt x="250" y="75"/>
                    <a:pt x="250" y="75"/>
                  </a:cubicBezTo>
                  <a:cubicBezTo>
                    <a:pt x="251" y="75"/>
                    <a:pt x="251" y="75"/>
                    <a:pt x="251" y="75"/>
                  </a:cubicBezTo>
                  <a:cubicBezTo>
                    <a:pt x="251" y="76"/>
                    <a:pt x="251" y="76"/>
                    <a:pt x="252" y="76"/>
                  </a:cubicBezTo>
                  <a:cubicBezTo>
                    <a:pt x="252" y="76"/>
                    <a:pt x="252" y="77"/>
                    <a:pt x="252" y="77"/>
                  </a:cubicBezTo>
                  <a:cubicBezTo>
                    <a:pt x="252" y="78"/>
                    <a:pt x="252" y="78"/>
                    <a:pt x="252" y="79"/>
                  </a:cubicBezTo>
                  <a:cubicBezTo>
                    <a:pt x="252" y="80"/>
                    <a:pt x="252" y="80"/>
                    <a:pt x="252" y="81"/>
                  </a:cubicBezTo>
                  <a:cubicBezTo>
                    <a:pt x="252" y="81"/>
                    <a:pt x="252" y="81"/>
                    <a:pt x="252" y="82"/>
                  </a:cubicBezTo>
                  <a:cubicBezTo>
                    <a:pt x="252" y="82"/>
                    <a:pt x="252" y="82"/>
                    <a:pt x="251" y="83"/>
                  </a:cubicBezTo>
                  <a:cubicBezTo>
                    <a:pt x="251" y="83"/>
                    <a:pt x="251" y="83"/>
                    <a:pt x="251" y="83"/>
                  </a:cubicBezTo>
                  <a:cubicBezTo>
                    <a:pt x="251" y="83"/>
                    <a:pt x="250" y="84"/>
                    <a:pt x="249" y="84"/>
                  </a:cubicBezTo>
                  <a:cubicBezTo>
                    <a:pt x="248" y="85"/>
                    <a:pt x="246" y="85"/>
                    <a:pt x="244" y="86"/>
                  </a:cubicBezTo>
                  <a:cubicBezTo>
                    <a:pt x="243" y="86"/>
                    <a:pt x="241" y="87"/>
                    <a:pt x="238" y="87"/>
                  </a:cubicBezTo>
                  <a:cubicBezTo>
                    <a:pt x="236" y="88"/>
                    <a:pt x="233" y="88"/>
                    <a:pt x="231" y="88"/>
                  </a:cubicBezTo>
                  <a:cubicBezTo>
                    <a:pt x="226" y="88"/>
                    <a:pt x="222" y="87"/>
                    <a:pt x="219" y="86"/>
                  </a:cubicBezTo>
                  <a:cubicBezTo>
                    <a:pt x="215" y="85"/>
                    <a:pt x="212" y="83"/>
                    <a:pt x="210" y="80"/>
                  </a:cubicBezTo>
                  <a:cubicBezTo>
                    <a:pt x="207" y="78"/>
                    <a:pt x="206" y="74"/>
                    <a:pt x="204" y="71"/>
                  </a:cubicBezTo>
                  <a:cubicBezTo>
                    <a:pt x="203" y="67"/>
                    <a:pt x="203" y="62"/>
                    <a:pt x="203" y="57"/>
                  </a:cubicBezTo>
                  <a:cubicBezTo>
                    <a:pt x="203" y="52"/>
                    <a:pt x="203" y="48"/>
                    <a:pt x="204" y="44"/>
                  </a:cubicBezTo>
                  <a:cubicBezTo>
                    <a:pt x="206" y="40"/>
                    <a:pt x="208" y="37"/>
                    <a:pt x="210" y="34"/>
                  </a:cubicBezTo>
                  <a:cubicBezTo>
                    <a:pt x="212" y="32"/>
                    <a:pt x="215" y="30"/>
                    <a:pt x="218" y="28"/>
                  </a:cubicBezTo>
                  <a:cubicBezTo>
                    <a:pt x="222" y="27"/>
                    <a:pt x="225" y="26"/>
                    <a:pt x="230" y="26"/>
                  </a:cubicBezTo>
                  <a:cubicBezTo>
                    <a:pt x="234" y="26"/>
                    <a:pt x="238" y="27"/>
                    <a:pt x="241" y="28"/>
                  </a:cubicBezTo>
                  <a:cubicBezTo>
                    <a:pt x="244" y="30"/>
                    <a:pt x="247" y="31"/>
                    <a:pt x="249" y="34"/>
                  </a:cubicBezTo>
                  <a:cubicBezTo>
                    <a:pt x="251" y="36"/>
                    <a:pt x="252" y="39"/>
                    <a:pt x="253" y="42"/>
                  </a:cubicBezTo>
                  <a:cubicBezTo>
                    <a:pt x="254" y="46"/>
                    <a:pt x="254" y="49"/>
                    <a:pt x="254" y="53"/>
                  </a:cubicBezTo>
                  <a:lnTo>
                    <a:pt x="254" y="55"/>
                  </a:lnTo>
                  <a:close/>
                  <a:moveTo>
                    <a:pt x="244" y="51"/>
                  </a:moveTo>
                  <a:cubicBezTo>
                    <a:pt x="244" y="46"/>
                    <a:pt x="243" y="42"/>
                    <a:pt x="240" y="39"/>
                  </a:cubicBezTo>
                  <a:cubicBezTo>
                    <a:pt x="238" y="36"/>
                    <a:pt x="234" y="34"/>
                    <a:pt x="229" y="34"/>
                  </a:cubicBezTo>
                  <a:cubicBezTo>
                    <a:pt x="227" y="34"/>
                    <a:pt x="224" y="35"/>
                    <a:pt x="222" y="36"/>
                  </a:cubicBezTo>
                  <a:cubicBezTo>
                    <a:pt x="220" y="36"/>
                    <a:pt x="219" y="38"/>
                    <a:pt x="218" y="39"/>
                  </a:cubicBezTo>
                  <a:cubicBezTo>
                    <a:pt x="216" y="41"/>
                    <a:pt x="215" y="43"/>
                    <a:pt x="214" y="45"/>
                  </a:cubicBezTo>
                  <a:cubicBezTo>
                    <a:pt x="214" y="47"/>
                    <a:pt x="213" y="49"/>
                    <a:pt x="213" y="51"/>
                  </a:cubicBezTo>
                  <a:lnTo>
                    <a:pt x="244" y="51"/>
                  </a:lnTo>
                  <a:close/>
                  <a:moveTo>
                    <a:pt x="364" y="57"/>
                  </a:moveTo>
                  <a:cubicBezTo>
                    <a:pt x="364" y="62"/>
                    <a:pt x="364" y="66"/>
                    <a:pt x="362" y="70"/>
                  </a:cubicBezTo>
                  <a:cubicBezTo>
                    <a:pt x="361" y="74"/>
                    <a:pt x="359" y="77"/>
                    <a:pt x="356" y="80"/>
                  </a:cubicBezTo>
                  <a:cubicBezTo>
                    <a:pt x="353" y="82"/>
                    <a:pt x="350" y="84"/>
                    <a:pt x="346" y="86"/>
                  </a:cubicBezTo>
                  <a:cubicBezTo>
                    <a:pt x="342" y="87"/>
                    <a:pt x="338" y="88"/>
                    <a:pt x="333" y="88"/>
                  </a:cubicBezTo>
                  <a:cubicBezTo>
                    <a:pt x="329" y="88"/>
                    <a:pt x="325" y="87"/>
                    <a:pt x="321" y="86"/>
                  </a:cubicBezTo>
                  <a:cubicBezTo>
                    <a:pt x="317" y="85"/>
                    <a:pt x="314" y="83"/>
                    <a:pt x="312" y="80"/>
                  </a:cubicBezTo>
                  <a:cubicBezTo>
                    <a:pt x="309" y="78"/>
                    <a:pt x="307" y="75"/>
                    <a:pt x="306" y="71"/>
                  </a:cubicBezTo>
                  <a:cubicBezTo>
                    <a:pt x="304" y="67"/>
                    <a:pt x="303" y="63"/>
                    <a:pt x="303" y="58"/>
                  </a:cubicBezTo>
                  <a:lnTo>
                    <a:pt x="303" y="7"/>
                  </a:lnTo>
                  <a:cubicBezTo>
                    <a:pt x="303" y="7"/>
                    <a:pt x="303" y="7"/>
                    <a:pt x="304" y="7"/>
                  </a:cubicBezTo>
                  <a:cubicBezTo>
                    <a:pt x="304" y="6"/>
                    <a:pt x="304" y="6"/>
                    <a:pt x="305" y="6"/>
                  </a:cubicBezTo>
                  <a:cubicBezTo>
                    <a:pt x="305" y="6"/>
                    <a:pt x="305" y="6"/>
                    <a:pt x="306" y="6"/>
                  </a:cubicBezTo>
                  <a:cubicBezTo>
                    <a:pt x="307" y="5"/>
                    <a:pt x="308" y="5"/>
                    <a:pt x="309" y="5"/>
                  </a:cubicBezTo>
                  <a:cubicBezTo>
                    <a:pt x="310" y="5"/>
                    <a:pt x="311" y="5"/>
                    <a:pt x="311" y="6"/>
                  </a:cubicBezTo>
                  <a:cubicBezTo>
                    <a:pt x="312" y="6"/>
                    <a:pt x="313" y="6"/>
                    <a:pt x="313" y="6"/>
                  </a:cubicBezTo>
                  <a:cubicBezTo>
                    <a:pt x="313" y="6"/>
                    <a:pt x="314" y="6"/>
                    <a:pt x="314" y="7"/>
                  </a:cubicBezTo>
                  <a:cubicBezTo>
                    <a:pt x="314" y="7"/>
                    <a:pt x="314" y="7"/>
                    <a:pt x="314" y="7"/>
                  </a:cubicBezTo>
                  <a:lnTo>
                    <a:pt x="314" y="56"/>
                  </a:lnTo>
                  <a:cubicBezTo>
                    <a:pt x="314" y="60"/>
                    <a:pt x="315" y="63"/>
                    <a:pt x="315" y="66"/>
                  </a:cubicBezTo>
                  <a:cubicBezTo>
                    <a:pt x="316" y="69"/>
                    <a:pt x="318" y="71"/>
                    <a:pt x="319" y="73"/>
                  </a:cubicBezTo>
                  <a:cubicBezTo>
                    <a:pt x="321" y="75"/>
                    <a:pt x="323" y="76"/>
                    <a:pt x="326" y="77"/>
                  </a:cubicBezTo>
                  <a:cubicBezTo>
                    <a:pt x="328" y="78"/>
                    <a:pt x="331" y="79"/>
                    <a:pt x="334" y="79"/>
                  </a:cubicBezTo>
                  <a:cubicBezTo>
                    <a:pt x="337" y="79"/>
                    <a:pt x="340" y="78"/>
                    <a:pt x="342" y="77"/>
                  </a:cubicBezTo>
                  <a:cubicBezTo>
                    <a:pt x="345" y="76"/>
                    <a:pt x="347" y="75"/>
                    <a:pt x="348" y="73"/>
                  </a:cubicBezTo>
                  <a:cubicBezTo>
                    <a:pt x="350" y="71"/>
                    <a:pt x="351" y="69"/>
                    <a:pt x="352" y="66"/>
                  </a:cubicBezTo>
                  <a:cubicBezTo>
                    <a:pt x="353" y="64"/>
                    <a:pt x="354" y="60"/>
                    <a:pt x="354" y="57"/>
                  </a:cubicBezTo>
                  <a:lnTo>
                    <a:pt x="354" y="7"/>
                  </a:lnTo>
                  <a:cubicBezTo>
                    <a:pt x="354" y="7"/>
                    <a:pt x="354" y="7"/>
                    <a:pt x="354" y="7"/>
                  </a:cubicBezTo>
                  <a:cubicBezTo>
                    <a:pt x="354" y="6"/>
                    <a:pt x="354" y="6"/>
                    <a:pt x="355" y="6"/>
                  </a:cubicBezTo>
                  <a:cubicBezTo>
                    <a:pt x="355" y="6"/>
                    <a:pt x="356" y="6"/>
                    <a:pt x="356" y="6"/>
                  </a:cubicBezTo>
                  <a:cubicBezTo>
                    <a:pt x="357" y="5"/>
                    <a:pt x="358" y="5"/>
                    <a:pt x="359" y="5"/>
                  </a:cubicBezTo>
                  <a:cubicBezTo>
                    <a:pt x="360" y="5"/>
                    <a:pt x="361" y="5"/>
                    <a:pt x="362" y="6"/>
                  </a:cubicBezTo>
                  <a:cubicBezTo>
                    <a:pt x="362" y="6"/>
                    <a:pt x="363" y="6"/>
                    <a:pt x="363" y="6"/>
                  </a:cubicBezTo>
                  <a:cubicBezTo>
                    <a:pt x="364" y="6"/>
                    <a:pt x="364" y="6"/>
                    <a:pt x="364" y="7"/>
                  </a:cubicBezTo>
                  <a:cubicBezTo>
                    <a:pt x="364" y="7"/>
                    <a:pt x="364" y="7"/>
                    <a:pt x="364" y="7"/>
                  </a:cubicBezTo>
                  <a:lnTo>
                    <a:pt x="364" y="57"/>
                  </a:lnTo>
                  <a:close/>
                  <a:moveTo>
                    <a:pt x="418" y="70"/>
                  </a:moveTo>
                  <a:cubicBezTo>
                    <a:pt x="418" y="73"/>
                    <a:pt x="417" y="75"/>
                    <a:pt x="416" y="77"/>
                  </a:cubicBezTo>
                  <a:cubicBezTo>
                    <a:pt x="415" y="80"/>
                    <a:pt x="413" y="82"/>
                    <a:pt x="412" y="83"/>
                  </a:cubicBezTo>
                  <a:cubicBezTo>
                    <a:pt x="410" y="85"/>
                    <a:pt x="407" y="86"/>
                    <a:pt x="405" y="87"/>
                  </a:cubicBezTo>
                  <a:cubicBezTo>
                    <a:pt x="402" y="87"/>
                    <a:pt x="399" y="88"/>
                    <a:pt x="396" y="88"/>
                  </a:cubicBezTo>
                  <a:cubicBezTo>
                    <a:pt x="394" y="88"/>
                    <a:pt x="392" y="88"/>
                    <a:pt x="390" y="87"/>
                  </a:cubicBezTo>
                  <a:cubicBezTo>
                    <a:pt x="388" y="87"/>
                    <a:pt x="386" y="87"/>
                    <a:pt x="385" y="86"/>
                  </a:cubicBezTo>
                  <a:cubicBezTo>
                    <a:pt x="384" y="86"/>
                    <a:pt x="382" y="85"/>
                    <a:pt x="381" y="85"/>
                  </a:cubicBezTo>
                  <a:cubicBezTo>
                    <a:pt x="380" y="84"/>
                    <a:pt x="380" y="84"/>
                    <a:pt x="379" y="83"/>
                  </a:cubicBezTo>
                  <a:cubicBezTo>
                    <a:pt x="379" y="83"/>
                    <a:pt x="378" y="82"/>
                    <a:pt x="378" y="82"/>
                  </a:cubicBezTo>
                  <a:cubicBezTo>
                    <a:pt x="378" y="81"/>
                    <a:pt x="378" y="80"/>
                    <a:pt x="378" y="78"/>
                  </a:cubicBezTo>
                  <a:cubicBezTo>
                    <a:pt x="378" y="78"/>
                    <a:pt x="378" y="77"/>
                    <a:pt x="378" y="76"/>
                  </a:cubicBezTo>
                  <a:cubicBezTo>
                    <a:pt x="378" y="76"/>
                    <a:pt x="378" y="75"/>
                    <a:pt x="378" y="75"/>
                  </a:cubicBezTo>
                  <a:cubicBezTo>
                    <a:pt x="378" y="75"/>
                    <a:pt x="379" y="75"/>
                    <a:pt x="379" y="74"/>
                  </a:cubicBezTo>
                  <a:cubicBezTo>
                    <a:pt x="379" y="74"/>
                    <a:pt x="379" y="74"/>
                    <a:pt x="380" y="74"/>
                  </a:cubicBezTo>
                  <a:cubicBezTo>
                    <a:pt x="380" y="74"/>
                    <a:pt x="381" y="74"/>
                    <a:pt x="382" y="75"/>
                  </a:cubicBezTo>
                  <a:cubicBezTo>
                    <a:pt x="383" y="76"/>
                    <a:pt x="384" y="76"/>
                    <a:pt x="385" y="77"/>
                  </a:cubicBezTo>
                  <a:cubicBezTo>
                    <a:pt x="386" y="78"/>
                    <a:pt x="388" y="78"/>
                    <a:pt x="390" y="79"/>
                  </a:cubicBezTo>
                  <a:cubicBezTo>
                    <a:pt x="391" y="79"/>
                    <a:pt x="393" y="80"/>
                    <a:pt x="396" y="80"/>
                  </a:cubicBezTo>
                  <a:cubicBezTo>
                    <a:pt x="398" y="80"/>
                    <a:pt x="399" y="79"/>
                    <a:pt x="401" y="79"/>
                  </a:cubicBezTo>
                  <a:cubicBezTo>
                    <a:pt x="402" y="79"/>
                    <a:pt x="403" y="78"/>
                    <a:pt x="404" y="77"/>
                  </a:cubicBezTo>
                  <a:cubicBezTo>
                    <a:pt x="405" y="77"/>
                    <a:pt x="406" y="76"/>
                    <a:pt x="407" y="75"/>
                  </a:cubicBezTo>
                  <a:cubicBezTo>
                    <a:pt x="407" y="73"/>
                    <a:pt x="407" y="72"/>
                    <a:pt x="407" y="71"/>
                  </a:cubicBezTo>
                  <a:cubicBezTo>
                    <a:pt x="407" y="69"/>
                    <a:pt x="407" y="68"/>
                    <a:pt x="406" y="67"/>
                  </a:cubicBezTo>
                  <a:cubicBezTo>
                    <a:pt x="405" y="66"/>
                    <a:pt x="404" y="65"/>
                    <a:pt x="403" y="64"/>
                  </a:cubicBezTo>
                  <a:cubicBezTo>
                    <a:pt x="402" y="63"/>
                    <a:pt x="400" y="62"/>
                    <a:pt x="399" y="61"/>
                  </a:cubicBezTo>
                  <a:cubicBezTo>
                    <a:pt x="397" y="61"/>
                    <a:pt x="395" y="60"/>
                    <a:pt x="393" y="59"/>
                  </a:cubicBezTo>
                  <a:cubicBezTo>
                    <a:pt x="392" y="59"/>
                    <a:pt x="390" y="58"/>
                    <a:pt x="388" y="57"/>
                  </a:cubicBezTo>
                  <a:cubicBezTo>
                    <a:pt x="387" y="56"/>
                    <a:pt x="385" y="55"/>
                    <a:pt x="384" y="54"/>
                  </a:cubicBezTo>
                  <a:cubicBezTo>
                    <a:pt x="382" y="52"/>
                    <a:pt x="381" y="51"/>
                    <a:pt x="380" y="49"/>
                  </a:cubicBezTo>
                  <a:cubicBezTo>
                    <a:pt x="380" y="47"/>
                    <a:pt x="379" y="45"/>
                    <a:pt x="379" y="43"/>
                  </a:cubicBezTo>
                  <a:cubicBezTo>
                    <a:pt x="379" y="41"/>
                    <a:pt x="380" y="38"/>
                    <a:pt x="381" y="36"/>
                  </a:cubicBezTo>
                  <a:cubicBezTo>
                    <a:pt x="381" y="34"/>
                    <a:pt x="383" y="33"/>
                    <a:pt x="384" y="31"/>
                  </a:cubicBezTo>
                  <a:cubicBezTo>
                    <a:pt x="386" y="30"/>
                    <a:pt x="388" y="28"/>
                    <a:pt x="391" y="27"/>
                  </a:cubicBezTo>
                  <a:cubicBezTo>
                    <a:pt x="393" y="26"/>
                    <a:pt x="396" y="26"/>
                    <a:pt x="400" y="26"/>
                  </a:cubicBezTo>
                  <a:cubicBezTo>
                    <a:pt x="401" y="26"/>
                    <a:pt x="403" y="26"/>
                    <a:pt x="404" y="26"/>
                  </a:cubicBezTo>
                  <a:cubicBezTo>
                    <a:pt x="406" y="27"/>
                    <a:pt x="407" y="27"/>
                    <a:pt x="408" y="27"/>
                  </a:cubicBezTo>
                  <a:cubicBezTo>
                    <a:pt x="409" y="28"/>
                    <a:pt x="411" y="28"/>
                    <a:pt x="411" y="29"/>
                  </a:cubicBezTo>
                  <a:cubicBezTo>
                    <a:pt x="412" y="29"/>
                    <a:pt x="413" y="29"/>
                    <a:pt x="413" y="30"/>
                  </a:cubicBezTo>
                  <a:cubicBezTo>
                    <a:pt x="414" y="30"/>
                    <a:pt x="414" y="30"/>
                    <a:pt x="414" y="31"/>
                  </a:cubicBezTo>
                  <a:cubicBezTo>
                    <a:pt x="414" y="31"/>
                    <a:pt x="414" y="31"/>
                    <a:pt x="415" y="31"/>
                  </a:cubicBezTo>
                  <a:cubicBezTo>
                    <a:pt x="415" y="32"/>
                    <a:pt x="415" y="32"/>
                    <a:pt x="415" y="33"/>
                  </a:cubicBezTo>
                  <a:cubicBezTo>
                    <a:pt x="415" y="33"/>
                    <a:pt x="415" y="34"/>
                    <a:pt x="415" y="34"/>
                  </a:cubicBezTo>
                  <a:cubicBezTo>
                    <a:pt x="415" y="35"/>
                    <a:pt x="415" y="36"/>
                    <a:pt x="415" y="36"/>
                  </a:cubicBezTo>
                  <a:cubicBezTo>
                    <a:pt x="415" y="37"/>
                    <a:pt x="415" y="37"/>
                    <a:pt x="414" y="37"/>
                  </a:cubicBezTo>
                  <a:cubicBezTo>
                    <a:pt x="414" y="38"/>
                    <a:pt x="414" y="38"/>
                    <a:pt x="414" y="38"/>
                  </a:cubicBezTo>
                  <a:cubicBezTo>
                    <a:pt x="414" y="38"/>
                    <a:pt x="413" y="38"/>
                    <a:pt x="413" y="38"/>
                  </a:cubicBezTo>
                  <a:cubicBezTo>
                    <a:pt x="413" y="38"/>
                    <a:pt x="412" y="38"/>
                    <a:pt x="412" y="38"/>
                  </a:cubicBezTo>
                  <a:cubicBezTo>
                    <a:pt x="411" y="37"/>
                    <a:pt x="410" y="37"/>
                    <a:pt x="409" y="36"/>
                  </a:cubicBezTo>
                  <a:cubicBezTo>
                    <a:pt x="408" y="36"/>
                    <a:pt x="406" y="35"/>
                    <a:pt x="405" y="35"/>
                  </a:cubicBezTo>
                  <a:cubicBezTo>
                    <a:pt x="403" y="34"/>
                    <a:pt x="402" y="34"/>
                    <a:pt x="400" y="34"/>
                  </a:cubicBezTo>
                  <a:cubicBezTo>
                    <a:pt x="398" y="34"/>
                    <a:pt x="396" y="34"/>
                    <a:pt x="395" y="35"/>
                  </a:cubicBezTo>
                  <a:cubicBezTo>
                    <a:pt x="394" y="35"/>
                    <a:pt x="393" y="36"/>
                    <a:pt x="392" y="36"/>
                  </a:cubicBezTo>
                  <a:cubicBezTo>
                    <a:pt x="391" y="37"/>
                    <a:pt x="390" y="38"/>
                    <a:pt x="390" y="39"/>
                  </a:cubicBezTo>
                  <a:cubicBezTo>
                    <a:pt x="389" y="40"/>
                    <a:pt x="389" y="41"/>
                    <a:pt x="389" y="42"/>
                  </a:cubicBezTo>
                  <a:cubicBezTo>
                    <a:pt x="389" y="44"/>
                    <a:pt x="390" y="45"/>
                    <a:pt x="390" y="46"/>
                  </a:cubicBezTo>
                  <a:cubicBezTo>
                    <a:pt x="391" y="47"/>
                    <a:pt x="392" y="48"/>
                    <a:pt x="394" y="49"/>
                  </a:cubicBezTo>
                  <a:cubicBezTo>
                    <a:pt x="395" y="50"/>
                    <a:pt x="396" y="51"/>
                    <a:pt x="398" y="51"/>
                  </a:cubicBezTo>
                  <a:cubicBezTo>
                    <a:pt x="400" y="52"/>
                    <a:pt x="402" y="53"/>
                    <a:pt x="403" y="53"/>
                  </a:cubicBezTo>
                  <a:cubicBezTo>
                    <a:pt x="405" y="54"/>
                    <a:pt x="407" y="55"/>
                    <a:pt x="409" y="56"/>
                  </a:cubicBezTo>
                  <a:cubicBezTo>
                    <a:pt x="410" y="57"/>
                    <a:pt x="412" y="58"/>
                    <a:pt x="413" y="59"/>
                  </a:cubicBezTo>
                  <a:cubicBezTo>
                    <a:pt x="415" y="60"/>
                    <a:pt x="416" y="62"/>
                    <a:pt x="416" y="64"/>
                  </a:cubicBezTo>
                  <a:cubicBezTo>
                    <a:pt x="417" y="65"/>
                    <a:pt x="418" y="67"/>
                    <a:pt x="418" y="70"/>
                  </a:cubicBezTo>
                  <a:close/>
                  <a:moveTo>
                    <a:pt x="478" y="55"/>
                  </a:moveTo>
                  <a:cubicBezTo>
                    <a:pt x="478" y="56"/>
                    <a:pt x="478" y="57"/>
                    <a:pt x="477" y="58"/>
                  </a:cubicBezTo>
                  <a:cubicBezTo>
                    <a:pt x="476" y="59"/>
                    <a:pt x="475" y="59"/>
                    <a:pt x="474" y="59"/>
                  </a:cubicBezTo>
                  <a:lnTo>
                    <a:pt x="437" y="59"/>
                  </a:lnTo>
                  <a:cubicBezTo>
                    <a:pt x="437" y="62"/>
                    <a:pt x="438" y="65"/>
                    <a:pt x="438" y="67"/>
                  </a:cubicBezTo>
                  <a:cubicBezTo>
                    <a:pt x="439" y="70"/>
                    <a:pt x="440" y="72"/>
                    <a:pt x="441" y="74"/>
                  </a:cubicBezTo>
                  <a:cubicBezTo>
                    <a:pt x="443" y="76"/>
                    <a:pt x="445" y="77"/>
                    <a:pt x="447" y="78"/>
                  </a:cubicBezTo>
                  <a:cubicBezTo>
                    <a:pt x="449" y="79"/>
                    <a:pt x="452" y="79"/>
                    <a:pt x="456" y="79"/>
                  </a:cubicBezTo>
                  <a:cubicBezTo>
                    <a:pt x="458" y="79"/>
                    <a:pt x="461" y="79"/>
                    <a:pt x="463" y="79"/>
                  </a:cubicBezTo>
                  <a:cubicBezTo>
                    <a:pt x="465" y="78"/>
                    <a:pt x="467" y="78"/>
                    <a:pt x="468" y="77"/>
                  </a:cubicBezTo>
                  <a:cubicBezTo>
                    <a:pt x="470" y="77"/>
                    <a:pt x="471" y="76"/>
                    <a:pt x="472" y="76"/>
                  </a:cubicBezTo>
                  <a:cubicBezTo>
                    <a:pt x="473" y="75"/>
                    <a:pt x="474" y="75"/>
                    <a:pt x="474" y="75"/>
                  </a:cubicBezTo>
                  <a:cubicBezTo>
                    <a:pt x="475" y="75"/>
                    <a:pt x="475" y="75"/>
                    <a:pt x="475" y="75"/>
                  </a:cubicBezTo>
                  <a:cubicBezTo>
                    <a:pt x="475" y="76"/>
                    <a:pt x="475" y="76"/>
                    <a:pt x="476" y="76"/>
                  </a:cubicBezTo>
                  <a:cubicBezTo>
                    <a:pt x="476" y="76"/>
                    <a:pt x="476" y="77"/>
                    <a:pt x="476" y="77"/>
                  </a:cubicBezTo>
                  <a:cubicBezTo>
                    <a:pt x="476" y="78"/>
                    <a:pt x="476" y="78"/>
                    <a:pt x="476" y="79"/>
                  </a:cubicBezTo>
                  <a:cubicBezTo>
                    <a:pt x="476" y="80"/>
                    <a:pt x="476" y="80"/>
                    <a:pt x="476" y="81"/>
                  </a:cubicBezTo>
                  <a:cubicBezTo>
                    <a:pt x="476" y="81"/>
                    <a:pt x="476" y="81"/>
                    <a:pt x="476" y="82"/>
                  </a:cubicBezTo>
                  <a:cubicBezTo>
                    <a:pt x="476" y="82"/>
                    <a:pt x="476" y="82"/>
                    <a:pt x="475" y="83"/>
                  </a:cubicBezTo>
                  <a:cubicBezTo>
                    <a:pt x="475" y="83"/>
                    <a:pt x="475" y="83"/>
                    <a:pt x="475" y="83"/>
                  </a:cubicBezTo>
                  <a:cubicBezTo>
                    <a:pt x="475" y="83"/>
                    <a:pt x="474" y="84"/>
                    <a:pt x="473" y="84"/>
                  </a:cubicBezTo>
                  <a:cubicBezTo>
                    <a:pt x="472" y="85"/>
                    <a:pt x="470" y="85"/>
                    <a:pt x="468" y="86"/>
                  </a:cubicBezTo>
                  <a:cubicBezTo>
                    <a:pt x="467" y="86"/>
                    <a:pt x="465" y="87"/>
                    <a:pt x="462" y="87"/>
                  </a:cubicBezTo>
                  <a:cubicBezTo>
                    <a:pt x="460" y="88"/>
                    <a:pt x="457" y="88"/>
                    <a:pt x="455" y="88"/>
                  </a:cubicBezTo>
                  <a:cubicBezTo>
                    <a:pt x="450" y="88"/>
                    <a:pt x="446" y="87"/>
                    <a:pt x="443" y="86"/>
                  </a:cubicBezTo>
                  <a:cubicBezTo>
                    <a:pt x="439" y="85"/>
                    <a:pt x="436" y="83"/>
                    <a:pt x="434" y="80"/>
                  </a:cubicBezTo>
                  <a:cubicBezTo>
                    <a:pt x="431" y="78"/>
                    <a:pt x="430" y="74"/>
                    <a:pt x="428" y="71"/>
                  </a:cubicBezTo>
                  <a:cubicBezTo>
                    <a:pt x="427" y="67"/>
                    <a:pt x="427" y="62"/>
                    <a:pt x="427" y="57"/>
                  </a:cubicBezTo>
                  <a:cubicBezTo>
                    <a:pt x="427" y="52"/>
                    <a:pt x="427" y="48"/>
                    <a:pt x="428" y="44"/>
                  </a:cubicBezTo>
                  <a:cubicBezTo>
                    <a:pt x="430" y="40"/>
                    <a:pt x="432" y="37"/>
                    <a:pt x="434" y="34"/>
                  </a:cubicBezTo>
                  <a:cubicBezTo>
                    <a:pt x="436" y="32"/>
                    <a:pt x="439" y="30"/>
                    <a:pt x="442" y="28"/>
                  </a:cubicBezTo>
                  <a:cubicBezTo>
                    <a:pt x="446" y="27"/>
                    <a:pt x="449" y="26"/>
                    <a:pt x="454" y="26"/>
                  </a:cubicBezTo>
                  <a:cubicBezTo>
                    <a:pt x="458" y="26"/>
                    <a:pt x="462" y="27"/>
                    <a:pt x="465" y="28"/>
                  </a:cubicBezTo>
                  <a:cubicBezTo>
                    <a:pt x="468" y="30"/>
                    <a:pt x="471" y="31"/>
                    <a:pt x="473" y="34"/>
                  </a:cubicBezTo>
                  <a:cubicBezTo>
                    <a:pt x="475" y="36"/>
                    <a:pt x="476" y="39"/>
                    <a:pt x="477" y="42"/>
                  </a:cubicBezTo>
                  <a:cubicBezTo>
                    <a:pt x="478" y="46"/>
                    <a:pt x="478" y="49"/>
                    <a:pt x="478" y="53"/>
                  </a:cubicBezTo>
                  <a:lnTo>
                    <a:pt x="478" y="55"/>
                  </a:lnTo>
                  <a:close/>
                  <a:moveTo>
                    <a:pt x="468" y="51"/>
                  </a:moveTo>
                  <a:cubicBezTo>
                    <a:pt x="468" y="46"/>
                    <a:pt x="467" y="42"/>
                    <a:pt x="464" y="39"/>
                  </a:cubicBezTo>
                  <a:cubicBezTo>
                    <a:pt x="462" y="36"/>
                    <a:pt x="458" y="34"/>
                    <a:pt x="453" y="34"/>
                  </a:cubicBezTo>
                  <a:cubicBezTo>
                    <a:pt x="451" y="34"/>
                    <a:pt x="448" y="35"/>
                    <a:pt x="446" y="36"/>
                  </a:cubicBezTo>
                  <a:cubicBezTo>
                    <a:pt x="444" y="36"/>
                    <a:pt x="443" y="38"/>
                    <a:pt x="442" y="39"/>
                  </a:cubicBezTo>
                  <a:cubicBezTo>
                    <a:pt x="440" y="41"/>
                    <a:pt x="439" y="43"/>
                    <a:pt x="438" y="45"/>
                  </a:cubicBezTo>
                  <a:cubicBezTo>
                    <a:pt x="438" y="47"/>
                    <a:pt x="437" y="49"/>
                    <a:pt x="437" y="51"/>
                  </a:cubicBezTo>
                  <a:lnTo>
                    <a:pt x="468" y="51"/>
                  </a:lnTo>
                  <a:close/>
                  <a:moveTo>
                    <a:pt x="527" y="33"/>
                  </a:moveTo>
                  <a:cubicBezTo>
                    <a:pt x="527" y="33"/>
                    <a:pt x="527" y="34"/>
                    <a:pt x="527" y="35"/>
                  </a:cubicBezTo>
                  <a:cubicBezTo>
                    <a:pt x="527" y="35"/>
                    <a:pt x="527" y="36"/>
                    <a:pt x="527" y="36"/>
                  </a:cubicBezTo>
                  <a:cubicBezTo>
                    <a:pt x="527" y="37"/>
                    <a:pt x="527" y="37"/>
                    <a:pt x="526" y="37"/>
                  </a:cubicBezTo>
                  <a:cubicBezTo>
                    <a:pt x="526" y="37"/>
                    <a:pt x="526" y="37"/>
                    <a:pt x="526" y="37"/>
                  </a:cubicBezTo>
                  <a:cubicBezTo>
                    <a:pt x="525" y="37"/>
                    <a:pt x="525" y="37"/>
                    <a:pt x="524" y="37"/>
                  </a:cubicBezTo>
                  <a:cubicBezTo>
                    <a:pt x="524" y="37"/>
                    <a:pt x="523" y="37"/>
                    <a:pt x="523" y="37"/>
                  </a:cubicBezTo>
                  <a:cubicBezTo>
                    <a:pt x="522" y="36"/>
                    <a:pt x="522" y="36"/>
                    <a:pt x="521" y="36"/>
                  </a:cubicBezTo>
                  <a:cubicBezTo>
                    <a:pt x="520" y="36"/>
                    <a:pt x="519" y="36"/>
                    <a:pt x="518" y="36"/>
                  </a:cubicBezTo>
                  <a:cubicBezTo>
                    <a:pt x="517" y="36"/>
                    <a:pt x="516" y="36"/>
                    <a:pt x="515" y="36"/>
                  </a:cubicBezTo>
                  <a:cubicBezTo>
                    <a:pt x="514" y="37"/>
                    <a:pt x="513" y="38"/>
                    <a:pt x="512" y="38"/>
                  </a:cubicBezTo>
                  <a:cubicBezTo>
                    <a:pt x="511" y="39"/>
                    <a:pt x="510" y="41"/>
                    <a:pt x="509" y="42"/>
                  </a:cubicBezTo>
                  <a:cubicBezTo>
                    <a:pt x="507" y="44"/>
                    <a:pt x="506" y="46"/>
                    <a:pt x="505" y="48"/>
                  </a:cubicBezTo>
                  <a:lnTo>
                    <a:pt x="505" y="85"/>
                  </a:lnTo>
                  <a:cubicBezTo>
                    <a:pt x="505" y="85"/>
                    <a:pt x="505" y="86"/>
                    <a:pt x="504" y="86"/>
                  </a:cubicBezTo>
                  <a:cubicBezTo>
                    <a:pt x="504" y="86"/>
                    <a:pt x="504" y="86"/>
                    <a:pt x="504" y="87"/>
                  </a:cubicBezTo>
                  <a:cubicBezTo>
                    <a:pt x="503" y="87"/>
                    <a:pt x="503" y="87"/>
                    <a:pt x="502" y="87"/>
                  </a:cubicBezTo>
                  <a:cubicBezTo>
                    <a:pt x="501" y="87"/>
                    <a:pt x="501" y="87"/>
                    <a:pt x="499" y="87"/>
                  </a:cubicBezTo>
                  <a:cubicBezTo>
                    <a:pt x="498" y="87"/>
                    <a:pt x="498" y="87"/>
                    <a:pt x="497" y="87"/>
                  </a:cubicBezTo>
                  <a:cubicBezTo>
                    <a:pt x="496" y="87"/>
                    <a:pt x="496" y="87"/>
                    <a:pt x="495" y="87"/>
                  </a:cubicBezTo>
                  <a:cubicBezTo>
                    <a:pt x="495" y="86"/>
                    <a:pt x="495" y="86"/>
                    <a:pt x="495" y="86"/>
                  </a:cubicBezTo>
                  <a:cubicBezTo>
                    <a:pt x="494" y="86"/>
                    <a:pt x="494" y="85"/>
                    <a:pt x="494" y="85"/>
                  </a:cubicBezTo>
                  <a:lnTo>
                    <a:pt x="494" y="29"/>
                  </a:lnTo>
                  <a:cubicBezTo>
                    <a:pt x="494" y="29"/>
                    <a:pt x="494" y="28"/>
                    <a:pt x="495" y="28"/>
                  </a:cubicBezTo>
                  <a:cubicBezTo>
                    <a:pt x="495" y="28"/>
                    <a:pt x="495" y="28"/>
                    <a:pt x="495" y="27"/>
                  </a:cubicBezTo>
                  <a:cubicBezTo>
                    <a:pt x="496" y="27"/>
                    <a:pt x="496" y="27"/>
                    <a:pt x="497" y="27"/>
                  </a:cubicBezTo>
                  <a:cubicBezTo>
                    <a:pt x="497" y="27"/>
                    <a:pt x="498" y="27"/>
                    <a:pt x="499" y="27"/>
                  </a:cubicBezTo>
                  <a:cubicBezTo>
                    <a:pt x="500" y="27"/>
                    <a:pt x="501" y="27"/>
                    <a:pt x="501" y="27"/>
                  </a:cubicBezTo>
                  <a:cubicBezTo>
                    <a:pt x="502" y="27"/>
                    <a:pt x="502" y="27"/>
                    <a:pt x="503" y="27"/>
                  </a:cubicBezTo>
                  <a:cubicBezTo>
                    <a:pt x="503" y="28"/>
                    <a:pt x="503" y="28"/>
                    <a:pt x="503" y="28"/>
                  </a:cubicBezTo>
                  <a:cubicBezTo>
                    <a:pt x="504" y="28"/>
                    <a:pt x="504" y="29"/>
                    <a:pt x="504" y="29"/>
                  </a:cubicBezTo>
                  <a:lnTo>
                    <a:pt x="504" y="37"/>
                  </a:lnTo>
                  <a:cubicBezTo>
                    <a:pt x="505" y="35"/>
                    <a:pt x="507" y="33"/>
                    <a:pt x="508" y="32"/>
                  </a:cubicBezTo>
                  <a:cubicBezTo>
                    <a:pt x="509" y="30"/>
                    <a:pt x="511" y="29"/>
                    <a:pt x="512" y="28"/>
                  </a:cubicBezTo>
                  <a:cubicBezTo>
                    <a:pt x="513" y="27"/>
                    <a:pt x="514" y="27"/>
                    <a:pt x="515" y="26"/>
                  </a:cubicBezTo>
                  <a:cubicBezTo>
                    <a:pt x="517" y="26"/>
                    <a:pt x="518" y="26"/>
                    <a:pt x="519" y="26"/>
                  </a:cubicBezTo>
                  <a:cubicBezTo>
                    <a:pt x="520" y="26"/>
                    <a:pt x="520" y="26"/>
                    <a:pt x="521" y="26"/>
                  </a:cubicBezTo>
                  <a:cubicBezTo>
                    <a:pt x="522" y="26"/>
                    <a:pt x="522" y="26"/>
                    <a:pt x="523" y="26"/>
                  </a:cubicBezTo>
                  <a:cubicBezTo>
                    <a:pt x="524" y="27"/>
                    <a:pt x="524" y="27"/>
                    <a:pt x="525" y="27"/>
                  </a:cubicBezTo>
                  <a:cubicBezTo>
                    <a:pt x="526" y="27"/>
                    <a:pt x="526" y="27"/>
                    <a:pt x="526" y="28"/>
                  </a:cubicBezTo>
                  <a:cubicBezTo>
                    <a:pt x="527" y="28"/>
                    <a:pt x="527" y="28"/>
                    <a:pt x="527" y="28"/>
                  </a:cubicBezTo>
                  <a:cubicBezTo>
                    <a:pt x="527" y="28"/>
                    <a:pt x="527" y="29"/>
                    <a:pt x="527" y="29"/>
                  </a:cubicBezTo>
                  <a:cubicBezTo>
                    <a:pt x="527" y="29"/>
                    <a:pt x="527" y="30"/>
                    <a:pt x="527" y="30"/>
                  </a:cubicBezTo>
                  <a:cubicBezTo>
                    <a:pt x="527" y="31"/>
                    <a:pt x="527" y="32"/>
                    <a:pt x="527" y="33"/>
                  </a:cubicBezTo>
                  <a:close/>
                  <a:moveTo>
                    <a:pt x="630" y="75"/>
                  </a:moveTo>
                  <a:cubicBezTo>
                    <a:pt x="630" y="76"/>
                    <a:pt x="630" y="76"/>
                    <a:pt x="629" y="77"/>
                  </a:cubicBezTo>
                  <a:cubicBezTo>
                    <a:pt x="629" y="77"/>
                    <a:pt x="629" y="78"/>
                    <a:pt x="629" y="78"/>
                  </a:cubicBezTo>
                  <a:cubicBezTo>
                    <a:pt x="629" y="79"/>
                    <a:pt x="629" y="79"/>
                    <a:pt x="629" y="79"/>
                  </a:cubicBezTo>
                  <a:cubicBezTo>
                    <a:pt x="629" y="80"/>
                    <a:pt x="628" y="80"/>
                    <a:pt x="628" y="80"/>
                  </a:cubicBezTo>
                  <a:cubicBezTo>
                    <a:pt x="628" y="81"/>
                    <a:pt x="627" y="81"/>
                    <a:pt x="625" y="82"/>
                  </a:cubicBezTo>
                  <a:cubicBezTo>
                    <a:pt x="624" y="83"/>
                    <a:pt x="622" y="84"/>
                    <a:pt x="620" y="85"/>
                  </a:cubicBezTo>
                  <a:cubicBezTo>
                    <a:pt x="618" y="86"/>
                    <a:pt x="616" y="86"/>
                    <a:pt x="614" y="87"/>
                  </a:cubicBezTo>
                  <a:cubicBezTo>
                    <a:pt x="611" y="87"/>
                    <a:pt x="608" y="88"/>
                    <a:pt x="605" y="88"/>
                  </a:cubicBezTo>
                  <a:cubicBezTo>
                    <a:pt x="600" y="88"/>
                    <a:pt x="595" y="87"/>
                    <a:pt x="591" y="85"/>
                  </a:cubicBezTo>
                  <a:cubicBezTo>
                    <a:pt x="587" y="83"/>
                    <a:pt x="583" y="81"/>
                    <a:pt x="580" y="77"/>
                  </a:cubicBezTo>
                  <a:cubicBezTo>
                    <a:pt x="577" y="74"/>
                    <a:pt x="575" y="70"/>
                    <a:pt x="573" y="65"/>
                  </a:cubicBezTo>
                  <a:cubicBezTo>
                    <a:pt x="572" y="60"/>
                    <a:pt x="571" y="54"/>
                    <a:pt x="571" y="47"/>
                  </a:cubicBezTo>
                  <a:cubicBezTo>
                    <a:pt x="571" y="41"/>
                    <a:pt x="572" y="35"/>
                    <a:pt x="573" y="29"/>
                  </a:cubicBezTo>
                  <a:cubicBezTo>
                    <a:pt x="575" y="24"/>
                    <a:pt x="578" y="20"/>
                    <a:pt x="581" y="16"/>
                  </a:cubicBezTo>
                  <a:cubicBezTo>
                    <a:pt x="584" y="12"/>
                    <a:pt x="588" y="10"/>
                    <a:pt x="592" y="8"/>
                  </a:cubicBezTo>
                  <a:cubicBezTo>
                    <a:pt x="596" y="6"/>
                    <a:pt x="601" y="5"/>
                    <a:pt x="606" y="5"/>
                  </a:cubicBezTo>
                  <a:cubicBezTo>
                    <a:pt x="609" y="5"/>
                    <a:pt x="611" y="5"/>
                    <a:pt x="613" y="5"/>
                  </a:cubicBezTo>
                  <a:cubicBezTo>
                    <a:pt x="615" y="6"/>
                    <a:pt x="617" y="6"/>
                    <a:pt x="619" y="7"/>
                  </a:cubicBezTo>
                  <a:cubicBezTo>
                    <a:pt x="621" y="8"/>
                    <a:pt x="623" y="9"/>
                    <a:pt x="624" y="9"/>
                  </a:cubicBezTo>
                  <a:cubicBezTo>
                    <a:pt x="626" y="10"/>
                    <a:pt x="627" y="11"/>
                    <a:pt x="627" y="12"/>
                  </a:cubicBezTo>
                  <a:cubicBezTo>
                    <a:pt x="628" y="12"/>
                    <a:pt x="628" y="13"/>
                    <a:pt x="628" y="13"/>
                  </a:cubicBezTo>
                  <a:cubicBezTo>
                    <a:pt x="629" y="13"/>
                    <a:pt x="629" y="13"/>
                    <a:pt x="629" y="14"/>
                  </a:cubicBezTo>
                  <a:cubicBezTo>
                    <a:pt x="629" y="14"/>
                    <a:pt x="629" y="15"/>
                    <a:pt x="629" y="15"/>
                  </a:cubicBezTo>
                  <a:cubicBezTo>
                    <a:pt x="629" y="16"/>
                    <a:pt x="629" y="16"/>
                    <a:pt x="629" y="17"/>
                  </a:cubicBezTo>
                  <a:cubicBezTo>
                    <a:pt x="629" y="18"/>
                    <a:pt x="629" y="19"/>
                    <a:pt x="629" y="19"/>
                  </a:cubicBezTo>
                  <a:cubicBezTo>
                    <a:pt x="629" y="20"/>
                    <a:pt x="629" y="20"/>
                    <a:pt x="629" y="21"/>
                  </a:cubicBezTo>
                  <a:cubicBezTo>
                    <a:pt x="629" y="21"/>
                    <a:pt x="628" y="21"/>
                    <a:pt x="628" y="22"/>
                  </a:cubicBezTo>
                  <a:cubicBezTo>
                    <a:pt x="628" y="22"/>
                    <a:pt x="628" y="22"/>
                    <a:pt x="627" y="22"/>
                  </a:cubicBezTo>
                  <a:cubicBezTo>
                    <a:pt x="627" y="22"/>
                    <a:pt x="626" y="22"/>
                    <a:pt x="625" y="21"/>
                  </a:cubicBezTo>
                  <a:cubicBezTo>
                    <a:pt x="624" y="20"/>
                    <a:pt x="622" y="19"/>
                    <a:pt x="621" y="18"/>
                  </a:cubicBezTo>
                  <a:cubicBezTo>
                    <a:pt x="619" y="17"/>
                    <a:pt x="617" y="16"/>
                    <a:pt x="615" y="15"/>
                  </a:cubicBezTo>
                  <a:cubicBezTo>
                    <a:pt x="612" y="15"/>
                    <a:pt x="610" y="14"/>
                    <a:pt x="606" y="14"/>
                  </a:cubicBezTo>
                  <a:cubicBezTo>
                    <a:pt x="603" y="14"/>
                    <a:pt x="599" y="15"/>
                    <a:pt x="596" y="16"/>
                  </a:cubicBezTo>
                  <a:cubicBezTo>
                    <a:pt x="593" y="18"/>
                    <a:pt x="591" y="20"/>
                    <a:pt x="589" y="23"/>
                  </a:cubicBezTo>
                  <a:cubicBezTo>
                    <a:pt x="587" y="25"/>
                    <a:pt x="585" y="29"/>
                    <a:pt x="584" y="33"/>
                  </a:cubicBezTo>
                  <a:cubicBezTo>
                    <a:pt x="583" y="37"/>
                    <a:pt x="582" y="41"/>
                    <a:pt x="582" y="47"/>
                  </a:cubicBezTo>
                  <a:cubicBezTo>
                    <a:pt x="582" y="52"/>
                    <a:pt x="583" y="56"/>
                    <a:pt x="584" y="60"/>
                  </a:cubicBezTo>
                  <a:cubicBezTo>
                    <a:pt x="585" y="64"/>
                    <a:pt x="587" y="67"/>
                    <a:pt x="589" y="70"/>
                  </a:cubicBezTo>
                  <a:cubicBezTo>
                    <a:pt x="591" y="73"/>
                    <a:pt x="593" y="75"/>
                    <a:pt x="596" y="76"/>
                  </a:cubicBezTo>
                  <a:cubicBezTo>
                    <a:pt x="599" y="77"/>
                    <a:pt x="603" y="78"/>
                    <a:pt x="607" y="78"/>
                  </a:cubicBezTo>
                  <a:cubicBezTo>
                    <a:pt x="610" y="78"/>
                    <a:pt x="613" y="78"/>
                    <a:pt x="615" y="77"/>
                  </a:cubicBezTo>
                  <a:cubicBezTo>
                    <a:pt x="617" y="76"/>
                    <a:pt x="619" y="75"/>
                    <a:pt x="621" y="74"/>
                  </a:cubicBezTo>
                  <a:cubicBezTo>
                    <a:pt x="623" y="73"/>
                    <a:pt x="624" y="72"/>
                    <a:pt x="625" y="72"/>
                  </a:cubicBezTo>
                  <a:cubicBezTo>
                    <a:pt x="626" y="71"/>
                    <a:pt x="627" y="70"/>
                    <a:pt x="628" y="70"/>
                  </a:cubicBezTo>
                  <a:cubicBezTo>
                    <a:pt x="628" y="70"/>
                    <a:pt x="628" y="71"/>
                    <a:pt x="629" y="71"/>
                  </a:cubicBezTo>
                  <a:cubicBezTo>
                    <a:pt x="629" y="71"/>
                    <a:pt x="629" y="71"/>
                    <a:pt x="629" y="71"/>
                  </a:cubicBezTo>
                  <a:cubicBezTo>
                    <a:pt x="629" y="72"/>
                    <a:pt x="629" y="72"/>
                    <a:pt x="629" y="73"/>
                  </a:cubicBezTo>
                  <a:cubicBezTo>
                    <a:pt x="630" y="73"/>
                    <a:pt x="630" y="74"/>
                    <a:pt x="630" y="75"/>
                  </a:cubicBezTo>
                  <a:close/>
                  <a:moveTo>
                    <a:pt x="687" y="85"/>
                  </a:moveTo>
                  <a:cubicBezTo>
                    <a:pt x="687" y="85"/>
                    <a:pt x="687" y="86"/>
                    <a:pt x="687" y="86"/>
                  </a:cubicBezTo>
                  <a:cubicBezTo>
                    <a:pt x="686" y="86"/>
                    <a:pt x="686" y="86"/>
                    <a:pt x="686" y="87"/>
                  </a:cubicBezTo>
                  <a:cubicBezTo>
                    <a:pt x="685" y="87"/>
                    <a:pt x="685" y="87"/>
                    <a:pt x="684" y="87"/>
                  </a:cubicBezTo>
                  <a:cubicBezTo>
                    <a:pt x="683" y="87"/>
                    <a:pt x="683" y="87"/>
                    <a:pt x="682" y="87"/>
                  </a:cubicBezTo>
                  <a:cubicBezTo>
                    <a:pt x="681" y="87"/>
                    <a:pt x="680" y="87"/>
                    <a:pt x="679" y="87"/>
                  </a:cubicBezTo>
                  <a:cubicBezTo>
                    <a:pt x="678" y="87"/>
                    <a:pt x="678" y="87"/>
                    <a:pt x="678" y="87"/>
                  </a:cubicBezTo>
                  <a:cubicBezTo>
                    <a:pt x="677" y="86"/>
                    <a:pt x="677" y="86"/>
                    <a:pt x="677" y="86"/>
                  </a:cubicBezTo>
                  <a:cubicBezTo>
                    <a:pt x="677" y="86"/>
                    <a:pt x="676" y="85"/>
                    <a:pt x="676" y="85"/>
                  </a:cubicBezTo>
                  <a:lnTo>
                    <a:pt x="676" y="52"/>
                  </a:lnTo>
                  <a:cubicBezTo>
                    <a:pt x="676" y="49"/>
                    <a:pt x="676" y="46"/>
                    <a:pt x="676" y="44"/>
                  </a:cubicBezTo>
                  <a:cubicBezTo>
                    <a:pt x="675" y="42"/>
                    <a:pt x="674" y="41"/>
                    <a:pt x="674" y="39"/>
                  </a:cubicBezTo>
                  <a:cubicBezTo>
                    <a:pt x="673" y="38"/>
                    <a:pt x="671" y="37"/>
                    <a:pt x="670" y="36"/>
                  </a:cubicBezTo>
                  <a:cubicBezTo>
                    <a:pt x="668" y="35"/>
                    <a:pt x="667" y="35"/>
                    <a:pt x="665" y="35"/>
                  </a:cubicBezTo>
                  <a:cubicBezTo>
                    <a:pt x="662" y="35"/>
                    <a:pt x="659" y="36"/>
                    <a:pt x="657" y="38"/>
                  </a:cubicBezTo>
                  <a:cubicBezTo>
                    <a:pt x="654" y="40"/>
                    <a:pt x="651" y="42"/>
                    <a:pt x="649" y="46"/>
                  </a:cubicBezTo>
                  <a:lnTo>
                    <a:pt x="649" y="85"/>
                  </a:lnTo>
                  <a:cubicBezTo>
                    <a:pt x="649" y="85"/>
                    <a:pt x="649" y="86"/>
                    <a:pt x="648" y="86"/>
                  </a:cubicBezTo>
                  <a:cubicBezTo>
                    <a:pt x="648" y="86"/>
                    <a:pt x="648" y="86"/>
                    <a:pt x="648" y="87"/>
                  </a:cubicBezTo>
                  <a:cubicBezTo>
                    <a:pt x="647" y="87"/>
                    <a:pt x="647" y="87"/>
                    <a:pt x="646" y="87"/>
                  </a:cubicBezTo>
                  <a:cubicBezTo>
                    <a:pt x="645" y="87"/>
                    <a:pt x="645" y="87"/>
                    <a:pt x="643" y="87"/>
                  </a:cubicBezTo>
                  <a:cubicBezTo>
                    <a:pt x="642" y="87"/>
                    <a:pt x="642" y="87"/>
                    <a:pt x="641" y="87"/>
                  </a:cubicBezTo>
                  <a:cubicBezTo>
                    <a:pt x="640" y="87"/>
                    <a:pt x="640" y="87"/>
                    <a:pt x="639" y="87"/>
                  </a:cubicBezTo>
                  <a:cubicBezTo>
                    <a:pt x="639" y="86"/>
                    <a:pt x="639" y="86"/>
                    <a:pt x="639" y="86"/>
                  </a:cubicBezTo>
                  <a:cubicBezTo>
                    <a:pt x="638" y="86"/>
                    <a:pt x="638" y="85"/>
                    <a:pt x="638" y="85"/>
                  </a:cubicBezTo>
                  <a:lnTo>
                    <a:pt x="638" y="2"/>
                  </a:lnTo>
                  <a:cubicBezTo>
                    <a:pt x="638" y="1"/>
                    <a:pt x="638" y="1"/>
                    <a:pt x="639" y="1"/>
                  </a:cubicBezTo>
                  <a:cubicBezTo>
                    <a:pt x="639" y="0"/>
                    <a:pt x="639" y="0"/>
                    <a:pt x="639" y="0"/>
                  </a:cubicBezTo>
                  <a:cubicBezTo>
                    <a:pt x="640" y="0"/>
                    <a:pt x="640" y="0"/>
                    <a:pt x="641" y="0"/>
                  </a:cubicBezTo>
                  <a:cubicBezTo>
                    <a:pt x="642" y="0"/>
                    <a:pt x="642" y="0"/>
                    <a:pt x="643" y="0"/>
                  </a:cubicBezTo>
                  <a:cubicBezTo>
                    <a:pt x="645" y="0"/>
                    <a:pt x="645" y="0"/>
                    <a:pt x="646" y="0"/>
                  </a:cubicBezTo>
                  <a:cubicBezTo>
                    <a:pt x="647" y="0"/>
                    <a:pt x="647" y="0"/>
                    <a:pt x="648" y="0"/>
                  </a:cubicBezTo>
                  <a:cubicBezTo>
                    <a:pt x="648" y="0"/>
                    <a:pt x="648" y="0"/>
                    <a:pt x="648" y="1"/>
                  </a:cubicBezTo>
                  <a:cubicBezTo>
                    <a:pt x="649" y="1"/>
                    <a:pt x="649" y="1"/>
                    <a:pt x="649" y="2"/>
                  </a:cubicBezTo>
                  <a:lnTo>
                    <a:pt x="649" y="35"/>
                  </a:lnTo>
                  <a:cubicBezTo>
                    <a:pt x="652" y="32"/>
                    <a:pt x="655" y="30"/>
                    <a:pt x="658" y="28"/>
                  </a:cubicBezTo>
                  <a:cubicBezTo>
                    <a:pt x="661" y="27"/>
                    <a:pt x="664" y="26"/>
                    <a:pt x="667" y="26"/>
                  </a:cubicBezTo>
                  <a:cubicBezTo>
                    <a:pt x="670" y="26"/>
                    <a:pt x="674" y="27"/>
                    <a:pt x="676" y="28"/>
                  </a:cubicBezTo>
                  <a:cubicBezTo>
                    <a:pt x="679" y="29"/>
                    <a:pt x="681" y="31"/>
                    <a:pt x="682" y="33"/>
                  </a:cubicBezTo>
                  <a:cubicBezTo>
                    <a:pt x="684" y="35"/>
                    <a:pt x="685" y="38"/>
                    <a:pt x="686" y="40"/>
                  </a:cubicBezTo>
                  <a:cubicBezTo>
                    <a:pt x="686" y="43"/>
                    <a:pt x="687" y="47"/>
                    <a:pt x="687" y="51"/>
                  </a:cubicBezTo>
                  <a:lnTo>
                    <a:pt x="687" y="85"/>
                  </a:lnTo>
                  <a:close/>
                  <a:moveTo>
                    <a:pt x="750" y="55"/>
                  </a:moveTo>
                  <a:cubicBezTo>
                    <a:pt x="750" y="56"/>
                    <a:pt x="750" y="57"/>
                    <a:pt x="749" y="58"/>
                  </a:cubicBezTo>
                  <a:cubicBezTo>
                    <a:pt x="748" y="59"/>
                    <a:pt x="747" y="59"/>
                    <a:pt x="746" y="59"/>
                  </a:cubicBezTo>
                  <a:lnTo>
                    <a:pt x="709" y="59"/>
                  </a:lnTo>
                  <a:cubicBezTo>
                    <a:pt x="709" y="62"/>
                    <a:pt x="710" y="65"/>
                    <a:pt x="710" y="67"/>
                  </a:cubicBezTo>
                  <a:cubicBezTo>
                    <a:pt x="711" y="70"/>
                    <a:pt x="712" y="72"/>
                    <a:pt x="713" y="74"/>
                  </a:cubicBezTo>
                  <a:cubicBezTo>
                    <a:pt x="715" y="76"/>
                    <a:pt x="717" y="77"/>
                    <a:pt x="719" y="78"/>
                  </a:cubicBezTo>
                  <a:cubicBezTo>
                    <a:pt x="721" y="79"/>
                    <a:pt x="724" y="79"/>
                    <a:pt x="728" y="79"/>
                  </a:cubicBezTo>
                  <a:cubicBezTo>
                    <a:pt x="730" y="79"/>
                    <a:pt x="733" y="79"/>
                    <a:pt x="735" y="79"/>
                  </a:cubicBezTo>
                  <a:cubicBezTo>
                    <a:pt x="737" y="78"/>
                    <a:pt x="739" y="78"/>
                    <a:pt x="740" y="77"/>
                  </a:cubicBezTo>
                  <a:cubicBezTo>
                    <a:pt x="742" y="77"/>
                    <a:pt x="743" y="76"/>
                    <a:pt x="744" y="76"/>
                  </a:cubicBezTo>
                  <a:cubicBezTo>
                    <a:pt x="745" y="75"/>
                    <a:pt x="746" y="75"/>
                    <a:pt x="746" y="75"/>
                  </a:cubicBezTo>
                  <a:cubicBezTo>
                    <a:pt x="747" y="75"/>
                    <a:pt x="747" y="75"/>
                    <a:pt x="747" y="75"/>
                  </a:cubicBezTo>
                  <a:cubicBezTo>
                    <a:pt x="747" y="76"/>
                    <a:pt x="747" y="76"/>
                    <a:pt x="748" y="76"/>
                  </a:cubicBezTo>
                  <a:cubicBezTo>
                    <a:pt x="748" y="76"/>
                    <a:pt x="748" y="77"/>
                    <a:pt x="748" y="77"/>
                  </a:cubicBezTo>
                  <a:cubicBezTo>
                    <a:pt x="748" y="78"/>
                    <a:pt x="748" y="78"/>
                    <a:pt x="748" y="79"/>
                  </a:cubicBezTo>
                  <a:cubicBezTo>
                    <a:pt x="748" y="80"/>
                    <a:pt x="748" y="80"/>
                    <a:pt x="748" y="81"/>
                  </a:cubicBezTo>
                  <a:cubicBezTo>
                    <a:pt x="748" y="81"/>
                    <a:pt x="748" y="81"/>
                    <a:pt x="748" y="82"/>
                  </a:cubicBezTo>
                  <a:cubicBezTo>
                    <a:pt x="748" y="82"/>
                    <a:pt x="748" y="82"/>
                    <a:pt x="747" y="83"/>
                  </a:cubicBezTo>
                  <a:cubicBezTo>
                    <a:pt x="747" y="83"/>
                    <a:pt x="747" y="83"/>
                    <a:pt x="747" y="83"/>
                  </a:cubicBezTo>
                  <a:cubicBezTo>
                    <a:pt x="747" y="83"/>
                    <a:pt x="746" y="84"/>
                    <a:pt x="745" y="84"/>
                  </a:cubicBezTo>
                  <a:cubicBezTo>
                    <a:pt x="744" y="85"/>
                    <a:pt x="742" y="85"/>
                    <a:pt x="740" y="86"/>
                  </a:cubicBezTo>
                  <a:cubicBezTo>
                    <a:pt x="739" y="86"/>
                    <a:pt x="737" y="87"/>
                    <a:pt x="734" y="87"/>
                  </a:cubicBezTo>
                  <a:cubicBezTo>
                    <a:pt x="732" y="88"/>
                    <a:pt x="729" y="88"/>
                    <a:pt x="727" y="88"/>
                  </a:cubicBezTo>
                  <a:cubicBezTo>
                    <a:pt x="722" y="88"/>
                    <a:pt x="718" y="87"/>
                    <a:pt x="715" y="86"/>
                  </a:cubicBezTo>
                  <a:cubicBezTo>
                    <a:pt x="711" y="85"/>
                    <a:pt x="708" y="83"/>
                    <a:pt x="706" y="80"/>
                  </a:cubicBezTo>
                  <a:cubicBezTo>
                    <a:pt x="703" y="78"/>
                    <a:pt x="702" y="74"/>
                    <a:pt x="700" y="71"/>
                  </a:cubicBezTo>
                  <a:cubicBezTo>
                    <a:pt x="699" y="67"/>
                    <a:pt x="699" y="62"/>
                    <a:pt x="699" y="57"/>
                  </a:cubicBezTo>
                  <a:cubicBezTo>
                    <a:pt x="699" y="52"/>
                    <a:pt x="699" y="48"/>
                    <a:pt x="700" y="44"/>
                  </a:cubicBezTo>
                  <a:cubicBezTo>
                    <a:pt x="702" y="40"/>
                    <a:pt x="704" y="37"/>
                    <a:pt x="706" y="34"/>
                  </a:cubicBezTo>
                  <a:cubicBezTo>
                    <a:pt x="708" y="32"/>
                    <a:pt x="711" y="30"/>
                    <a:pt x="714" y="28"/>
                  </a:cubicBezTo>
                  <a:cubicBezTo>
                    <a:pt x="718" y="27"/>
                    <a:pt x="721" y="26"/>
                    <a:pt x="726" y="26"/>
                  </a:cubicBezTo>
                  <a:cubicBezTo>
                    <a:pt x="730" y="26"/>
                    <a:pt x="734" y="27"/>
                    <a:pt x="737" y="28"/>
                  </a:cubicBezTo>
                  <a:cubicBezTo>
                    <a:pt x="740" y="30"/>
                    <a:pt x="743" y="31"/>
                    <a:pt x="745" y="34"/>
                  </a:cubicBezTo>
                  <a:cubicBezTo>
                    <a:pt x="747" y="36"/>
                    <a:pt x="748" y="39"/>
                    <a:pt x="749" y="42"/>
                  </a:cubicBezTo>
                  <a:cubicBezTo>
                    <a:pt x="750" y="46"/>
                    <a:pt x="750" y="49"/>
                    <a:pt x="750" y="53"/>
                  </a:cubicBezTo>
                  <a:lnTo>
                    <a:pt x="750" y="55"/>
                  </a:lnTo>
                  <a:close/>
                  <a:moveTo>
                    <a:pt x="740" y="51"/>
                  </a:moveTo>
                  <a:cubicBezTo>
                    <a:pt x="740" y="46"/>
                    <a:pt x="739" y="42"/>
                    <a:pt x="736" y="39"/>
                  </a:cubicBezTo>
                  <a:cubicBezTo>
                    <a:pt x="734" y="36"/>
                    <a:pt x="730" y="34"/>
                    <a:pt x="725" y="34"/>
                  </a:cubicBezTo>
                  <a:cubicBezTo>
                    <a:pt x="723" y="34"/>
                    <a:pt x="720" y="35"/>
                    <a:pt x="718" y="36"/>
                  </a:cubicBezTo>
                  <a:cubicBezTo>
                    <a:pt x="716" y="36"/>
                    <a:pt x="715" y="38"/>
                    <a:pt x="714" y="39"/>
                  </a:cubicBezTo>
                  <a:cubicBezTo>
                    <a:pt x="712" y="41"/>
                    <a:pt x="711" y="43"/>
                    <a:pt x="710" y="45"/>
                  </a:cubicBezTo>
                  <a:cubicBezTo>
                    <a:pt x="710" y="47"/>
                    <a:pt x="709" y="49"/>
                    <a:pt x="709" y="51"/>
                  </a:cubicBezTo>
                  <a:lnTo>
                    <a:pt x="740" y="51"/>
                  </a:lnTo>
                  <a:close/>
                  <a:moveTo>
                    <a:pt x="807" y="77"/>
                  </a:moveTo>
                  <a:cubicBezTo>
                    <a:pt x="807" y="77"/>
                    <a:pt x="807" y="78"/>
                    <a:pt x="807" y="78"/>
                  </a:cubicBezTo>
                  <a:cubicBezTo>
                    <a:pt x="807" y="79"/>
                    <a:pt x="807" y="79"/>
                    <a:pt x="807" y="80"/>
                  </a:cubicBezTo>
                  <a:cubicBezTo>
                    <a:pt x="806" y="80"/>
                    <a:pt x="806" y="80"/>
                    <a:pt x="806" y="81"/>
                  </a:cubicBezTo>
                  <a:cubicBezTo>
                    <a:pt x="806" y="81"/>
                    <a:pt x="806" y="81"/>
                    <a:pt x="805" y="82"/>
                  </a:cubicBezTo>
                  <a:cubicBezTo>
                    <a:pt x="805" y="82"/>
                    <a:pt x="804" y="83"/>
                    <a:pt x="802" y="84"/>
                  </a:cubicBezTo>
                  <a:cubicBezTo>
                    <a:pt x="801" y="85"/>
                    <a:pt x="800" y="85"/>
                    <a:pt x="798" y="86"/>
                  </a:cubicBezTo>
                  <a:cubicBezTo>
                    <a:pt x="797" y="86"/>
                    <a:pt x="795" y="87"/>
                    <a:pt x="793" y="87"/>
                  </a:cubicBezTo>
                  <a:cubicBezTo>
                    <a:pt x="791" y="88"/>
                    <a:pt x="789" y="88"/>
                    <a:pt x="787" y="88"/>
                  </a:cubicBezTo>
                  <a:cubicBezTo>
                    <a:pt x="783" y="88"/>
                    <a:pt x="780" y="87"/>
                    <a:pt x="777" y="86"/>
                  </a:cubicBezTo>
                  <a:cubicBezTo>
                    <a:pt x="774" y="85"/>
                    <a:pt x="771" y="83"/>
                    <a:pt x="769" y="80"/>
                  </a:cubicBezTo>
                  <a:cubicBezTo>
                    <a:pt x="767" y="77"/>
                    <a:pt x="765" y="74"/>
                    <a:pt x="764" y="71"/>
                  </a:cubicBezTo>
                  <a:cubicBezTo>
                    <a:pt x="763" y="67"/>
                    <a:pt x="762" y="63"/>
                    <a:pt x="762" y="58"/>
                  </a:cubicBezTo>
                  <a:cubicBezTo>
                    <a:pt x="762" y="52"/>
                    <a:pt x="763" y="47"/>
                    <a:pt x="764" y="43"/>
                  </a:cubicBezTo>
                  <a:cubicBezTo>
                    <a:pt x="766" y="39"/>
                    <a:pt x="768" y="36"/>
                    <a:pt x="770" y="34"/>
                  </a:cubicBezTo>
                  <a:cubicBezTo>
                    <a:pt x="772" y="31"/>
                    <a:pt x="775" y="29"/>
                    <a:pt x="778" y="28"/>
                  </a:cubicBezTo>
                  <a:cubicBezTo>
                    <a:pt x="782" y="27"/>
                    <a:pt x="785" y="26"/>
                    <a:pt x="789" y="26"/>
                  </a:cubicBezTo>
                  <a:cubicBezTo>
                    <a:pt x="790" y="26"/>
                    <a:pt x="792" y="26"/>
                    <a:pt x="794" y="27"/>
                  </a:cubicBezTo>
                  <a:cubicBezTo>
                    <a:pt x="796" y="27"/>
                    <a:pt x="797" y="27"/>
                    <a:pt x="799" y="28"/>
                  </a:cubicBezTo>
                  <a:cubicBezTo>
                    <a:pt x="800" y="28"/>
                    <a:pt x="801" y="29"/>
                    <a:pt x="802" y="30"/>
                  </a:cubicBezTo>
                  <a:cubicBezTo>
                    <a:pt x="803" y="30"/>
                    <a:pt x="804" y="31"/>
                    <a:pt x="805" y="32"/>
                  </a:cubicBezTo>
                  <a:cubicBezTo>
                    <a:pt x="805" y="32"/>
                    <a:pt x="806" y="32"/>
                    <a:pt x="806" y="33"/>
                  </a:cubicBezTo>
                  <a:cubicBezTo>
                    <a:pt x="806" y="33"/>
                    <a:pt x="806" y="33"/>
                    <a:pt x="806" y="34"/>
                  </a:cubicBezTo>
                  <a:cubicBezTo>
                    <a:pt x="806" y="34"/>
                    <a:pt x="806" y="35"/>
                    <a:pt x="806" y="35"/>
                  </a:cubicBezTo>
                  <a:cubicBezTo>
                    <a:pt x="807" y="36"/>
                    <a:pt x="807" y="36"/>
                    <a:pt x="807" y="37"/>
                  </a:cubicBezTo>
                  <a:cubicBezTo>
                    <a:pt x="807" y="39"/>
                    <a:pt x="806" y="40"/>
                    <a:pt x="806" y="40"/>
                  </a:cubicBezTo>
                  <a:cubicBezTo>
                    <a:pt x="806" y="41"/>
                    <a:pt x="805" y="41"/>
                    <a:pt x="805" y="41"/>
                  </a:cubicBezTo>
                  <a:cubicBezTo>
                    <a:pt x="804" y="41"/>
                    <a:pt x="803" y="41"/>
                    <a:pt x="802" y="40"/>
                  </a:cubicBezTo>
                  <a:cubicBezTo>
                    <a:pt x="802" y="40"/>
                    <a:pt x="801" y="39"/>
                    <a:pt x="799" y="38"/>
                  </a:cubicBezTo>
                  <a:cubicBezTo>
                    <a:pt x="798" y="37"/>
                    <a:pt x="797" y="36"/>
                    <a:pt x="795" y="36"/>
                  </a:cubicBezTo>
                  <a:cubicBezTo>
                    <a:pt x="793" y="35"/>
                    <a:pt x="791" y="35"/>
                    <a:pt x="789" y="35"/>
                  </a:cubicBezTo>
                  <a:cubicBezTo>
                    <a:pt x="784" y="35"/>
                    <a:pt x="780" y="37"/>
                    <a:pt x="777" y="40"/>
                  </a:cubicBezTo>
                  <a:cubicBezTo>
                    <a:pt x="774" y="44"/>
                    <a:pt x="773" y="50"/>
                    <a:pt x="773" y="57"/>
                  </a:cubicBezTo>
                  <a:cubicBezTo>
                    <a:pt x="773" y="61"/>
                    <a:pt x="774" y="64"/>
                    <a:pt x="774" y="67"/>
                  </a:cubicBezTo>
                  <a:cubicBezTo>
                    <a:pt x="775" y="69"/>
                    <a:pt x="776" y="72"/>
                    <a:pt x="777" y="73"/>
                  </a:cubicBezTo>
                  <a:cubicBezTo>
                    <a:pt x="779" y="75"/>
                    <a:pt x="780" y="77"/>
                    <a:pt x="782" y="78"/>
                  </a:cubicBezTo>
                  <a:cubicBezTo>
                    <a:pt x="784" y="78"/>
                    <a:pt x="786" y="79"/>
                    <a:pt x="789" y="79"/>
                  </a:cubicBezTo>
                  <a:cubicBezTo>
                    <a:pt x="791" y="79"/>
                    <a:pt x="793" y="79"/>
                    <a:pt x="795" y="78"/>
                  </a:cubicBezTo>
                  <a:cubicBezTo>
                    <a:pt x="797" y="77"/>
                    <a:pt x="798" y="76"/>
                    <a:pt x="800" y="75"/>
                  </a:cubicBezTo>
                  <a:cubicBezTo>
                    <a:pt x="801" y="74"/>
                    <a:pt x="802" y="74"/>
                    <a:pt x="803" y="73"/>
                  </a:cubicBezTo>
                  <a:cubicBezTo>
                    <a:pt x="804" y="72"/>
                    <a:pt x="805" y="72"/>
                    <a:pt x="805" y="72"/>
                  </a:cubicBezTo>
                  <a:cubicBezTo>
                    <a:pt x="805" y="72"/>
                    <a:pt x="806" y="72"/>
                    <a:pt x="806" y="72"/>
                  </a:cubicBezTo>
                  <a:cubicBezTo>
                    <a:pt x="806" y="72"/>
                    <a:pt x="806" y="72"/>
                    <a:pt x="806" y="73"/>
                  </a:cubicBezTo>
                  <a:cubicBezTo>
                    <a:pt x="807" y="73"/>
                    <a:pt x="807" y="74"/>
                    <a:pt x="807" y="74"/>
                  </a:cubicBezTo>
                  <a:cubicBezTo>
                    <a:pt x="807" y="75"/>
                    <a:pt x="807" y="76"/>
                    <a:pt x="807" y="77"/>
                  </a:cubicBezTo>
                  <a:close/>
                  <a:moveTo>
                    <a:pt x="877" y="85"/>
                  </a:moveTo>
                  <a:cubicBezTo>
                    <a:pt x="877" y="85"/>
                    <a:pt x="876" y="86"/>
                    <a:pt x="876" y="86"/>
                  </a:cubicBezTo>
                  <a:cubicBezTo>
                    <a:pt x="876" y="86"/>
                    <a:pt x="876" y="86"/>
                    <a:pt x="875" y="87"/>
                  </a:cubicBezTo>
                  <a:cubicBezTo>
                    <a:pt x="875" y="87"/>
                    <a:pt x="874" y="87"/>
                    <a:pt x="874" y="87"/>
                  </a:cubicBezTo>
                  <a:cubicBezTo>
                    <a:pt x="873" y="87"/>
                    <a:pt x="872" y="87"/>
                    <a:pt x="871" y="87"/>
                  </a:cubicBezTo>
                  <a:cubicBezTo>
                    <a:pt x="870" y="87"/>
                    <a:pt x="869" y="87"/>
                    <a:pt x="868" y="87"/>
                  </a:cubicBezTo>
                  <a:cubicBezTo>
                    <a:pt x="868" y="87"/>
                    <a:pt x="867" y="87"/>
                    <a:pt x="866" y="87"/>
                  </a:cubicBezTo>
                  <a:cubicBezTo>
                    <a:pt x="866" y="86"/>
                    <a:pt x="866" y="86"/>
                    <a:pt x="865" y="86"/>
                  </a:cubicBezTo>
                  <a:cubicBezTo>
                    <a:pt x="865" y="86"/>
                    <a:pt x="865" y="85"/>
                    <a:pt x="864" y="85"/>
                  </a:cubicBezTo>
                  <a:lnTo>
                    <a:pt x="841" y="54"/>
                  </a:lnTo>
                  <a:lnTo>
                    <a:pt x="841" y="85"/>
                  </a:lnTo>
                  <a:cubicBezTo>
                    <a:pt x="841" y="85"/>
                    <a:pt x="841" y="86"/>
                    <a:pt x="840" y="86"/>
                  </a:cubicBezTo>
                  <a:cubicBezTo>
                    <a:pt x="840" y="86"/>
                    <a:pt x="840" y="86"/>
                    <a:pt x="840" y="87"/>
                  </a:cubicBezTo>
                  <a:cubicBezTo>
                    <a:pt x="839" y="87"/>
                    <a:pt x="839" y="87"/>
                    <a:pt x="838" y="87"/>
                  </a:cubicBezTo>
                  <a:cubicBezTo>
                    <a:pt x="837" y="87"/>
                    <a:pt x="837" y="87"/>
                    <a:pt x="835" y="87"/>
                  </a:cubicBezTo>
                  <a:cubicBezTo>
                    <a:pt x="834" y="87"/>
                    <a:pt x="834" y="87"/>
                    <a:pt x="833" y="87"/>
                  </a:cubicBezTo>
                  <a:cubicBezTo>
                    <a:pt x="832" y="87"/>
                    <a:pt x="832" y="87"/>
                    <a:pt x="831" y="87"/>
                  </a:cubicBezTo>
                  <a:cubicBezTo>
                    <a:pt x="831" y="86"/>
                    <a:pt x="831" y="86"/>
                    <a:pt x="831" y="86"/>
                  </a:cubicBezTo>
                  <a:cubicBezTo>
                    <a:pt x="830" y="86"/>
                    <a:pt x="830" y="85"/>
                    <a:pt x="830" y="85"/>
                  </a:cubicBezTo>
                  <a:lnTo>
                    <a:pt x="830" y="2"/>
                  </a:lnTo>
                  <a:cubicBezTo>
                    <a:pt x="830" y="1"/>
                    <a:pt x="830" y="1"/>
                    <a:pt x="831" y="1"/>
                  </a:cubicBezTo>
                  <a:cubicBezTo>
                    <a:pt x="831" y="0"/>
                    <a:pt x="831" y="0"/>
                    <a:pt x="831" y="0"/>
                  </a:cubicBezTo>
                  <a:cubicBezTo>
                    <a:pt x="832" y="0"/>
                    <a:pt x="832" y="0"/>
                    <a:pt x="833" y="0"/>
                  </a:cubicBezTo>
                  <a:cubicBezTo>
                    <a:pt x="834" y="0"/>
                    <a:pt x="834" y="0"/>
                    <a:pt x="835" y="0"/>
                  </a:cubicBezTo>
                  <a:cubicBezTo>
                    <a:pt x="837" y="0"/>
                    <a:pt x="837" y="0"/>
                    <a:pt x="838" y="0"/>
                  </a:cubicBezTo>
                  <a:cubicBezTo>
                    <a:pt x="839" y="0"/>
                    <a:pt x="839" y="0"/>
                    <a:pt x="840" y="0"/>
                  </a:cubicBezTo>
                  <a:cubicBezTo>
                    <a:pt x="840" y="0"/>
                    <a:pt x="840" y="0"/>
                    <a:pt x="840" y="1"/>
                  </a:cubicBezTo>
                  <a:cubicBezTo>
                    <a:pt x="841" y="1"/>
                    <a:pt x="841" y="1"/>
                    <a:pt x="841" y="2"/>
                  </a:cubicBezTo>
                  <a:lnTo>
                    <a:pt x="841" y="52"/>
                  </a:lnTo>
                  <a:lnTo>
                    <a:pt x="862" y="29"/>
                  </a:lnTo>
                  <a:cubicBezTo>
                    <a:pt x="862" y="29"/>
                    <a:pt x="863" y="28"/>
                    <a:pt x="863" y="28"/>
                  </a:cubicBezTo>
                  <a:cubicBezTo>
                    <a:pt x="863" y="28"/>
                    <a:pt x="864" y="28"/>
                    <a:pt x="864" y="27"/>
                  </a:cubicBezTo>
                  <a:cubicBezTo>
                    <a:pt x="865" y="27"/>
                    <a:pt x="865" y="27"/>
                    <a:pt x="866" y="27"/>
                  </a:cubicBezTo>
                  <a:cubicBezTo>
                    <a:pt x="867" y="27"/>
                    <a:pt x="868" y="27"/>
                    <a:pt x="869" y="27"/>
                  </a:cubicBezTo>
                  <a:cubicBezTo>
                    <a:pt x="870" y="27"/>
                    <a:pt x="871" y="27"/>
                    <a:pt x="871" y="27"/>
                  </a:cubicBezTo>
                  <a:cubicBezTo>
                    <a:pt x="872" y="27"/>
                    <a:pt x="873" y="27"/>
                    <a:pt x="873" y="27"/>
                  </a:cubicBezTo>
                  <a:cubicBezTo>
                    <a:pt x="874" y="27"/>
                    <a:pt x="874" y="28"/>
                    <a:pt x="874" y="28"/>
                  </a:cubicBezTo>
                  <a:cubicBezTo>
                    <a:pt x="874" y="28"/>
                    <a:pt x="874" y="28"/>
                    <a:pt x="874" y="29"/>
                  </a:cubicBezTo>
                  <a:cubicBezTo>
                    <a:pt x="874" y="29"/>
                    <a:pt x="874" y="30"/>
                    <a:pt x="874" y="30"/>
                  </a:cubicBezTo>
                  <a:cubicBezTo>
                    <a:pt x="874" y="31"/>
                    <a:pt x="873" y="31"/>
                    <a:pt x="873" y="32"/>
                  </a:cubicBezTo>
                  <a:lnTo>
                    <a:pt x="852" y="52"/>
                  </a:lnTo>
                  <a:lnTo>
                    <a:pt x="875" y="82"/>
                  </a:lnTo>
                  <a:cubicBezTo>
                    <a:pt x="876" y="83"/>
                    <a:pt x="876" y="83"/>
                    <a:pt x="876" y="84"/>
                  </a:cubicBezTo>
                  <a:cubicBezTo>
                    <a:pt x="876" y="84"/>
                    <a:pt x="877" y="85"/>
                    <a:pt x="877" y="85"/>
                  </a:cubicBezTo>
                  <a:close/>
                  <a:moveTo>
                    <a:pt x="931" y="56"/>
                  </a:moveTo>
                  <a:cubicBezTo>
                    <a:pt x="931" y="61"/>
                    <a:pt x="930" y="65"/>
                    <a:pt x="929" y="69"/>
                  </a:cubicBezTo>
                  <a:cubicBezTo>
                    <a:pt x="928" y="73"/>
                    <a:pt x="926" y="76"/>
                    <a:pt x="923" y="79"/>
                  </a:cubicBezTo>
                  <a:cubicBezTo>
                    <a:pt x="921" y="82"/>
                    <a:pt x="918" y="84"/>
                    <a:pt x="914" y="85"/>
                  </a:cubicBezTo>
                  <a:cubicBezTo>
                    <a:pt x="911" y="87"/>
                    <a:pt x="907" y="88"/>
                    <a:pt x="902" y="88"/>
                  </a:cubicBezTo>
                  <a:cubicBezTo>
                    <a:pt x="897" y="88"/>
                    <a:pt x="893" y="87"/>
                    <a:pt x="890" y="86"/>
                  </a:cubicBezTo>
                  <a:cubicBezTo>
                    <a:pt x="886" y="84"/>
                    <a:pt x="884" y="82"/>
                    <a:pt x="881" y="80"/>
                  </a:cubicBezTo>
                  <a:cubicBezTo>
                    <a:pt x="879" y="77"/>
                    <a:pt x="877" y="74"/>
                    <a:pt x="876" y="70"/>
                  </a:cubicBezTo>
                  <a:cubicBezTo>
                    <a:pt x="875" y="66"/>
                    <a:pt x="874" y="62"/>
                    <a:pt x="874" y="57"/>
                  </a:cubicBezTo>
                  <a:cubicBezTo>
                    <a:pt x="874" y="53"/>
                    <a:pt x="875" y="49"/>
                    <a:pt x="876" y="45"/>
                  </a:cubicBezTo>
                  <a:cubicBezTo>
                    <a:pt x="877" y="41"/>
                    <a:pt x="879" y="38"/>
                    <a:pt x="882" y="35"/>
                  </a:cubicBezTo>
                  <a:cubicBezTo>
                    <a:pt x="884" y="32"/>
                    <a:pt x="887" y="30"/>
                    <a:pt x="891" y="28"/>
                  </a:cubicBezTo>
                  <a:cubicBezTo>
                    <a:pt x="894" y="27"/>
                    <a:pt x="898" y="26"/>
                    <a:pt x="903" y="26"/>
                  </a:cubicBezTo>
                  <a:cubicBezTo>
                    <a:pt x="908" y="26"/>
                    <a:pt x="912" y="27"/>
                    <a:pt x="915" y="28"/>
                  </a:cubicBezTo>
                  <a:cubicBezTo>
                    <a:pt x="919" y="29"/>
                    <a:pt x="921" y="31"/>
                    <a:pt x="924" y="34"/>
                  </a:cubicBezTo>
                  <a:cubicBezTo>
                    <a:pt x="926" y="37"/>
                    <a:pt x="928" y="40"/>
                    <a:pt x="929" y="44"/>
                  </a:cubicBezTo>
                  <a:cubicBezTo>
                    <a:pt x="930" y="47"/>
                    <a:pt x="931" y="52"/>
                    <a:pt x="931" y="56"/>
                  </a:cubicBezTo>
                  <a:close/>
                  <a:moveTo>
                    <a:pt x="920" y="57"/>
                  </a:moveTo>
                  <a:cubicBezTo>
                    <a:pt x="920" y="54"/>
                    <a:pt x="920" y="51"/>
                    <a:pt x="919" y="48"/>
                  </a:cubicBezTo>
                  <a:cubicBezTo>
                    <a:pt x="919" y="46"/>
                    <a:pt x="918" y="43"/>
                    <a:pt x="916" y="41"/>
                  </a:cubicBezTo>
                  <a:cubicBezTo>
                    <a:pt x="915" y="39"/>
                    <a:pt x="913" y="38"/>
                    <a:pt x="911" y="36"/>
                  </a:cubicBezTo>
                  <a:cubicBezTo>
                    <a:pt x="909" y="35"/>
                    <a:pt x="906" y="35"/>
                    <a:pt x="903" y="35"/>
                  </a:cubicBezTo>
                  <a:cubicBezTo>
                    <a:pt x="900" y="35"/>
                    <a:pt x="897" y="35"/>
                    <a:pt x="895" y="36"/>
                  </a:cubicBezTo>
                  <a:cubicBezTo>
                    <a:pt x="893" y="37"/>
                    <a:pt x="891" y="39"/>
                    <a:pt x="889" y="41"/>
                  </a:cubicBezTo>
                  <a:cubicBezTo>
                    <a:pt x="888" y="43"/>
                    <a:pt x="887" y="45"/>
                    <a:pt x="886" y="48"/>
                  </a:cubicBezTo>
                  <a:cubicBezTo>
                    <a:pt x="885" y="51"/>
                    <a:pt x="885" y="54"/>
                    <a:pt x="885" y="57"/>
                  </a:cubicBezTo>
                  <a:cubicBezTo>
                    <a:pt x="885" y="60"/>
                    <a:pt x="885" y="63"/>
                    <a:pt x="886" y="65"/>
                  </a:cubicBezTo>
                  <a:cubicBezTo>
                    <a:pt x="887" y="68"/>
                    <a:pt x="887" y="71"/>
                    <a:pt x="889" y="73"/>
                  </a:cubicBezTo>
                  <a:cubicBezTo>
                    <a:pt x="890" y="75"/>
                    <a:pt x="892" y="76"/>
                    <a:pt x="894" y="77"/>
                  </a:cubicBezTo>
                  <a:cubicBezTo>
                    <a:pt x="896" y="79"/>
                    <a:pt x="899" y="79"/>
                    <a:pt x="902" y="79"/>
                  </a:cubicBezTo>
                  <a:cubicBezTo>
                    <a:pt x="905" y="79"/>
                    <a:pt x="908" y="79"/>
                    <a:pt x="910" y="78"/>
                  </a:cubicBezTo>
                  <a:cubicBezTo>
                    <a:pt x="913" y="76"/>
                    <a:pt x="914" y="75"/>
                    <a:pt x="916" y="73"/>
                  </a:cubicBezTo>
                  <a:cubicBezTo>
                    <a:pt x="917" y="71"/>
                    <a:pt x="918" y="69"/>
                    <a:pt x="919" y="66"/>
                  </a:cubicBezTo>
                  <a:cubicBezTo>
                    <a:pt x="920" y="63"/>
                    <a:pt x="920" y="60"/>
                    <a:pt x="920" y="57"/>
                  </a:cubicBezTo>
                  <a:close/>
                  <a:moveTo>
                    <a:pt x="991" y="85"/>
                  </a:moveTo>
                  <a:cubicBezTo>
                    <a:pt x="991" y="85"/>
                    <a:pt x="990" y="86"/>
                    <a:pt x="990" y="86"/>
                  </a:cubicBezTo>
                  <a:cubicBezTo>
                    <a:pt x="990" y="86"/>
                    <a:pt x="990" y="86"/>
                    <a:pt x="990" y="87"/>
                  </a:cubicBezTo>
                  <a:cubicBezTo>
                    <a:pt x="989" y="87"/>
                    <a:pt x="989" y="87"/>
                    <a:pt x="988" y="87"/>
                  </a:cubicBezTo>
                  <a:cubicBezTo>
                    <a:pt x="987" y="87"/>
                    <a:pt x="987" y="87"/>
                    <a:pt x="986" y="87"/>
                  </a:cubicBezTo>
                  <a:cubicBezTo>
                    <a:pt x="985" y="87"/>
                    <a:pt x="984" y="87"/>
                    <a:pt x="984" y="87"/>
                  </a:cubicBezTo>
                  <a:cubicBezTo>
                    <a:pt x="983" y="87"/>
                    <a:pt x="982" y="87"/>
                    <a:pt x="982" y="87"/>
                  </a:cubicBezTo>
                  <a:cubicBezTo>
                    <a:pt x="982" y="86"/>
                    <a:pt x="981" y="86"/>
                    <a:pt x="981" y="86"/>
                  </a:cubicBezTo>
                  <a:cubicBezTo>
                    <a:pt x="981" y="86"/>
                    <a:pt x="981" y="85"/>
                    <a:pt x="981" y="85"/>
                  </a:cubicBezTo>
                  <a:lnTo>
                    <a:pt x="981" y="78"/>
                  </a:lnTo>
                  <a:cubicBezTo>
                    <a:pt x="978" y="81"/>
                    <a:pt x="975" y="84"/>
                    <a:pt x="972" y="85"/>
                  </a:cubicBezTo>
                  <a:cubicBezTo>
                    <a:pt x="969" y="87"/>
                    <a:pt x="965" y="88"/>
                    <a:pt x="962" y="88"/>
                  </a:cubicBezTo>
                  <a:cubicBezTo>
                    <a:pt x="958" y="88"/>
                    <a:pt x="955" y="87"/>
                    <a:pt x="953" y="86"/>
                  </a:cubicBezTo>
                  <a:cubicBezTo>
                    <a:pt x="950" y="85"/>
                    <a:pt x="948" y="83"/>
                    <a:pt x="946" y="81"/>
                  </a:cubicBezTo>
                  <a:cubicBezTo>
                    <a:pt x="945" y="79"/>
                    <a:pt x="944" y="76"/>
                    <a:pt x="943" y="73"/>
                  </a:cubicBezTo>
                  <a:cubicBezTo>
                    <a:pt x="942" y="71"/>
                    <a:pt x="942" y="67"/>
                    <a:pt x="942" y="63"/>
                  </a:cubicBezTo>
                  <a:lnTo>
                    <a:pt x="942" y="29"/>
                  </a:lnTo>
                  <a:cubicBezTo>
                    <a:pt x="942" y="29"/>
                    <a:pt x="942" y="28"/>
                    <a:pt x="942" y="28"/>
                  </a:cubicBezTo>
                  <a:cubicBezTo>
                    <a:pt x="942" y="28"/>
                    <a:pt x="943" y="28"/>
                    <a:pt x="943" y="27"/>
                  </a:cubicBezTo>
                  <a:cubicBezTo>
                    <a:pt x="944" y="27"/>
                    <a:pt x="944" y="27"/>
                    <a:pt x="945" y="27"/>
                  </a:cubicBezTo>
                  <a:cubicBezTo>
                    <a:pt x="945" y="27"/>
                    <a:pt x="946" y="27"/>
                    <a:pt x="947" y="27"/>
                  </a:cubicBezTo>
                  <a:cubicBezTo>
                    <a:pt x="948" y="27"/>
                    <a:pt x="949" y="27"/>
                    <a:pt x="950" y="27"/>
                  </a:cubicBezTo>
                  <a:cubicBezTo>
                    <a:pt x="950" y="27"/>
                    <a:pt x="951" y="27"/>
                    <a:pt x="951" y="27"/>
                  </a:cubicBezTo>
                  <a:cubicBezTo>
                    <a:pt x="952" y="28"/>
                    <a:pt x="952" y="28"/>
                    <a:pt x="952" y="28"/>
                  </a:cubicBezTo>
                  <a:cubicBezTo>
                    <a:pt x="952" y="28"/>
                    <a:pt x="952" y="29"/>
                    <a:pt x="952" y="29"/>
                  </a:cubicBezTo>
                  <a:lnTo>
                    <a:pt x="952" y="62"/>
                  </a:lnTo>
                  <a:cubicBezTo>
                    <a:pt x="952" y="65"/>
                    <a:pt x="953" y="68"/>
                    <a:pt x="953" y="69"/>
                  </a:cubicBezTo>
                  <a:cubicBezTo>
                    <a:pt x="954" y="71"/>
                    <a:pt x="954" y="73"/>
                    <a:pt x="955" y="75"/>
                  </a:cubicBezTo>
                  <a:cubicBezTo>
                    <a:pt x="956" y="76"/>
                    <a:pt x="958" y="77"/>
                    <a:pt x="959" y="78"/>
                  </a:cubicBezTo>
                  <a:cubicBezTo>
                    <a:pt x="961" y="79"/>
                    <a:pt x="962" y="79"/>
                    <a:pt x="964" y="79"/>
                  </a:cubicBezTo>
                  <a:cubicBezTo>
                    <a:pt x="967" y="79"/>
                    <a:pt x="969" y="78"/>
                    <a:pt x="972" y="76"/>
                  </a:cubicBezTo>
                  <a:cubicBezTo>
                    <a:pt x="975" y="74"/>
                    <a:pt x="977" y="72"/>
                    <a:pt x="980" y="68"/>
                  </a:cubicBezTo>
                  <a:lnTo>
                    <a:pt x="980" y="29"/>
                  </a:lnTo>
                  <a:cubicBezTo>
                    <a:pt x="980" y="29"/>
                    <a:pt x="980" y="28"/>
                    <a:pt x="980" y="28"/>
                  </a:cubicBezTo>
                  <a:cubicBezTo>
                    <a:pt x="981" y="28"/>
                    <a:pt x="981" y="28"/>
                    <a:pt x="981" y="27"/>
                  </a:cubicBezTo>
                  <a:cubicBezTo>
                    <a:pt x="982" y="27"/>
                    <a:pt x="982" y="27"/>
                    <a:pt x="983" y="27"/>
                  </a:cubicBezTo>
                  <a:cubicBezTo>
                    <a:pt x="983" y="27"/>
                    <a:pt x="984" y="27"/>
                    <a:pt x="985" y="27"/>
                  </a:cubicBezTo>
                  <a:cubicBezTo>
                    <a:pt x="986" y="27"/>
                    <a:pt x="987" y="27"/>
                    <a:pt x="988" y="27"/>
                  </a:cubicBezTo>
                  <a:cubicBezTo>
                    <a:pt x="989" y="27"/>
                    <a:pt x="989" y="27"/>
                    <a:pt x="989" y="27"/>
                  </a:cubicBezTo>
                  <a:cubicBezTo>
                    <a:pt x="990" y="28"/>
                    <a:pt x="990" y="28"/>
                    <a:pt x="990" y="28"/>
                  </a:cubicBezTo>
                  <a:cubicBezTo>
                    <a:pt x="990" y="28"/>
                    <a:pt x="991" y="29"/>
                    <a:pt x="991" y="29"/>
                  </a:cubicBezTo>
                  <a:lnTo>
                    <a:pt x="991" y="85"/>
                  </a:lnTo>
                  <a:close/>
                  <a:moveTo>
                    <a:pt x="1052" y="81"/>
                  </a:moveTo>
                  <a:cubicBezTo>
                    <a:pt x="1052" y="82"/>
                    <a:pt x="1052" y="83"/>
                    <a:pt x="1051" y="84"/>
                  </a:cubicBezTo>
                  <a:cubicBezTo>
                    <a:pt x="1051" y="85"/>
                    <a:pt x="1051" y="85"/>
                    <a:pt x="1051" y="85"/>
                  </a:cubicBezTo>
                  <a:cubicBezTo>
                    <a:pt x="1050" y="86"/>
                    <a:pt x="1050" y="86"/>
                    <a:pt x="1049" y="86"/>
                  </a:cubicBezTo>
                  <a:cubicBezTo>
                    <a:pt x="1048" y="87"/>
                    <a:pt x="1048" y="87"/>
                    <a:pt x="1047" y="87"/>
                  </a:cubicBezTo>
                  <a:cubicBezTo>
                    <a:pt x="1046" y="87"/>
                    <a:pt x="1045" y="87"/>
                    <a:pt x="1044" y="88"/>
                  </a:cubicBezTo>
                  <a:cubicBezTo>
                    <a:pt x="1043" y="88"/>
                    <a:pt x="1042" y="88"/>
                    <a:pt x="1041" y="88"/>
                  </a:cubicBezTo>
                  <a:cubicBezTo>
                    <a:pt x="1038" y="88"/>
                    <a:pt x="1036" y="87"/>
                    <a:pt x="1034" y="87"/>
                  </a:cubicBezTo>
                  <a:cubicBezTo>
                    <a:pt x="1032" y="86"/>
                    <a:pt x="1030" y="85"/>
                    <a:pt x="1029" y="83"/>
                  </a:cubicBezTo>
                  <a:cubicBezTo>
                    <a:pt x="1027" y="81"/>
                    <a:pt x="1026" y="80"/>
                    <a:pt x="1026" y="77"/>
                  </a:cubicBezTo>
                  <a:cubicBezTo>
                    <a:pt x="1025" y="75"/>
                    <a:pt x="1025" y="72"/>
                    <a:pt x="1025" y="69"/>
                  </a:cubicBezTo>
                  <a:lnTo>
                    <a:pt x="1025" y="36"/>
                  </a:lnTo>
                  <a:lnTo>
                    <a:pt x="1017" y="36"/>
                  </a:lnTo>
                  <a:cubicBezTo>
                    <a:pt x="1016" y="36"/>
                    <a:pt x="1016" y="35"/>
                    <a:pt x="1015" y="35"/>
                  </a:cubicBezTo>
                  <a:cubicBezTo>
                    <a:pt x="1015" y="34"/>
                    <a:pt x="1015" y="33"/>
                    <a:pt x="1015" y="32"/>
                  </a:cubicBezTo>
                  <a:cubicBezTo>
                    <a:pt x="1015" y="31"/>
                    <a:pt x="1015" y="30"/>
                    <a:pt x="1015" y="30"/>
                  </a:cubicBezTo>
                  <a:cubicBezTo>
                    <a:pt x="1015" y="29"/>
                    <a:pt x="1015" y="29"/>
                    <a:pt x="1015" y="28"/>
                  </a:cubicBezTo>
                  <a:cubicBezTo>
                    <a:pt x="1016" y="28"/>
                    <a:pt x="1016" y="28"/>
                    <a:pt x="1016" y="27"/>
                  </a:cubicBezTo>
                  <a:cubicBezTo>
                    <a:pt x="1016" y="27"/>
                    <a:pt x="1017" y="27"/>
                    <a:pt x="1017" y="27"/>
                  </a:cubicBezTo>
                  <a:lnTo>
                    <a:pt x="1025" y="27"/>
                  </a:lnTo>
                  <a:lnTo>
                    <a:pt x="1025" y="14"/>
                  </a:lnTo>
                  <a:cubicBezTo>
                    <a:pt x="1025" y="14"/>
                    <a:pt x="1025" y="13"/>
                    <a:pt x="1025" y="13"/>
                  </a:cubicBezTo>
                  <a:cubicBezTo>
                    <a:pt x="1025" y="13"/>
                    <a:pt x="1025" y="13"/>
                    <a:pt x="1026" y="12"/>
                  </a:cubicBezTo>
                  <a:cubicBezTo>
                    <a:pt x="1026" y="12"/>
                    <a:pt x="1027" y="12"/>
                    <a:pt x="1027" y="12"/>
                  </a:cubicBezTo>
                  <a:cubicBezTo>
                    <a:pt x="1028" y="12"/>
                    <a:pt x="1029" y="12"/>
                    <a:pt x="1030" y="12"/>
                  </a:cubicBezTo>
                  <a:cubicBezTo>
                    <a:pt x="1031" y="12"/>
                    <a:pt x="1032" y="12"/>
                    <a:pt x="1032" y="12"/>
                  </a:cubicBezTo>
                  <a:cubicBezTo>
                    <a:pt x="1033" y="12"/>
                    <a:pt x="1034" y="12"/>
                    <a:pt x="1034" y="12"/>
                  </a:cubicBezTo>
                  <a:cubicBezTo>
                    <a:pt x="1034" y="13"/>
                    <a:pt x="1035" y="13"/>
                    <a:pt x="1035" y="13"/>
                  </a:cubicBezTo>
                  <a:cubicBezTo>
                    <a:pt x="1035" y="13"/>
                    <a:pt x="1035" y="14"/>
                    <a:pt x="1035" y="14"/>
                  </a:cubicBezTo>
                  <a:lnTo>
                    <a:pt x="1035" y="27"/>
                  </a:lnTo>
                  <a:lnTo>
                    <a:pt x="1050" y="27"/>
                  </a:lnTo>
                  <a:cubicBezTo>
                    <a:pt x="1050" y="27"/>
                    <a:pt x="1050" y="27"/>
                    <a:pt x="1050" y="27"/>
                  </a:cubicBezTo>
                  <a:cubicBezTo>
                    <a:pt x="1051" y="28"/>
                    <a:pt x="1051" y="28"/>
                    <a:pt x="1051" y="28"/>
                  </a:cubicBezTo>
                  <a:cubicBezTo>
                    <a:pt x="1051" y="29"/>
                    <a:pt x="1051" y="29"/>
                    <a:pt x="1051" y="30"/>
                  </a:cubicBezTo>
                  <a:cubicBezTo>
                    <a:pt x="1052" y="30"/>
                    <a:pt x="1052" y="31"/>
                    <a:pt x="1052" y="32"/>
                  </a:cubicBezTo>
                  <a:cubicBezTo>
                    <a:pt x="1052" y="33"/>
                    <a:pt x="1051" y="34"/>
                    <a:pt x="1051" y="35"/>
                  </a:cubicBezTo>
                  <a:cubicBezTo>
                    <a:pt x="1051" y="35"/>
                    <a:pt x="1050" y="36"/>
                    <a:pt x="1050" y="36"/>
                  </a:cubicBezTo>
                  <a:lnTo>
                    <a:pt x="1035" y="36"/>
                  </a:lnTo>
                  <a:lnTo>
                    <a:pt x="1035" y="67"/>
                  </a:lnTo>
                  <a:cubicBezTo>
                    <a:pt x="1035" y="71"/>
                    <a:pt x="1036" y="74"/>
                    <a:pt x="1037" y="76"/>
                  </a:cubicBezTo>
                  <a:cubicBezTo>
                    <a:pt x="1038" y="78"/>
                    <a:pt x="1040" y="79"/>
                    <a:pt x="1043" y="79"/>
                  </a:cubicBezTo>
                  <a:cubicBezTo>
                    <a:pt x="1044" y="79"/>
                    <a:pt x="1045" y="79"/>
                    <a:pt x="1046" y="79"/>
                  </a:cubicBezTo>
                  <a:cubicBezTo>
                    <a:pt x="1046" y="78"/>
                    <a:pt x="1047" y="78"/>
                    <a:pt x="1048" y="78"/>
                  </a:cubicBezTo>
                  <a:cubicBezTo>
                    <a:pt x="1048" y="78"/>
                    <a:pt x="1049" y="78"/>
                    <a:pt x="1049" y="77"/>
                  </a:cubicBezTo>
                  <a:cubicBezTo>
                    <a:pt x="1049" y="77"/>
                    <a:pt x="1050" y="77"/>
                    <a:pt x="1050" y="77"/>
                  </a:cubicBezTo>
                  <a:cubicBezTo>
                    <a:pt x="1050" y="77"/>
                    <a:pt x="1051" y="77"/>
                    <a:pt x="1051" y="77"/>
                  </a:cubicBezTo>
                  <a:cubicBezTo>
                    <a:pt x="1051" y="77"/>
                    <a:pt x="1051" y="78"/>
                    <a:pt x="1051" y="78"/>
                  </a:cubicBezTo>
                  <a:cubicBezTo>
                    <a:pt x="1051" y="78"/>
                    <a:pt x="1051" y="79"/>
                    <a:pt x="1051" y="79"/>
                  </a:cubicBezTo>
                  <a:cubicBezTo>
                    <a:pt x="1052" y="80"/>
                    <a:pt x="1052" y="80"/>
                    <a:pt x="1052" y="81"/>
                  </a:cubicBezTo>
                  <a:close/>
                  <a:moveTo>
                    <a:pt x="1133" y="82"/>
                  </a:moveTo>
                  <a:cubicBezTo>
                    <a:pt x="1133" y="83"/>
                    <a:pt x="1132" y="84"/>
                    <a:pt x="1132" y="84"/>
                  </a:cubicBezTo>
                  <a:cubicBezTo>
                    <a:pt x="1132" y="85"/>
                    <a:pt x="1132" y="85"/>
                    <a:pt x="1132" y="86"/>
                  </a:cubicBezTo>
                  <a:cubicBezTo>
                    <a:pt x="1132" y="86"/>
                    <a:pt x="1132" y="86"/>
                    <a:pt x="1131" y="86"/>
                  </a:cubicBezTo>
                  <a:cubicBezTo>
                    <a:pt x="1131" y="87"/>
                    <a:pt x="1131" y="87"/>
                    <a:pt x="1130" y="87"/>
                  </a:cubicBezTo>
                  <a:lnTo>
                    <a:pt x="1092" y="87"/>
                  </a:lnTo>
                  <a:cubicBezTo>
                    <a:pt x="1091" y="87"/>
                    <a:pt x="1090" y="86"/>
                    <a:pt x="1089" y="86"/>
                  </a:cubicBezTo>
                  <a:cubicBezTo>
                    <a:pt x="1088" y="85"/>
                    <a:pt x="1088" y="84"/>
                    <a:pt x="1088" y="82"/>
                  </a:cubicBezTo>
                  <a:lnTo>
                    <a:pt x="1088" y="10"/>
                  </a:lnTo>
                  <a:cubicBezTo>
                    <a:pt x="1088" y="9"/>
                    <a:pt x="1088" y="7"/>
                    <a:pt x="1089" y="7"/>
                  </a:cubicBezTo>
                  <a:cubicBezTo>
                    <a:pt x="1090" y="6"/>
                    <a:pt x="1091" y="6"/>
                    <a:pt x="1092" y="6"/>
                  </a:cubicBezTo>
                  <a:lnTo>
                    <a:pt x="1130" y="6"/>
                  </a:lnTo>
                  <a:cubicBezTo>
                    <a:pt x="1130" y="6"/>
                    <a:pt x="1131" y="6"/>
                    <a:pt x="1131" y="6"/>
                  </a:cubicBezTo>
                  <a:cubicBezTo>
                    <a:pt x="1131" y="6"/>
                    <a:pt x="1131" y="6"/>
                    <a:pt x="1131" y="7"/>
                  </a:cubicBezTo>
                  <a:cubicBezTo>
                    <a:pt x="1132" y="7"/>
                    <a:pt x="1132" y="8"/>
                    <a:pt x="1132" y="8"/>
                  </a:cubicBezTo>
                  <a:cubicBezTo>
                    <a:pt x="1132" y="9"/>
                    <a:pt x="1132" y="10"/>
                    <a:pt x="1132" y="10"/>
                  </a:cubicBezTo>
                  <a:cubicBezTo>
                    <a:pt x="1132" y="11"/>
                    <a:pt x="1132" y="12"/>
                    <a:pt x="1132" y="12"/>
                  </a:cubicBezTo>
                  <a:cubicBezTo>
                    <a:pt x="1132" y="13"/>
                    <a:pt x="1132" y="13"/>
                    <a:pt x="1131" y="14"/>
                  </a:cubicBezTo>
                  <a:cubicBezTo>
                    <a:pt x="1131" y="14"/>
                    <a:pt x="1131" y="14"/>
                    <a:pt x="1131" y="14"/>
                  </a:cubicBezTo>
                  <a:cubicBezTo>
                    <a:pt x="1131" y="15"/>
                    <a:pt x="1130" y="15"/>
                    <a:pt x="1130" y="15"/>
                  </a:cubicBezTo>
                  <a:lnTo>
                    <a:pt x="1098" y="15"/>
                  </a:lnTo>
                  <a:lnTo>
                    <a:pt x="1098" y="40"/>
                  </a:lnTo>
                  <a:lnTo>
                    <a:pt x="1125" y="40"/>
                  </a:lnTo>
                  <a:cubicBezTo>
                    <a:pt x="1126" y="40"/>
                    <a:pt x="1126" y="40"/>
                    <a:pt x="1126" y="40"/>
                  </a:cubicBezTo>
                  <a:cubicBezTo>
                    <a:pt x="1127" y="41"/>
                    <a:pt x="1127" y="41"/>
                    <a:pt x="1127" y="41"/>
                  </a:cubicBezTo>
                  <a:cubicBezTo>
                    <a:pt x="1127" y="41"/>
                    <a:pt x="1127" y="42"/>
                    <a:pt x="1127" y="43"/>
                  </a:cubicBezTo>
                  <a:cubicBezTo>
                    <a:pt x="1127" y="43"/>
                    <a:pt x="1128" y="44"/>
                    <a:pt x="1128" y="45"/>
                  </a:cubicBezTo>
                  <a:cubicBezTo>
                    <a:pt x="1128" y="45"/>
                    <a:pt x="1127" y="46"/>
                    <a:pt x="1127" y="47"/>
                  </a:cubicBezTo>
                  <a:cubicBezTo>
                    <a:pt x="1127" y="47"/>
                    <a:pt x="1127" y="48"/>
                    <a:pt x="1127" y="48"/>
                  </a:cubicBezTo>
                  <a:cubicBezTo>
                    <a:pt x="1127" y="48"/>
                    <a:pt x="1127" y="48"/>
                    <a:pt x="1126" y="49"/>
                  </a:cubicBezTo>
                  <a:cubicBezTo>
                    <a:pt x="1126" y="49"/>
                    <a:pt x="1126" y="49"/>
                    <a:pt x="1125" y="49"/>
                  </a:cubicBezTo>
                  <a:lnTo>
                    <a:pt x="1098" y="49"/>
                  </a:lnTo>
                  <a:lnTo>
                    <a:pt x="1098" y="78"/>
                  </a:lnTo>
                  <a:lnTo>
                    <a:pt x="1130" y="78"/>
                  </a:lnTo>
                  <a:cubicBezTo>
                    <a:pt x="1131" y="78"/>
                    <a:pt x="1131" y="78"/>
                    <a:pt x="1131" y="78"/>
                  </a:cubicBezTo>
                  <a:cubicBezTo>
                    <a:pt x="1132" y="78"/>
                    <a:pt x="1132" y="78"/>
                    <a:pt x="1132" y="79"/>
                  </a:cubicBezTo>
                  <a:cubicBezTo>
                    <a:pt x="1132" y="79"/>
                    <a:pt x="1132" y="80"/>
                    <a:pt x="1132" y="80"/>
                  </a:cubicBezTo>
                  <a:cubicBezTo>
                    <a:pt x="1132" y="81"/>
                    <a:pt x="1133" y="81"/>
                    <a:pt x="1133" y="82"/>
                  </a:cubicBezTo>
                  <a:close/>
                  <a:moveTo>
                    <a:pt x="1196" y="29"/>
                  </a:moveTo>
                  <a:cubicBezTo>
                    <a:pt x="1196" y="29"/>
                    <a:pt x="1196" y="29"/>
                    <a:pt x="1196" y="29"/>
                  </a:cubicBezTo>
                  <a:cubicBezTo>
                    <a:pt x="1196" y="29"/>
                    <a:pt x="1196" y="30"/>
                    <a:pt x="1196" y="30"/>
                  </a:cubicBezTo>
                  <a:cubicBezTo>
                    <a:pt x="1196" y="30"/>
                    <a:pt x="1196" y="30"/>
                    <a:pt x="1196" y="31"/>
                  </a:cubicBezTo>
                  <a:cubicBezTo>
                    <a:pt x="1196" y="31"/>
                    <a:pt x="1196" y="31"/>
                    <a:pt x="1196" y="31"/>
                  </a:cubicBezTo>
                  <a:lnTo>
                    <a:pt x="1177" y="85"/>
                  </a:lnTo>
                  <a:cubicBezTo>
                    <a:pt x="1177" y="85"/>
                    <a:pt x="1176" y="86"/>
                    <a:pt x="1176" y="86"/>
                  </a:cubicBezTo>
                  <a:cubicBezTo>
                    <a:pt x="1176" y="86"/>
                    <a:pt x="1175" y="86"/>
                    <a:pt x="1175" y="87"/>
                  </a:cubicBezTo>
                  <a:cubicBezTo>
                    <a:pt x="1174" y="87"/>
                    <a:pt x="1174" y="87"/>
                    <a:pt x="1173" y="87"/>
                  </a:cubicBezTo>
                  <a:cubicBezTo>
                    <a:pt x="1172" y="87"/>
                    <a:pt x="1171" y="87"/>
                    <a:pt x="1170" y="87"/>
                  </a:cubicBezTo>
                  <a:cubicBezTo>
                    <a:pt x="1168" y="87"/>
                    <a:pt x="1167" y="87"/>
                    <a:pt x="1167" y="87"/>
                  </a:cubicBezTo>
                  <a:cubicBezTo>
                    <a:pt x="1166" y="87"/>
                    <a:pt x="1165" y="87"/>
                    <a:pt x="1165" y="87"/>
                  </a:cubicBezTo>
                  <a:cubicBezTo>
                    <a:pt x="1164" y="86"/>
                    <a:pt x="1164" y="86"/>
                    <a:pt x="1163" y="86"/>
                  </a:cubicBezTo>
                  <a:cubicBezTo>
                    <a:pt x="1163" y="86"/>
                    <a:pt x="1163" y="85"/>
                    <a:pt x="1163" y="85"/>
                  </a:cubicBezTo>
                  <a:lnTo>
                    <a:pt x="1144" y="31"/>
                  </a:lnTo>
                  <a:cubicBezTo>
                    <a:pt x="1143" y="31"/>
                    <a:pt x="1143" y="30"/>
                    <a:pt x="1143" y="30"/>
                  </a:cubicBezTo>
                  <a:cubicBezTo>
                    <a:pt x="1143" y="30"/>
                    <a:pt x="1143" y="29"/>
                    <a:pt x="1143" y="29"/>
                  </a:cubicBezTo>
                  <a:cubicBezTo>
                    <a:pt x="1143" y="29"/>
                    <a:pt x="1143" y="29"/>
                    <a:pt x="1143" y="29"/>
                  </a:cubicBezTo>
                  <a:cubicBezTo>
                    <a:pt x="1143" y="28"/>
                    <a:pt x="1143" y="28"/>
                    <a:pt x="1143" y="28"/>
                  </a:cubicBezTo>
                  <a:cubicBezTo>
                    <a:pt x="1143" y="28"/>
                    <a:pt x="1144" y="27"/>
                    <a:pt x="1144" y="27"/>
                  </a:cubicBezTo>
                  <a:cubicBezTo>
                    <a:pt x="1144" y="27"/>
                    <a:pt x="1145" y="27"/>
                    <a:pt x="1146" y="27"/>
                  </a:cubicBezTo>
                  <a:cubicBezTo>
                    <a:pt x="1146" y="27"/>
                    <a:pt x="1147" y="27"/>
                    <a:pt x="1148" y="27"/>
                  </a:cubicBezTo>
                  <a:cubicBezTo>
                    <a:pt x="1149" y="27"/>
                    <a:pt x="1150" y="27"/>
                    <a:pt x="1151" y="27"/>
                  </a:cubicBezTo>
                  <a:cubicBezTo>
                    <a:pt x="1152" y="27"/>
                    <a:pt x="1152" y="27"/>
                    <a:pt x="1153" y="27"/>
                  </a:cubicBezTo>
                  <a:cubicBezTo>
                    <a:pt x="1153" y="28"/>
                    <a:pt x="1153" y="28"/>
                    <a:pt x="1153" y="28"/>
                  </a:cubicBezTo>
                  <a:cubicBezTo>
                    <a:pt x="1154" y="28"/>
                    <a:pt x="1154" y="29"/>
                    <a:pt x="1154" y="29"/>
                  </a:cubicBezTo>
                  <a:lnTo>
                    <a:pt x="1170" y="75"/>
                  </a:lnTo>
                  <a:lnTo>
                    <a:pt x="1170" y="76"/>
                  </a:lnTo>
                  <a:lnTo>
                    <a:pt x="1170" y="75"/>
                  </a:lnTo>
                  <a:lnTo>
                    <a:pt x="1186" y="29"/>
                  </a:lnTo>
                  <a:cubicBezTo>
                    <a:pt x="1186" y="29"/>
                    <a:pt x="1186" y="28"/>
                    <a:pt x="1186" y="28"/>
                  </a:cubicBezTo>
                  <a:cubicBezTo>
                    <a:pt x="1187" y="28"/>
                    <a:pt x="1187" y="28"/>
                    <a:pt x="1187" y="27"/>
                  </a:cubicBezTo>
                  <a:cubicBezTo>
                    <a:pt x="1188" y="27"/>
                    <a:pt x="1188" y="27"/>
                    <a:pt x="1189" y="27"/>
                  </a:cubicBezTo>
                  <a:cubicBezTo>
                    <a:pt x="1190" y="27"/>
                    <a:pt x="1191" y="27"/>
                    <a:pt x="1192" y="27"/>
                  </a:cubicBezTo>
                  <a:cubicBezTo>
                    <a:pt x="1193" y="27"/>
                    <a:pt x="1193" y="27"/>
                    <a:pt x="1194" y="27"/>
                  </a:cubicBezTo>
                  <a:cubicBezTo>
                    <a:pt x="1195" y="27"/>
                    <a:pt x="1195" y="27"/>
                    <a:pt x="1196" y="27"/>
                  </a:cubicBezTo>
                  <a:cubicBezTo>
                    <a:pt x="1196" y="27"/>
                    <a:pt x="1196" y="28"/>
                    <a:pt x="1196" y="28"/>
                  </a:cubicBezTo>
                  <a:cubicBezTo>
                    <a:pt x="1196" y="28"/>
                    <a:pt x="1196" y="28"/>
                    <a:pt x="1196" y="29"/>
                  </a:cubicBezTo>
                  <a:close/>
                  <a:moveTo>
                    <a:pt x="1262" y="55"/>
                  </a:moveTo>
                  <a:cubicBezTo>
                    <a:pt x="1262" y="56"/>
                    <a:pt x="1262" y="57"/>
                    <a:pt x="1261" y="58"/>
                  </a:cubicBezTo>
                  <a:cubicBezTo>
                    <a:pt x="1260" y="59"/>
                    <a:pt x="1259" y="59"/>
                    <a:pt x="1258" y="59"/>
                  </a:cubicBezTo>
                  <a:lnTo>
                    <a:pt x="1221" y="59"/>
                  </a:lnTo>
                  <a:cubicBezTo>
                    <a:pt x="1221" y="62"/>
                    <a:pt x="1222" y="65"/>
                    <a:pt x="1222" y="67"/>
                  </a:cubicBezTo>
                  <a:cubicBezTo>
                    <a:pt x="1223" y="70"/>
                    <a:pt x="1224" y="72"/>
                    <a:pt x="1225" y="74"/>
                  </a:cubicBezTo>
                  <a:cubicBezTo>
                    <a:pt x="1227" y="76"/>
                    <a:pt x="1229" y="77"/>
                    <a:pt x="1231" y="78"/>
                  </a:cubicBezTo>
                  <a:cubicBezTo>
                    <a:pt x="1233" y="79"/>
                    <a:pt x="1236" y="79"/>
                    <a:pt x="1240" y="79"/>
                  </a:cubicBezTo>
                  <a:cubicBezTo>
                    <a:pt x="1242" y="79"/>
                    <a:pt x="1245" y="79"/>
                    <a:pt x="1247" y="79"/>
                  </a:cubicBezTo>
                  <a:cubicBezTo>
                    <a:pt x="1249" y="78"/>
                    <a:pt x="1251" y="78"/>
                    <a:pt x="1252" y="77"/>
                  </a:cubicBezTo>
                  <a:cubicBezTo>
                    <a:pt x="1254" y="77"/>
                    <a:pt x="1255" y="76"/>
                    <a:pt x="1256" y="76"/>
                  </a:cubicBezTo>
                  <a:cubicBezTo>
                    <a:pt x="1257" y="75"/>
                    <a:pt x="1258" y="75"/>
                    <a:pt x="1258" y="75"/>
                  </a:cubicBezTo>
                  <a:cubicBezTo>
                    <a:pt x="1259" y="75"/>
                    <a:pt x="1259" y="75"/>
                    <a:pt x="1259" y="75"/>
                  </a:cubicBezTo>
                  <a:cubicBezTo>
                    <a:pt x="1259" y="76"/>
                    <a:pt x="1259" y="76"/>
                    <a:pt x="1260" y="76"/>
                  </a:cubicBezTo>
                  <a:cubicBezTo>
                    <a:pt x="1260" y="76"/>
                    <a:pt x="1260" y="77"/>
                    <a:pt x="1260" y="77"/>
                  </a:cubicBezTo>
                  <a:cubicBezTo>
                    <a:pt x="1260" y="78"/>
                    <a:pt x="1260" y="78"/>
                    <a:pt x="1260" y="79"/>
                  </a:cubicBezTo>
                  <a:cubicBezTo>
                    <a:pt x="1260" y="80"/>
                    <a:pt x="1260" y="80"/>
                    <a:pt x="1260" y="81"/>
                  </a:cubicBezTo>
                  <a:cubicBezTo>
                    <a:pt x="1260" y="81"/>
                    <a:pt x="1260" y="81"/>
                    <a:pt x="1260" y="82"/>
                  </a:cubicBezTo>
                  <a:cubicBezTo>
                    <a:pt x="1260" y="82"/>
                    <a:pt x="1260" y="82"/>
                    <a:pt x="1259" y="83"/>
                  </a:cubicBezTo>
                  <a:cubicBezTo>
                    <a:pt x="1259" y="83"/>
                    <a:pt x="1259" y="83"/>
                    <a:pt x="1259" y="83"/>
                  </a:cubicBezTo>
                  <a:cubicBezTo>
                    <a:pt x="1259" y="83"/>
                    <a:pt x="1258" y="84"/>
                    <a:pt x="1257" y="84"/>
                  </a:cubicBezTo>
                  <a:cubicBezTo>
                    <a:pt x="1256" y="85"/>
                    <a:pt x="1254" y="85"/>
                    <a:pt x="1252" y="86"/>
                  </a:cubicBezTo>
                  <a:cubicBezTo>
                    <a:pt x="1251" y="86"/>
                    <a:pt x="1249" y="87"/>
                    <a:pt x="1246" y="87"/>
                  </a:cubicBezTo>
                  <a:cubicBezTo>
                    <a:pt x="1244" y="88"/>
                    <a:pt x="1241" y="88"/>
                    <a:pt x="1239" y="88"/>
                  </a:cubicBezTo>
                  <a:cubicBezTo>
                    <a:pt x="1234" y="88"/>
                    <a:pt x="1230" y="87"/>
                    <a:pt x="1227" y="86"/>
                  </a:cubicBezTo>
                  <a:cubicBezTo>
                    <a:pt x="1223" y="85"/>
                    <a:pt x="1220" y="83"/>
                    <a:pt x="1218" y="80"/>
                  </a:cubicBezTo>
                  <a:cubicBezTo>
                    <a:pt x="1215" y="78"/>
                    <a:pt x="1214" y="74"/>
                    <a:pt x="1212" y="71"/>
                  </a:cubicBezTo>
                  <a:cubicBezTo>
                    <a:pt x="1211" y="67"/>
                    <a:pt x="1211" y="62"/>
                    <a:pt x="1211" y="57"/>
                  </a:cubicBezTo>
                  <a:cubicBezTo>
                    <a:pt x="1211" y="52"/>
                    <a:pt x="1211" y="48"/>
                    <a:pt x="1212" y="44"/>
                  </a:cubicBezTo>
                  <a:cubicBezTo>
                    <a:pt x="1214" y="40"/>
                    <a:pt x="1216" y="37"/>
                    <a:pt x="1218" y="34"/>
                  </a:cubicBezTo>
                  <a:cubicBezTo>
                    <a:pt x="1220" y="32"/>
                    <a:pt x="1223" y="30"/>
                    <a:pt x="1226" y="28"/>
                  </a:cubicBezTo>
                  <a:cubicBezTo>
                    <a:pt x="1230" y="27"/>
                    <a:pt x="1233" y="26"/>
                    <a:pt x="1238" y="26"/>
                  </a:cubicBezTo>
                  <a:cubicBezTo>
                    <a:pt x="1242" y="26"/>
                    <a:pt x="1246" y="27"/>
                    <a:pt x="1249" y="28"/>
                  </a:cubicBezTo>
                  <a:cubicBezTo>
                    <a:pt x="1252" y="30"/>
                    <a:pt x="1255" y="31"/>
                    <a:pt x="1257" y="34"/>
                  </a:cubicBezTo>
                  <a:cubicBezTo>
                    <a:pt x="1259" y="36"/>
                    <a:pt x="1260" y="39"/>
                    <a:pt x="1261" y="42"/>
                  </a:cubicBezTo>
                  <a:cubicBezTo>
                    <a:pt x="1262" y="46"/>
                    <a:pt x="1262" y="49"/>
                    <a:pt x="1262" y="53"/>
                  </a:cubicBezTo>
                  <a:lnTo>
                    <a:pt x="1262" y="55"/>
                  </a:lnTo>
                  <a:close/>
                  <a:moveTo>
                    <a:pt x="1252" y="51"/>
                  </a:moveTo>
                  <a:cubicBezTo>
                    <a:pt x="1252" y="46"/>
                    <a:pt x="1251" y="42"/>
                    <a:pt x="1248" y="39"/>
                  </a:cubicBezTo>
                  <a:cubicBezTo>
                    <a:pt x="1246" y="36"/>
                    <a:pt x="1242" y="34"/>
                    <a:pt x="1237" y="34"/>
                  </a:cubicBezTo>
                  <a:cubicBezTo>
                    <a:pt x="1235" y="34"/>
                    <a:pt x="1232" y="35"/>
                    <a:pt x="1230" y="36"/>
                  </a:cubicBezTo>
                  <a:cubicBezTo>
                    <a:pt x="1228" y="36"/>
                    <a:pt x="1227" y="38"/>
                    <a:pt x="1226" y="39"/>
                  </a:cubicBezTo>
                  <a:cubicBezTo>
                    <a:pt x="1224" y="41"/>
                    <a:pt x="1223" y="43"/>
                    <a:pt x="1222" y="45"/>
                  </a:cubicBezTo>
                  <a:cubicBezTo>
                    <a:pt x="1222" y="47"/>
                    <a:pt x="1221" y="49"/>
                    <a:pt x="1221" y="51"/>
                  </a:cubicBezTo>
                  <a:lnTo>
                    <a:pt x="1252" y="51"/>
                  </a:lnTo>
                  <a:close/>
                  <a:moveTo>
                    <a:pt x="1327" y="85"/>
                  </a:moveTo>
                  <a:cubicBezTo>
                    <a:pt x="1327" y="85"/>
                    <a:pt x="1327" y="86"/>
                    <a:pt x="1327" y="86"/>
                  </a:cubicBezTo>
                  <a:cubicBezTo>
                    <a:pt x="1326" y="86"/>
                    <a:pt x="1326" y="86"/>
                    <a:pt x="1326" y="87"/>
                  </a:cubicBezTo>
                  <a:cubicBezTo>
                    <a:pt x="1325" y="87"/>
                    <a:pt x="1325" y="87"/>
                    <a:pt x="1324" y="87"/>
                  </a:cubicBezTo>
                  <a:cubicBezTo>
                    <a:pt x="1323" y="87"/>
                    <a:pt x="1323" y="87"/>
                    <a:pt x="1322" y="87"/>
                  </a:cubicBezTo>
                  <a:cubicBezTo>
                    <a:pt x="1321" y="87"/>
                    <a:pt x="1320" y="87"/>
                    <a:pt x="1319" y="87"/>
                  </a:cubicBezTo>
                  <a:cubicBezTo>
                    <a:pt x="1318" y="87"/>
                    <a:pt x="1318" y="87"/>
                    <a:pt x="1318" y="87"/>
                  </a:cubicBezTo>
                  <a:cubicBezTo>
                    <a:pt x="1317" y="86"/>
                    <a:pt x="1317" y="86"/>
                    <a:pt x="1317" y="86"/>
                  </a:cubicBezTo>
                  <a:cubicBezTo>
                    <a:pt x="1317" y="86"/>
                    <a:pt x="1316" y="85"/>
                    <a:pt x="1316" y="85"/>
                  </a:cubicBezTo>
                  <a:lnTo>
                    <a:pt x="1316" y="52"/>
                  </a:lnTo>
                  <a:cubicBezTo>
                    <a:pt x="1316" y="49"/>
                    <a:pt x="1316" y="46"/>
                    <a:pt x="1316" y="44"/>
                  </a:cubicBezTo>
                  <a:cubicBezTo>
                    <a:pt x="1315" y="42"/>
                    <a:pt x="1314" y="41"/>
                    <a:pt x="1314" y="39"/>
                  </a:cubicBezTo>
                  <a:cubicBezTo>
                    <a:pt x="1313" y="38"/>
                    <a:pt x="1311" y="37"/>
                    <a:pt x="1310" y="36"/>
                  </a:cubicBezTo>
                  <a:cubicBezTo>
                    <a:pt x="1308" y="35"/>
                    <a:pt x="1307" y="35"/>
                    <a:pt x="1305" y="35"/>
                  </a:cubicBezTo>
                  <a:cubicBezTo>
                    <a:pt x="1302" y="35"/>
                    <a:pt x="1299" y="36"/>
                    <a:pt x="1297" y="38"/>
                  </a:cubicBezTo>
                  <a:cubicBezTo>
                    <a:pt x="1294" y="40"/>
                    <a:pt x="1291" y="42"/>
                    <a:pt x="1289" y="46"/>
                  </a:cubicBezTo>
                  <a:lnTo>
                    <a:pt x="1289" y="85"/>
                  </a:lnTo>
                  <a:cubicBezTo>
                    <a:pt x="1289" y="85"/>
                    <a:pt x="1289" y="86"/>
                    <a:pt x="1288" y="86"/>
                  </a:cubicBezTo>
                  <a:cubicBezTo>
                    <a:pt x="1288" y="86"/>
                    <a:pt x="1288" y="86"/>
                    <a:pt x="1288" y="87"/>
                  </a:cubicBezTo>
                  <a:cubicBezTo>
                    <a:pt x="1287" y="87"/>
                    <a:pt x="1287" y="87"/>
                    <a:pt x="1286" y="87"/>
                  </a:cubicBezTo>
                  <a:cubicBezTo>
                    <a:pt x="1285" y="87"/>
                    <a:pt x="1285" y="87"/>
                    <a:pt x="1283" y="87"/>
                  </a:cubicBezTo>
                  <a:cubicBezTo>
                    <a:pt x="1282" y="87"/>
                    <a:pt x="1282" y="87"/>
                    <a:pt x="1281" y="87"/>
                  </a:cubicBezTo>
                  <a:cubicBezTo>
                    <a:pt x="1280" y="87"/>
                    <a:pt x="1280" y="87"/>
                    <a:pt x="1279" y="87"/>
                  </a:cubicBezTo>
                  <a:cubicBezTo>
                    <a:pt x="1279" y="86"/>
                    <a:pt x="1279" y="86"/>
                    <a:pt x="1279" y="86"/>
                  </a:cubicBezTo>
                  <a:cubicBezTo>
                    <a:pt x="1278" y="86"/>
                    <a:pt x="1278" y="85"/>
                    <a:pt x="1278" y="85"/>
                  </a:cubicBezTo>
                  <a:lnTo>
                    <a:pt x="1278" y="29"/>
                  </a:lnTo>
                  <a:cubicBezTo>
                    <a:pt x="1278" y="29"/>
                    <a:pt x="1278" y="28"/>
                    <a:pt x="1279" y="28"/>
                  </a:cubicBezTo>
                  <a:cubicBezTo>
                    <a:pt x="1279" y="28"/>
                    <a:pt x="1279" y="28"/>
                    <a:pt x="1279" y="27"/>
                  </a:cubicBezTo>
                  <a:cubicBezTo>
                    <a:pt x="1280" y="27"/>
                    <a:pt x="1280" y="27"/>
                    <a:pt x="1281" y="27"/>
                  </a:cubicBezTo>
                  <a:cubicBezTo>
                    <a:pt x="1281" y="27"/>
                    <a:pt x="1282" y="27"/>
                    <a:pt x="1283" y="27"/>
                  </a:cubicBezTo>
                  <a:cubicBezTo>
                    <a:pt x="1284" y="27"/>
                    <a:pt x="1285" y="27"/>
                    <a:pt x="1285" y="27"/>
                  </a:cubicBezTo>
                  <a:cubicBezTo>
                    <a:pt x="1286" y="27"/>
                    <a:pt x="1286" y="27"/>
                    <a:pt x="1287" y="27"/>
                  </a:cubicBezTo>
                  <a:cubicBezTo>
                    <a:pt x="1287" y="28"/>
                    <a:pt x="1287" y="28"/>
                    <a:pt x="1287" y="28"/>
                  </a:cubicBezTo>
                  <a:cubicBezTo>
                    <a:pt x="1288" y="28"/>
                    <a:pt x="1288" y="29"/>
                    <a:pt x="1288" y="29"/>
                  </a:cubicBezTo>
                  <a:lnTo>
                    <a:pt x="1288" y="36"/>
                  </a:lnTo>
                  <a:cubicBezTo>
                    <a:pt x="1291" y="33"/>
                    <a:pt x="1294" y="30"/>
                    <a:pt x="1297" y="28"/>
                  </a:cubicBezTo>
                  <a:cubicBezTo>
                    <a:pt x="1300" y="27"/>
                    <a:pt x="1303" y="26"/>
                    <a:pt x="1307" y="26"/>
                  </a:cubicBezTo>
                  <a:cubicBezTo>
                    <a:pt x="1310" y="26"/>
                    <a:pt x="1314" y="27"/>
                    <a:pt x="1316" y="28"/>
                  </a:cubicBezTo>
                  <a:cubicBezTo>
                    <a:pt x="1319" y="29"/>
                    <a:pt x="1321" y="31"/>
                    <a:pt x="1322" y="33"/>
                  </a:cubicBezTo>
                  <a:cubicBezTo>
                    <a:pt x="1324" y="35"/>
                    <a:pt x="1325" y="38"/>
                    <a:pt x="1326" y="40"/>
                  </a:cubicBezTo>
                  <a:cubicBezTo>
                    <a:pt x="1326" y="43"/>
                    <a:pt x="1327" y="47"/>
                    <a:pt x="1327" y="51"/>
                  </a:cubicBezTo>
                  <a:lnTo>
                    <a:pt x="1327" y="85"/>
                  </a:lnTo>
                  <a:close/>
                  <a:moveTo>
                    <a:pt x="1372" y="81"/>
                  </a:moveTo>
                  <a:cubicBezTo>
                    <a:pt x="1372" y="82"/>
                    <a:pt x="1372" y="83"/>
                    <a:pt x="1371" y="84"/>
                  </a:cubicBezTo>
                  <a:cubicBezTo>
                    <a:pt x="1371" y="85"/>
                    <a:pt x="1371" y="85"/>
                    <a:pt x="1371" y="85"/>
                  </a:cubicBezTo>
                  <a:cubicBezTo>
                    <a:pt x="1370" y="86"/>
                    <a:pt x="1370" y="86"/>
                    <a:pt x="1369" y="86"/>
                  </a:cubicBezTo>
                  <a:cubicBezTo>
                    <a:pt x="1368" y="87"/>
                    <a:pt x="1368" y="87"/>
                    <a:pt x="1367" y="87"/>
                  </a:cubicBezTo>
                  <a:cubicBezTo>
                    <a:pt x="1366" y="87"/>
                    <a:pt x="1365" y="87"/>
                    <a:pt x="1364" y="88"/>
                  </a:cubicBezTo>
                  <a:cubicBezTo>
                    <a:pt x="1363" y="88"/>
                    <a:pt x="1362" y="88"/>
                    <a:pt x="1361" y="88"/>
                  </a:cubicBezTo>
                  <a:cubicBezTo>
                    <a:pt x="1358" y="88"/>
                    <a:pt x="1356" y="87"/>
                    <a:pt x="1354" y="87"/>
                  </a:cubicBezTo>
                  <a:cubicBezTo>
                    <a:pt x="1352" y="86"/>
                    <a:pt x="1350" y="85"/>
                    <a:pt x="1349" y="83"/>
                  </a:cubicBezTo>
                  <a:cubicBezTo>
                    <a:pt x="1347" y="81"/>
                    <a:pt x="1346" y="80"/>
                    <a:pt x="1346" y="77"/>
                  </a:cubicBezTo>
                  <a:cubicBezTo>
                    <a:pt x="1345" y="75"/>
                    <a:pt x="1345" y="72"/>
                    <a:pt x="1345" y="69"/>
                  </a:cubicBezTo>
                  <a:lnTo>
                    <a:pt x="1345" y="36"/>
                  </a:lnTo>
                  <a:lnTo>
                    <a:pt x="1337" y="36"/>
                  </a:lnTo>
                  <a:cubicBezTo>
                    <a:pt x="1336" y="36"/>
                    <a:pt x="1336" y="35"/>
                    <a:pt x="1335" y="35"/>
                  </a:cubicBezTo>
                  <a:cubicBezTo>
                    <a:pt x="1335" y="34"/>
                    <a:pt x="1335" y="33"/>
                    <a:pt x="1335" y="32"/>
                  </a:cubicBezTo>
                  <a:cubicBezTo>
                    <a:pt x="1335" y="31"/>
                    <a:pt x="1335" y="30"/>
                    <a:pt x="1335" y="30"/>
                  </a:cubicBezTo>
                  <a:cubicBezTo>
                    <a:pt x="1335" y="29"/>
                    <a:pt x="1335" y="29"/>
                    <a:pt x="1335" y="28"/>
                  </a:cubicBezTo>
                  <a:cubicBezTo>
                    <a:pt x="1336" y="28"/>
                    <a:pt x="1336" y="28"/>
                    <a:pt x="1336" y="27"/>
                  </a:cubicBezTo>
                  <a:cubicBezTo>
                    <a:pt x="1336" y="27"/>
                    <a:pt x="1337" y="27"/>
                    <a:pt x="1337" y="27"/>
                  </a:cubicBezTo>
                  <a:lnTo>
                    <a:pt x="1345" y="27"/>
                  </a:lnTo>
                  <a:lnTo>
                    <a:pt x="1345" y="14"/>
                  </a:lnTo>
                  <a:cubicBezTo>
                    <a:pt x="1345" y="14"/>
                    <a:pt x="1345" y="13"/>
                    <a:pt x="1345" y="13"/>
                  </a:cubicBezTo>
                  <a:cubicBezTo>
                    <a:pt x="1345" y="13"/>
                    <a:pt x="1345" y="13"/>
                    <a:pt x="1346" y="12"/>
                  </a:cubicBezTo>
                  <a:cubicBezTo>
                    <a:pt x="1346" y="12"/>
                    <a:pt x="1347" y="12"/>
                    <a:pt x="1347" y="12"/>
                  </a:cubicBezTo>
                  <a:cubicBezTo>
                    <a:pt x="1348" y="12"/>
                    <a:pt x="1349" y="12"/>
                    <a:pt x="1350" y="12"/>
                  </a:cubicBezTo>
                  <a:cubicBezTo>
                    <a:pt x="1351" y="12"/>
                    <a:pt x="1352" y="12"/>
                    <a:pt x="1352" y="12"/>
                  </a:cubicBezTo>
                  <a:cubicBezTo>
                    <a:pt x="1353" y="12"/>
                    <a:pt x="1354" y="12"/>
                    <a:pt x="1354" y="12"/>
                  </a:cubicBezTo>
                  <a:cubicBezTo>
                    <a:pt x="1354" y="13"/>
                    <a:pt x="1355" y="13"/>
                    <a:pt x="1355" y="13"/>
                  </a:cubicBezTo>
                  <a:cubicBezTo>
                    <a:pt x="1355" y="13"/>
                    <a:pt x="1355" y="14"/>
                    <a:pt x="1355" y="14"/>
                  </a:cubicBezTo>
                  <a:lnTo>
                    <a:pt x="1355" y="27"/>
                  </a:lnTo>
                  <a:lnTo>
                    <a:pt x="1370" y="27"/>
                  </a:lnTo>
                  <a:cubicBezTo>
                    <a:pt x="1370" y="27"/>
                    <a:pt x="1370" y="27"/>
                    <a:pt x="1370" y="27"/>
                  </a:cubicBezTo>
                  <a:cubicBezTo>
                    <a:pt x="1371" y="28"/>
                    <a:pt x="1371" y="28"/>
                    <a:pt x="1371" y="28"/>
                  </a:cubicBezTo>
                  <a:cubicBezTo>
                    <a:pt x="1371" y="29"/>
                    <a:pt x="1371" y="29"/>
                    <a:pt x="1371" y="30"/>
                  </a:cubicBezTo>
                  <a:cubicBezTo>
                    <a:pt x="1372" y="30"/>
                    <a:pt x="1372" y="31"/>
                    <a:pt x="1372" y="32"/>
                  </a:cubicBezTo>
                  <a:cubicBezTo>
                    <a:pt x="1372" y="33"/>
                    <a:pt x="1371" y="34"/>
                    <a:pt x="1371" y="35"/>
                  </a:cubicBezTo>
                  <a:cubicBezTo>
                    <a:pt x="1371" y="35"/>
                    <a:pt x="1370" y="36"/>
                    <a:pt x="1370" y="36"/>
                  </a:cubicBezTo>
                  <a:lnTo>
                    <a:pt x="1355" y="36"/>
                  </a:lnTo>
                  <a:lnTo>
                    <a:pt x="1355" y="67"/>
                  </a:lnTo>
                  <a:cubicBezTo>
                    <a:pt x="1355" y="71"/>
                    <a:pt x="1356" y="74"/>
                    <a:pt x="1357" y="76"/>
                  </a:cubicBezTo>
                  <a:cubicBezTo>
                    <a:pt x="1358" y="78"/>
                    <a:pt x="1360" y="79"/>
                    <a:pt x="1363" y="79"/>
                  </a:cubicBezTo>
                  <a:cubicBezTo>
                    <a:pt x="1364" y="79"/>
                    <a:pt x="1365" y="79"/>
                    <a:pt x="1366" y="79"/>
                  </a:cubicBezTo>
                  <a:cubicBezTo>
                    <a:pt x="1366" y="78"/>
                    <a:pt x="1367" y="78"/>
                    <a:pt x="1368" y="78"/>
                  </a:cubicBezTo>
                  <a:cubicBezTo>
                    <a:pt x="1368" y="78"/>
                    <a:pt x="1369" y="78"/>
                    <a:pt x="1369" y="77"/>
                  </a:cubicBezTo>
                  <a:cubicBezTo>
                    <a:pt x="1369" y="77"/>
                    <a:pt x="1370" y="77"/>
                    <a:pt x="1370" y="77"/>
                  </a:cubicBezTo>
                  <a:cubicBezTo>
                    <a:pt x="1370" y="77"/>
                    <a:pt x="1371" y="77"/>
                    <a:pt x="1371" y="77"/>
                  </a:cubicBezTo>
                  <a:cubicBezTo>
                    <a:pt x="1371" y="77"/>
                    <a:pt x="1371" y="78"/>
                    <a:pt x="1371" y="78"/>
                  </a:cubicBezTo>
                  <a:cubicBezTo>
                    <a:pt x="1371" y="78"/>
                    <a:pt x="1371" y="79"/>
                    <a:pt x="1371" y="79"/>
                  </a:cubicBezTo>
                  <a:cubicBezTo>
                    <a:pt x="1372" y="80"/>
                    <a:pt x="1372" y="80"/>
                    <a:pt x="1372" y="81"/>
                  </a:cubicBez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80">
              <a:extLst>
                <a:ext uri="{FF2B5EF4-FFF2-40B4-BE49-F238E27FC236}">
                  <a16:creationId xmlns:a16="http://schemas.microsoft.com/office/drawing/2014/main" id="{C4FB2D00-6770-497A-87C2-7F79BE893C97}"/>
                </a:ext>
              </a:extLst>
            </p:cNvPr>
            <p:cNvSpPr>
              <a:spLocks noEditPoints="1"/>
            </p:cNvSpPr>
            <p:nvPr/>
          </p:nvSpPr>
          <p:spPr bwMode="auto">
            <a:xfrm>
              <a:off x="2560" y="1497"/>
              <a:ext cx="1278" cy="637"/>
            </a:xfrm>
            <a:custGeom>
              <a:avLst/>
              <a:gdLst>
                <a:gd name="T0" fmla="*/ 2853 w 2855"/>
                <a:gd name="T1" fmla="*/ 5 h 1421"/>
                <a:gd name="T2" fmla="*/ 2791 w 2855"/>
                <a:gd name="T3" fmla="*/ 7 h 1421"/>
                <a:gd name="T4" fmla="*/ 2730 w 2855"/>
                <a:gd name="T5" fmla="*/ 10 h 1421"/>
                <a:gd name="T6" fmla="*/ 2668 w 2855"/>
                <a:gd name="T7" fmla="*/ 7 h 1421"/>
                <a:gd name="T8" fmla="*/ 2607 w 2855"/>
                <a:gd name="T9" fmla="*/ 11 h 1421"/>
                <a:gd name="T10" fmla="*/ 2546 w 2855"/>
                <a:gd name="T11" fmla="*/ 17 h 1421"/>
                <a:gd name="T12" fmla="*/ 2485 w 2855"/>
                <a:gd name="T13" fmla="*/ 23 h 1421"/>
                <a:gd name="T14" fmla="*/ 2423 w 2855"/>
                <a:gd name="T15" fmla="*/ 30 h 1421"/>
                <a:gd name="T16" fmla="*/ 2363 w 2855"/>
                <a:gd name="T17" fmla="*/ 39 h 1421"/>
                <a:gd name="T18" fmla="*/ 2302 w 2855"/>
                <a:gd name="T19" fmla="*/ 49 h 1421"/>
                <a:gd name="T20" fmla="*/ 2206 w 2855"/>
                <a:gd name="T21" fmla="*/ 65 h 1421"/>
                <a:gd name="T22" fmla="*/ 2144 w 2855"/>
                <a:gd name="T23" fmla="*/ 81 h 1421"/>
                <a:gd name="T24" fmla="*/ 2084 w 2855"/>
                <a:gd name="T25" fmla="*/ 93 h 1421"/>
                <a:gd name="T26" fmla="*/ 2027 w 2855"/>
                <a:gd name="T27" fmla="*/ 108 h 1421"/>
                <a:gd name="T28" fmla="*/ 2002 w 2855"/>
                <a:gd name="T29" fmla="*/ 115 h 1421"/>
                <a:gd name="T30" fmla="*/ 1943 w 2855"/>
                <a:gd name="T31" fmla="*/ 131 h 1421"/>
                <a:gd name="T32" fmla="*/ 1884 w 2855"/>
                <a:gd name="T33" fmla="*/ 148 h 1421"/>
                <a:gd name="T34" fmla="*/ 1825 w 2855"/>
                <a:gd name="T35" fmla="*/ 164 h 1421"/>
                <a:gd name="T36" fmla="*/ 1766 w 2855"/>
                <a:gd name="T37" fmla="*/ 184 h 1421"/>
                <a:gd name="T38" fmla="*/ 1708 w 2855"/>
                <a:gd name="T39" fmla="*/ 203 h 1421"/>
                <a:gd name="T40" fmla="*/ 1650 w 2855"/>
                <a:gd name="T41" fmla="*/ 223 h 1421"/>
                <a:gd name="T42" fmla="*/ 1651 w 2855"/>
                <a:gd name="T43" fmla="*/ 219 h 1421"/>
                <a:gd name="T44" fmla="*/ 1594 w 2855"/>
                <a:gd name="T45" fmla="*/ 241 h 1421"/>
                <a:gd name="T46" fmla="*/ 1537 w 2855"/>
                <a:gd name="T47" fmla="*/ 264 h 1421"/>
                <a:gd name="T48" fmla="*/ 1480 w 2855"/>
                <a:gd name="T49" fmla="*/ 287 h 1421"/>
                <a:gd name="T50" fmla="*/ 1423 w 2855"/>
                <a:gd name="T51" fmla="*/ 310 h 1421"/>
                <a:gd name="T52" fmla="*/ 1368 w 2855"/>
                <a:gd name="T53" fmla="*/ 336 h 1421"/>
                <a:gd name="T54" fmla="*/ 1312 w 2855"/>
                <a:gd name="T55" fmla="*/ 362 h 1421"/>
                <a:gd name="T56" fmla="*/ 1256 w 2855"/>
                <a:gd name="T57" fmla="*/ 389 h 1421"/>
                <a:gd name="T58" fmla="*/ 1202 w 2855"/>
                <a:gd name="T59" fmla="*/ 418 h 1421"/>
                <a:gd name="T60" fmla="*/ 1148 w 2855"/>
                <a:gd name="T61" fmla="*/ 447 h 1421"/>
                <a:gd name="T62" fmla="*/ 1074 w 2855"/>
                <a:gd name="T63" fmla="*/ 483 h 1421"/>
                <a:gd name="T64" fmla="*/ 1007 w 2855"/>
                <a:gd name="T65" fmla="*/ 524 h 1421"/>
                <a:gd name="T66" fmla="*/ 954 w 2855"/>
                <a:gd name="T67" fmla="*/ 556 h 1421"/>
                <a:gd name="T68" fmla="*/ 902 w 2855"/>
                <a:gd name="T69" fmla="*/ 588 h 1421"/>
                <a:gd name="T70" fmla="*/ 851 w 2855"/>
                <a:gd name="T71" fmla="*/ 623 h 1421"/>
                <a:gd name="T72" fmla="*/ 800 w 2855"/>
                <a:gd name="T73" fmla="*/ 658 h 1421"/>
                <a:gd name="T74" fmla="*/ 750 w 2855"/>
                <a:gd name="T75" fmla="*/ 693 h 1421"/>
                <a:gd name="T76" fmla="*/ 701 w 2855"/>
                <a:gd name="T77" fmla="*/ 730 h 1421"/>
                <a:gd name="T78" fmla="*/ 652 w 2855"/>
                <a:gd name="T79" fmla="*/ 767 h 1421"/>
                <a:gd name="T80" fmla="*/ 604 w 2855"/>
                <a:gd name="T81" fmla="*/ 805 h 1421"/>
                <a:gd name="T82" fmla="*/ 555 w 2855"/>
                <a:gd name="T83" fmla="*/ 847 h 1421"/>
                <a:gd name="T84" fmla="*/ 513 w 2855"/>
                <a:gd name="T85" fmla="*/ 888 h 1421"/>
                <a:gd name="T86" fmla="*/ 466 w 2855"/>
                <a:gd name="T87" fmla="*/ 928 h 1421"/>
                <a:gd name="T88" fmla="*/ 420 w 2855"/>
                <a:gd name="T89" fmla="*/ 968 h 1421"/>
                <a:gd name="T90" fmla="*/ 376 w 2855"/>
                <a:gd name="T91" fmla="*/ 1011 h 1421"/>
                <a:gd name="T92" fmla="*/ 332 w 2855"/>
                <a:gd name="T93" fmla="*/ 1054 h 1421"/>
                <a:gd name="T94" fmla="*/ 288 w 2855"/>
                <a:gd name="T95" fmla="*/ 1097 h 1421"/>
                <a:gd name="T96" fmla="*/ 264 w 2855"/>
                <a:gd name="T97" fmla="*/ 1119 h 1421"/>
                <a:gd name="T98" fmla="*/ 269 w 2855"/>
                <a:gd name="T99" fmla="*/ 1114 h 1421"/>
                <a:gd name="T100" fmla="*/ 228 w 2855"/>
                <a:gd name="T101" fmla="*/ 1156 h 1421"/>
                <a:gd name="T102" fmla="*/ 186 w 2855"/>
                <a:gd name="T103" fmla="*/ 1201 h 1421"/>
                <a:gd name="T104" fmla="*/ 121 w 2855"/>
                <a:gd name="T105" fmla="*/ 1270 h 1421"/>
                <a:gd name="T106" fmla="*/ 78 w 2855"/>
                <a:gd name="T107" fmla="*/ 1321 h 1421"/>
                <a:gd name="T108" fmla="*/ 40 w 2855"/>
                <a:gd name="T109" fmla="*/ 1369 h 1421"/>
                <a:gd name="T110" fmla="*/ 1 w 2855"/>
                <a:gd name="T111" fmla="*/ 1417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5" h="1421">
                  <a:moveTo>
                    <a:pt x="2853" y="5"/>
                  </a:moveTo>
                  <a:lnTo>
                    <a:pt x="2817" y="6"/>
                  </a:lnTo>
                  <a:cubicBezTo>
                    <a:pt x="2815" y="6"/>
                    <a:pt x="2814" y="5"/>
                    <a:pt x="2814" y="4"/>
                  </a:cubicBezTo>
                  <a:cubicBezTo>
                    <a:pt x="2814" y="3"/>
                    <a:pt x="2815" y="1"/>
                    <a:pt x="2817" y="1"/>
                  </a:cubicBezTo>
                  <a:lnTo>
                    <a:pt x="2852" y="0"/>
                  </a:lnTo>
                  <a:cubicBezTo>
                    <a:pt x="2854" y="0"/>
                    <a:pt x="2855" y="1"/>
                    <a:pt x="2855" y="2"/>
                  </a:cubicBezTo>
                  <a:cubicBezTo>
                    <a:pt x="2855" y="4"/>
                    <a:pt x="2854" y="5"/>
                    <a:pt x="2853" y="5"/>
                  </a:cubicBezTo>
                  <a:close/>
                  <a:moveTo>
                    <a:pt x="2791" y="7"/>
                  </a:moveTo>
                  <a:lnTo>
                    <a:pt x="2755" y="9"/>
                  </a:lnTo>
                  <a:cubicBezTo>
                    <a:pt x="2754" y="9"/>
                    <a:pt x="2753" y="8"/>
                    <a:pt x="2753" y="6"/>
                  </a:cubicBezTo>
                  <a:cubicBezTo>
                    <a:pt x="2753" y="5"/>
                    <a:pt x="2754" y="4"/>
                    <a:pt x="2755" y="4"/>
                  </a:cubicBezTo>
                  <a:lnTo>
                    <a:pt x="2791" y="2"/>
                  </a:lnTo>
                  <a:cubicBezTo>
                    <a:pt x="2792" y="2"/>
                    <a:pt x="2794" y="3"/>
                    <a:pt x="2794" y="5"/>
                  </a:cubicBezTo>
                  <a:cubicBezTo>
                    <a:pt x="2794" y="6"/>
                    <a:pt x="2793" y="7"/>
                    <a:pt x="2791" y="7"/>
                  </a:cubicBezTo>
                  <a:close/>
                  <a:moveTo>
                    <a:pt x="2730" y="10"/>
                  </a:moveTo>
                  <a:lnTo>
                    <a:pt x="2694" y="11"/>
                  </a:lnTo>
                  <a:cubicBezTo>
                    <a:pt x="2693" y="11"/>
                    <a:pt x="2691" y="10"/>
                    <a:pt x="2691" y="9"/>
                  </a:cubicBezTo>
                  <a:cubicBezTo>
                    <a:pt x="2691" y="7"/>
                    <a:pt x="2692" y="6"/>
                    <a:pt x="2694" y="6"/>
                  </a:cubicBezTo>
                  <a:lnTo>
                    <a:pt x="2730" y="5"/>
                  </a:lnTo>
                  <a:cubicBezTo>
                    <a:pt x="2731" y="5"/>
                    <a:pt x="2732" y="6"/>
                    <a:pt x="2732" y="7"/>
                  </a:cubicBezTo>
                  <a:cubicBezTo>
                    <a:pt x="2732" y="8"/>
                    <a:pt x="2731" y="10"/>
                    <a:pt x="2730" y="10"/>
                  </a:cubicBezTo>
                  <a:close/>
                  <a:moveTo>
                    <a:pt x="2668" y="12"/>
                  </a:moveTo>
                  <a:lnTo>
                    <a:pt x="2643" y="13"/>
                  </a:lnTo>
                  <a:lnTo>
                    <a:pt x="2633" y="14"/>
                  </a:lnTo>
                  <a:cubicBezTo>
                    <a:pt x="2631" y="14"/>
                    <a:pt x="2630" y="13"/>
                    <a:pt x="2630" y="12"/>
                  </a:cubicBezTo>
                  <a:cubicBezTo>
                    <a:pt x="2630" y="10"/>
                    <a:pt x="2631" y="9"/>
                    <a:pt x="2632" y="9"/>
                  </a:cubicBezTo>
                  <a:lnTo>
                    <a:pt x="2642" y="8"/>
                  </a:lnTo>
                  <a:lnTo>
                    <a:pt x="2668" y="7"/>
                  </a:lnTo>
                  <a:cubicBezTo>
                    <a:pt x="2670" y="7"/>
                    <a:pt x="2671" y="8"/>
                    <a:pt x="2671" y="9"/>
                  </a:cubicBezTo>
                  <a:cubicBezTo>
                    <a:pt x="2671" y="11"/>
                    <a:pt x="2670" y="12"/>
                    <a:pt x="2668" y="12"/>
                  </a:cubicBezTo>
                  <a:close/>
                  <a:moveTo>
                    <a:pt x="2607" y="16"/>
                  </a:moveTo>
                  <a:lnTo>
                    <a:pt x="2572" y="20"/>
                  </a:lnTo>
                  <a:cubicBezTo>
                    <a:pt x="2570" y="20"/>
                    <a:pt x="2569" y="19"/>
                    <a:pt x="2569" y="18"/>
                  </a:cubicBezTo>
                  <a:cubicBezTo>
                    <a:pt x="2569" y="16"/>
                    <a:pt x="2570" y="15"/>
                    <a:pt x="2571" y="15"/>
                  </a:cubicBezTo>
                  <a:lnTo>
                    <a:pt x="2607" y="11"/>
                  </a:lnTo>
                  <a:cubicBezTo>
                    <a:pt x="2608" y="11"/>
                    <a:pt x="2609" y="12"/>
                    <a:pt x="2610" y="14"/>
                  </a:cubicBezTo>
                  <a:cubicBezTo>
                    <a:pt x="2610" y="15"/>
                    <a:pt x="2609" y="16"/>
                    <a:pt x="2607" y="16"/>
                  </a:cubicBezTo>
                  <a:close/>
                  <a:moveTo>
                    <a:pt x="2546" y="22"/>
                  </a:moveTo>
                  <a:lnTo>
                    <a:pt x="2510" y="26"/>
                  </a:lnTo>
                  <a:cubicBezTo>
                    <a:pt x="2509" y="26"/>
                    <a:pt x="2508" y="25"/>
                    <a:pt x="2508" y="23"/>
                  </a:cubicBezTo>
                  <a:cubicBezTo>
                    <a:pt x="2508" y="22"/>
                    <a:pt x="2509" y="21"/>
                    <a:pt x="2510" y="21"/>
                  </a:cubicBezTo>
                  <a:lnTo>
                    <a:pt x="2546" y="17"/>
                  </a:lnTo>
                  <a:cubicBezTo>
                    <a:pt x="2547" y="17"/>
                    <a:pt x="2548" y="18"/>
                    <a:pt x="2548" y="20"/>
                  </a:cubicBezTo>
                  <a:cubicBezTo>
                    <a:pt x="2549" y="21"/>
                    <a:pt x="2548" y="22"/>
                    <a:pt x="2546" y="22"/>
                  </a:cubicBezTo>
                  <a:close/>
                  <a:moveTo>
                    <a:pt x="2485" y="28"/>
                  </a:moveTo>
                  <a:lnTo>
                    <a:pt x="2449" y="32"/>
                  </a:lnTo>
                  <a:cubicBezTo>
                    <a:pt x="2448" y="32"/>
                    <a:pt x="2447" y="31"/>
                    <a:pt x="2447" y="29"/>
                  </a:cubicBezTo>
                  <a:cubicBezTo>
                    <a:pt x="2446" y="28"/>
                    <a:pt x="2447" y="27"/>
                    <a:pt x="2449" y="27"/>
                  </a:cubicBezTo>
                  <a:lnTo>
                    <a:pt x="2485" y="23"/>
                  </a:lnTo>
                  <a:cubicBezTo>
                    <a:pt x="2486" y="23"/>
                    <a:pt x="2487" y="24"/>
                    <a:pt x="2487" y="25"/>
                  </a:cubicBezTo>
                  <a:cubicBezTo>
                    <a:pt x="2487" y="27"/>
                    <a:pt x="2486" y="28"/>
                    <a:pt x="2485" y="28"/>
                  </a:cubicBezTo>
                  <a:close/>
                  <a:moveTo>
                    <a:pt x="2424" y="35"/>
                  </a:moveTo>
                  <a:lnTo>
                    <a:pt x="2389" y="40"/>
                  </a:lnTo>
                  <a:cubicBezTo>
                    <a:pt x="2387" y="41"/>
                    <a:pt x="2386" y="40"/>
                    <a:pt x="2386" y="38"/>
                  </a:cubicBezTo>
                  <a:cubicBezTo>
                    <a:pt x="2386" y="37"/>
                    <a:pt x="2386" y="35"/>
                    <a:pt x="2388" y="35"/>
                  </a:cubicBezTo>
                  <a:lnTo>
                    <a:pt x="2423" y="30"/>
                  </a:lnTo>
                  <a:cubicBezTo>
                    <a:pt x="2425" y="30"/>
                    <a:pt x="2426" y="31"/>
                    <a:pt x="2426" y="32"/>
                  </a:cubicBezTo>
                  <a:cubicBezTo>
                    <a:pt x="2426" y="33"/>
                    <a:pt x="2425" y="35"/>
                    <a:pt x="2424" y="35"/>
                  </a:cubicBezTo>
                  <a:close/>
                  <a:moveTo>
                    <a:pt x="2363" y="44"/>
                  </a:moveTo>
                  <a:lnTo>
                    <a:pt x="2328" y="50"/>
                  </a:lnTo>
                  <a:cubicBezTo>
                    <a:pt x="2327" y="50"/>
                    <a:pt x="2325" y="49"/>
                    <a:pt x="2325" y="48"/>
                  </a:cubicBezTo>
                  <a:cubicBezTo>
                    <a:pt x="2325" y="46"/>
                    <a:pt x="2326" y="45"/>
                    <a:pt x="2327" y="45"/>
                  </a:cubicBezTo>
                  <a:lnTo>
                    <a:pt x="2363" y="39"/>
                  </a:lnTo>
                  <a:cubicBezTo>
                    <a:pt x="2364" y="39"/>
                    <a:pt x="2365" y="40"/>
                    <a:pt x="2366" y="41"/>
                  </a:cubicBezTo>
                  <a:cubicBezTo>
                    <a:pt x="2366" y="43"/>
                    <a:pt x="2365" y="44"/>
                    <a:pt x="2363" y="44"/>
                  </a:cubicBezTo>
                  <a:close/>
                  <a:moveTo>
                    <a:pt x="2303" y="54"/>
                  </a:moveTo>
                  <a:lnTo>
                    <a:pt x="2267" y="59"/>
                  </a:lnTo>
                  <a:cubicBezTo>
                    <a:pt x="2266" y="59"/>
                    <a:pt x="2265" y="58"/>
                    <a:pt x="2264" y="57"/>
                  </a:cubicBezTo>
                  <a:cubicBezTo>
                    <a:pt x="2264" y="56"/>
                    <a:pt x="2265" y="54"/>
                    <a:pt x="2266" y="54"/>
                  </a:cubicBezTo>
                  <a:lnTo>
                    <a:pt x="2302" y="49"/>
                  </a:lnTo>
                  <a:cubicBezTo>
                    <a:pt x="2303" y="48"/>
                    <a:pt x="2305" y="49"/>
                    <a:pt x="2305" y="51"/>
                  </a:cubicBezTo>
                  <a:cubicBezTo>
                    <a:pt x="2305" y="52"/>
                    <a:pt x="2304" y="53"/>
                    <a:pt x="2303" y="54"/>
                  </a:cubicBezTo>
                  <a:close/>
                  <a:moveTo>
                    <a:pt x="2242" y="63"/>
                  </a:moveTo>
                  <a:lnTo>
                    <a:pt x="2230" y="65"/>
                  </a:lnTo>
                  <a:lnTo>
                    <a:pt x="2207" y="70"/>
                  </a:lnTo>
                  <a:cubicBezTo>
                    <a:pt x="2206" y="70"/>
                    <a:pt x="2204" y="69"/>
                    <a:pt x="2204" y="68"/>
                  </a:cubicBezTo>
                  <a:cubicBezTo>
                    <a:pt x="2204" y="67"/>
                    <a:pt x="2204" y="65"/>
                    <a:pt x="2206" y="65"/>
                  </a:cubicBezTo>
                  <a:lnTo>
                    <a:pt x="2229" y="60"/>
                  </a:lnTo>
                  <a:lnTo>
                    <a:pt x="2241" y="58"/>
                  </a:lnTo>
                  <a:cubicBezTo>
                    <a:pt x="2243" y="58"/>
                    <a:pt x="2244" y="59"/>
                    <a:pt x="2244" y="60"/>
                  </a:cubicBezTo>
                  <a:cubicBezTo>
                    <a:pt x="2244" y="62"/>
                    <a:pt x="2243" y="63"/>
                    <a:pt x="2242" y="63"/>
                  </a:cubicBezTo>
                  <a:close/>
                  <a:moveTo>
                    <a:pt x="2182" y="75"/>
                  </a:moveTo>
                  <a:lnTo>
                    <a:pt x="2147" y="83"/>
                  </a:lnTo>
                  <a:cubicBezTo>
                    <a:pt x="2145" y="83"/>
                    <a:pt x="2144" y="82"/>
                    <a:pt x="2144" y="81"/>
                  </a:cubicBezTo>
                  <a:cubicBezTo>
                    <a:pt x="2144" y="79"/>
                    <a:pt x="2144" y="78"/>
                    <a:pt x="2146" y="78"/>
                  </a:cubicBezTo>
                  <a:lnTo>
                    <a:pt x="2181" y="70"/>
                  </a:lnTo>
                  <a:cubicBezTo>
                    <a:pt x="2182" y="70"/>
                    <a:pt x="2184" y="71"/>
                    <a:pt x="2184" y="72"/>
                  </a:cubicBezTo>
                  <a:cubicBezTo>
                    <a:pt x="2184" y="74"/>
                    <a:pt x="2183" y="75"/>
                    <a:pt x="2182" y="75"/>
                  </a:cubicBezTo>
                  <a:close/>
                  <a:moveTo>
                    <a:pt x="2122" y="88"/>
                  </a:moveTo>
                  <a:lnTo>
                    <a:pt x="2087" y="95"/>
                  </a:lnTo>
                  <a:cubicBezTo>
                    <a:pt x="2085" y="96"/>
                    <a:pt x="2084" y="95"/>
                    <a:pt x="2084" y="93"/>
                  </a:cubicBezTo>
                  <a:cubicBezTo>
                    <a:pt x="2083" y="92"/>
                    <a:pt x="2084" y="91"/>
                    <a:pt x="2086" y="90"/>
                  </a:cubicBezTo>
                  <a:lnTo>
                    <a:pt x="2121" y="83"/>
                  </a:lnTo>
                  <a:cubicBezTo>
                    <a:pt x="2122" y="83"/>
                    <a:pt x="2123" y="84"/>
                    <a:pt x="2124" y="85"/>
                  </a:cubicBezTo>
                  <a:cubicBezTo>
                    <a:pt x="2124" y="86"/>
                    <a:pt x="2123" y="88"/>
                    <a:pt x="2122" y="88"/>
                  </a:cubicBezTo>
                  <a:close/>
                  <a:moveTo>
                    <a:pt x="2062" y="101"/>
                  </a:moveTo>
                  <a:lnTo>
                    <a:pt x="2028" y="108"/>
                  </a:lnTo>
                  <a:lnTo>
                    <a:pt x="2027" y="108"/>
                  </a:lnTo>
                  <a:cubicBezTo>
                    <a:pt x="2025" y="109"/>
                    <a:pt x="2024" y="108"/>
                    <a:pt x="2024" y="107"/>
                  </a:cubicBezTo>
                  <a:cubicBezTo>
                    <a:pt x="2023" y="105"/>
                    <a:pt x="2024" y="104"/>
                    <a:pt x="2025" y="103"/>
                  </a:cubicBezTo>
                  <a:lnTo>
                    <a:pt x="2027" y="103"/>
                  </a:lnTo>
                  <a:lnTo>
                    <a:pt x="2061" y="96"/>
                  </a:lnTo>
                  <a:cubicBezTo>
                    <a:pt x="2062" y="95"/>
                    <a:pt x="2063" y="96"/>
                    <a:pt x="2064" y="98"/>
                  </a:cubicBezTo>
                  <a:cubicBezTo>
                    <a:pt x="2064" y="99"/>
                    <a:pt x="2063" y="101"/>
                    <a:pt x="2062" y="101"/>
                  </a:cubicBezTo>
                  <a:close/>
                  <a:moveTo>
                    <a:pt x="2002" y="115"/>
                  </a:moveTo>
                  <a:lnTo>
                    <a:pt x="1968" y="125"/>
                  </a:lnTo>
                  <a:cubicBezTo>
                    <a:pt x="1966" y="125"/>
                    <a:pt x="1965" y="124"/>
                    <a:pt x="1964" y="123"/>
                  </a:cubicBezTo>
                  <a:cubicBezTo>
                    <a:pt x="1964" y="122"/>
                    <a:pt x="1965" y="120"/>
                    <a:pt x="1966" y="120"/>
                  </a:cubicBezTo>
                  <a:lnTo>
                    <a:pt x="2001" y="110"/>
                  </a:lnTo>
                  <a:cubicBezTo>
                    <a:pt x="2002" y="110"/>
                    <a:pt x="2004" y="111"/>
                    <a:pt x="2004" y="112"/>
                  </a:cubicBezTo>
                  <a:cubicBezTo>
                    <a:pt x="2004" y="113"/>
                    <a:pt x="2004" y="115"/>
                    <a:pt x="2002" y="115"/>
                  </a:cubicBezTo>
                  <a:close/>
                  <a:moveTo>
                    <a:pt x="1943" y="131"/>
                  </a:moveTo>
                  <a:lnTo>
                    <a:pt x="1908" y="141"/>
                  </a:lnTo>
                  <a:cubicBezTo>
                    <a:pt x="1907" y="141"/>
                    <a:pt x="1906" y="141"/>
                    <a:pt x="1905" y="139"/>
                  </a:cubicBezTo>
                  <a:cubicBezTo>
                    <a:pt x="1905" y="138"/>
                    <a:pt x="1906" y="136"/>
                    <a:pt x="1907" y="136"/>
                  </a:cubicBezTo>
                  <a:lnTo>
                    <a:pt x="1942" y="127"/>
                  </a:lnTo>
                  <a:cubicBezTo>
                    <a:pt x="1943" y="126"/>
                    <a:pt x="1944" y="127"/>
                    <a:pt x="1945" y="128"/>
                  </a:cubicBezTo>
                  <a:cubicBezTo>
                    <a:pt x="1945" y="130"/>
                    <a:pt x="1944" y="131"/>
                    <a:pt x="1943" y="131"/>
                  </a:cubicBezTo>
                  <a:close/>
                  <a:moveTo>
                    <a:pt x="1884" y="148"/>
                  </a:moveTo>
                  <a:lnTo>
                    <a:pt x="1849" y="157"/>
                  </a:lnTo>
                  <a:cubicBezTo>
                    <a:pt x="1848" y="158"/>
                    <a:pt x="1846" y="157"/>
                    <a:pt x="1846" y="156"/>
                  </a:cubicBezTo>
                  <a:cubicBezTo>
                    <a:pt x="1846" y="154"/>
                    <a:pt x="1846" y="153"/>
                    <a:pt x="1848" y="152"/>
                  </a:cubicBezTo>
                  <a:lnTo>
                    <a:pt x="1882" y="143"/>
                  </a:lnTo>
                  <a:cubicBezTo>
                    <a:pt x="1884" y="143"/>
                    <a:pt x="1885" y="143"/>
                    <a:pt x="1886" y="145"/>
                  </a:cubicBezTo>
                  <a:cubicBezTo>
                    <a:pt x="1886" y="146"/>
                    <a:pt x="1885" y="147"/>
                    <a:pt x="1884" y="148"/>
                  </a:cubicBezTo>
                  <a:close/>
                  <a:moveTo>
                    <a:pt x="1825" y="164"/>
                  </a:moveTo>
                  <a:lnTo>
                    <a:pt x="1791" y="176"/>
                  </a:lnTo>
                  <a:cubicBezTo>
                    <a:pt x="1789" y="176"/>
                    <a:pt x="1788" y="175"/>
                    <a:pt x="1787" y="174"/>
                  </a:cubicBezTo>
                  <a:cubicBezTo>
                    <a:pt x="1787" y="173"/>
                    <a:pt x="1788" y="171"/>
                    <a:pt x="1789" y="171"/>
                  </a:cubicBezTo>
                  <a:lnTo>
                    <a:pt x="1823" y="160"/>
                  </a:lnTo>
                  <a:cubicBezTo>
                    <a:pt x="1824" y="159"/>
                    <a:pt x="1826" y="160"/>
                    <a:pt x="1826" y="161"/>
                  </a:cubicBezTo>
                  <a:cubicBezTo>
                    <a:pt x="1827" y="163"/>
                    <a:pt x="1826" y="164"/>
                    <a:pt x="1825" y="164"/>
                  </a:cubicBezTo>
                  <a:close/>
                  <a:moveTo>
                    <a:pt x="1766" y="184"/>
                  </a:moveTo>
                  <a:lnTo>
                    <a:pt x="1732" y="195"/>
                  </a:lnTo>
                  <a:cubicBezTo>
                    <a:pt x="1731" y="196"/>
                    <a:pt x="1730" y="195"/>
                    <a:pt x="1729" y="194"/>
                  </a:cubicBezTo>
                  <a:cubicBezTo>
                    <a:pt x="1729" y="192"/>
                    <a:pt x="1729" y="191"/>
                    <a:pt x="1731" y="190"/>
                  </a:cubicBezTo>
                  <a:lnTo>
                    <a:pt x="1765" y="179"/>
                  </a:lnTo>
                  <a:cubicBezTo>
                    <a:pt x="1766" y="179"/>
                    <a:pt x="1768" y="179"/>
                    <a:pt x="1768" y="181"/>
                  </a:cubicBezTo>
                  <a:cubicBezTo>
                    <a:pt x="1769" y="182"/>
                    <a:pt x="1768" y="183"/>
                    <a:pt x="1766" y="184"/>
                  </a:cubicBezTo>
                  <a:close/>
                  <a:moveTo>
                    <a:pt x="1708" y="203"/>
                  </a:moveTo>
                  <a:lnTo>
                    <a:pt x="1674" y="215"/>
                  </a:lnTo>
                  <a:cubicBezTo>
                    <a:pt x="1673" y="215"/>
                    <a:pt x="1671" y="214"/>
                    <a:pt x="1671" y="213"/>
                  </a:cubicBezTo>
                  <a:cubicBezTo>
                    <a:pt x="1670" y="212"/>
                    <a:pt x="1671" y="210"/>
                    <a:pt x="1673" y="210"/>
                  </a:cubicBezTo>
                  <a:lnTo>
                    <a:pt x="1707" y="198"/>
                  </a:lnTo>
                  <a:cubicBezTo>
                    <a:pt x="1708" y="198"/>
                    <a:pt x="1709" y="199"/>
                    <a:pt x="1710" y="200"/>
                  </a:cubicBezTo>
                  <a:cubicBezTo>
                    <a:pt x="1710" y="201"/>
                    <a:pt x="1710" y="203"/>
                    <a:pt x="1708" y="203"/>
                  </a:cubicBezTo>
                  <a:close/>
                  <a:moveTo>
                    <a:pt x="1650" y="223"/>
                  </a:moveTo>
                  <a:lnTo>
                    <a:pt x="1634" y="228"/>
                  </a:lnTo>
                  <a:lnTo>
                    <a:pt x="1616" y="235"/>
                  </a:lnTo>
                  <a:cubicBezTo>
                    <a:pt x="1615" y="236"/>
                    <a:pt x="1614" y="235"/>
                    <a:pt x="1613" y="234"/>
                  </a:cubicBezTo>
                  <a:cubicBezTo>
                    <a:pt x="1613" y="232"/>
                    <a:pt x="1613" y="231"/>
                    <a:pt x="1615" y="230"/>
                  </a:cubicBezTo>
                  <a:lnTo>
                    <a:pt x="1633" y="223"/>
                  </a:lnTo>
                  <a:lnTo>
                    <a:pt x="1648" y="218"/>
                  </a:lnTo>
                  <a:cubicBezTo>
                    <a:pt x="1650" y="217"/>
                    <a:pt x="1651" y="218"/>
                    <a:pt x="1651" y="219"/>
                  </a:cubicBezTo>
                  <a:cubicBezTo>
                    <a:pt x="1652" y="221"/>
                    <a:pt x="1651" y="222"/>
                    <a:pt x="1650" y="223"/>
                  </a:cubicBezTo>
                  <a:close/>
                  <a:moveTo>
                    <a:pt x="1593" y="244"/>
                  </a:moveTo>
                  <a:lnTo>
                    <a:pt x="1559" y="258"/>
                  </a:lnTo>
                  <a:cubicBezTo>
                    <a:pt x="1558" y="258"/>
                    <a:pt x="1557" y="258"/>
                    <a:pt x="1556" y="256"/>
                  </a:cubicBezTo>
                  <a:cubicBezTo>
                    <a:pt x="1555" y="255"/>
                    <a:pt x="1556" y="253"/>
                    <a:pt x="1557" y="253"/>
                  </a:cubicBezTo>
                  <a:lnTo>
                    <a:pt x="1591" y="240"/>
                  </a:lnTo>
                  <a:cubicBezTo>
                    <a:pt x="1592" y="239"/>
                    <a:pt x="1594" y="240"/>
                    <a:pt x="1594" y="241"/>
                  </a:cubicBezTo>
                  <a:cubicBezTo>
                    <a:pt x="1595" y="242"/>
                    <a:pt x="1594" y="244"/>
                    <a:pt x="1593" y="244"/>
                  </a:cubicBezTo>
                  <a:close/>
                  <a:moveTo>
                    <a:pt x="1536" y="267"/>
                  </a:moveTo>
                  <a:lnTo>
                    <a:pt x="1502" y="280"/>
                  </a:lnTo>
                  <a:cubicBezTo>
                    <a:pt x="1501" y="281"/>
                    <a:pt x="1499" y="280"/>
                    <a:pt x="1499" y="279"/>
                  </a:cubicBezTo>
                  <a:cubicBezTo>
                    <a:pt x="1498" y="278"/>
                    <a:pt x="1499" y="276"/>
                    <a:pt x="1500" y="276"/>
                  </a:cubicBezTo>
                  <a:lnTo>
                    <a:pt x="1534" y="262"/>
                  </a:lnTo>
                  <a:cubicBezTo>
                    <a:pt x="1535" y="262"/>
                    <a:pt x="1536" y="263"/>
                    <a:pt x="1537" y="264"/>
                  </a:cubicBezTo>
                  <a:cubicBezTo>
                    <a:pt x="1537" y="265"/>
                    <a:pt x="1537" y="267"/>
                    <a:pt x="1536" y="267"/>
                  </a:cubicBezTo>
                  <a:close/>
                  <a:moveTo>
                    <a:pt x="1478" y="290"/>
                  </a:moveTo>
                  <a:lnTo>
                    <a:pt x="1445" y="303"/>
                  </a:lnTo>
                  <a:cubicBezTo>
                    <a:pt x="1444" y="304"/>
                    <a:pt x="1442" y="303"/>
                    <a:pt x="1442" y="302"/>
                  </a:cubicBezTo>
                  <a:cubicBezTo>
                    <a:pt x="1441" y="300"/>
                    <a:pt x="1442" y="299"/>
                    <a:pt x="1443" y="298"/>
                  </a:cubicBezTo>
                  <a:lnTo>
                    <a:pt x="1477" y="285"/>
                  </a:lnTo>
                  <a:cubicBezTo>
                    <a:pt x="1478" y="285"/>
                    <a:pt x="1479" y="285"/>
                    <a:pt x="1480" y="287"/>
                  </a:cubicBezTo>
                  <a:cubicBezTo>
                    <a:pt x="1480" y="288"/>
                    <a:pt x="1480" y="289"/>
                    <a:pt x="1478" y="290"/>
                  </a:cubicBezTo>
                  <a:close/>
                  <a:moveTo>
                    <a:pt x="1422" y="314"/>
                  </a:moveTo>
                  <a:lnTo>
                    <a:pt x="1390" y="329"/>
                  </a:lnTo>
                  <a:cubicBezTo>
                    <a:pt x="1388" y="330"/>
                    <a:pt x="1387" y="329"/>
                    <a:pt x="1386" y="328"/>
                  </a:cubicBezTo>
                  <a:cubicBezTo>
                    <a:pt x="1386" y="327"/>
                    <a:pt x="1386" y="325"/>
                    <a:pt x="1387" y="324"/>
                  </a:cubicBezTo>
                  <a:lnTo>
                    <a:pt x="1420" y="309"/>
                  </a:lnTo>
                  <a:cubicBezTo>
                    <a:pt x="1421" y="309"/>
                    <a:pt x="1423" y="309"/>
                    <a:pt x="1423" y="310"/>
                  </a:cubicBezTo>
                  <a:cubicBezTo>
                    <a:pt x="1424" y="312"/>
                    <a:pt x="1423" y="313"/>
                    <a:pt x="1422" y="314"/>
                  </a:cubicBezTo>
                  <a:close/>
                  <a:moveTo>
                    <a:pt x="1366" y="340"/>
                  </a:moveTo>
                  <a:lnTo>
                    <a:pt x="1334" y="355"/>
                  </a:lnTo>
                  <a:cubicBezTo>
                    <a:pt x="1333" y="356"/>
                    <a:pt x="1331" y="355"/>
                    <a:pt x="1331" y="354"/>
                  </a:cubicBezTo>
                  <a:cubicBezTo>
                    <a:pt x="1330" y="353"/>
                    <a:pt x="1331" y="351"/>
                    <a:pt x="1332" y="350"/>
                  </a:cubicBezTo>
                  <a:lnTo>
                    <a:pt x="1364" y="335"/>
                  </a:lnTo>
                  <a:cubicBezTo>
                    <a:pt x="1366" y="335"/>
                    <a:pt x="1367" y="335"/>
                    <a:pt x="1368" y="336"/>
                  </a:cubicBezTo>
                  <a:cubicBezTo>
                    <a:pt x="1368" y="338"/>
                    <a:pt x="1368" y="339"/>
                    <a:pt x="1366" y="340"/>
                  </a:cubicBezTo>
                  <a:close/>
                  <a:moveTo>
                    <a:pt x="1311" y="366"/>
                  </a:moveTo>
                  <a:lnTo>
                    <a:pt x="1278" y="381"/>
                  </a:lnTo>
                  <a:cubicBezTo>
                    <a:pt x="1277" y="382"/>
                    <a:pt x="1276" y="381"/>
                    <a:pt x="1275" y="380"/>
                  </a:cubicBezTo>
                  <a:cubicBezTo>
                    <a:pt x="1274" y="379"/>
                    <a:pt x="1275" y="377"/>
                    <a:pt x="1276" y="376"/>
                  </a:cubicBezTo>
                  <a:lnTo>
                    <a:pt x="1309" y="361"/>
                  </a:lnTo>
                  <a:cubicBezTo>
                    <a:pt x="1310" y="361"/>
                    <a:pt x="1311" y="361"/>
                    <a:pt x="1312" y="362"/>
                  </a:cubicBezTo>
                  <a:cubicBezTo>
                    <a:pt x="1313" y="364"/>
                    <a:pt x="1312" y="365"/>
                    <a:pt x="1311" y="366"/>
                  </a:cubicBezTo>
                  <a:close/>
                  <a:moveTo>
                    <a:pt x="1255" y="392"/>
                  </a:moveTo>
                  <a:lnTo>
                    <a:pt x="1224" y="409"/>
                  </a:lnTo>
                  <a:cubicBezTo>
                    <a:pt x="1222" y="410"/>
                    <a:pt x="1221" y="409"/>
                    <a:pt x="1220" y="408"/>
                  </a:cubicBezTo>
                  <a:cubicBezTo>
                    <a:pt x="1220" y="407"/>
                    <a:pt x="1220" y="405"/>
                    <a:pt x="1221" y="404"/>
                  </a:cubicBezTo>
                  <a:lnTo>
                    <a:pt x="1253" y="387"/>
                  </a:lnTo>
                  <a:cubicBezTo>
                    <a:pt x="1254" y="387"/>
                    <a:pt x="1256" y="387"/>
                    <a:pt x="1256" y="389"/>
                  </a:cubicBezTo>
                  <a:cubicBezTo>
                    <a:pt x="1257" y="390"/>
                    <a:pt x="1257" y="391"/>
                    <a:pt x="1255" y="392"/>
                  </a:cubicBezTo>
                  <a:close/>
                  <a:moveTo>
                    <a:pt x="1201" y="421"/>
                  </a:moveTo>
                  <a:lnTo>
                    <a:pt x="1170" y="438"/>
                  </a:lnTo>
                  <a:cubicBezTo>
                    <a:pt x="1168" y="439"/>
                    <a:pt x="1167" y="438"/>
                    <a:pt x="1166" y="437"/>
                  </a:cubicBezTo>
                  <a:cubicBezTo>
                    <a:pt x="1165" y="436"/>
                    <a:pt x="1166" y="434"/>
                    <a:pt x="1167" y="433"/>
                  </a:cubicBezTo>
                  <a:lnTo>
                    <a:pt x="1199" y="417"/>
                  </a:lnTo>
                  <a:cubicBezTo>
                    <a:pt x="1200" y="416"/>
                    <a:pt x="1202" y="416"/>
                    <a:pt x="1202" y="418"/>
                  </a:cubicBezTo>
                  <a:cubicBezTo>
                    <a:pt x="1203" y="419"/>
                    <a:pt x="1202" y="420"/>
                    <a:pt x="1201" y="421"/>
                  </a:cubicBezTo>
                  <a:close/>
                  <a:moveTo>
                    <a:pt x="1147" y="450"/>
                  </a:moveTo>
                  <a:lnTo>
                    <a:pt x="1115" y="467"/>
                  </a:lnTo>
                  <a:cubicBezTo>
                    <a:pt x="1114" y="468"/>
                    <a:pt x="1113" y="467"/>
                    <a:pt x="1112" y="466"/>
                  </a:cubicBezTo>
                  <a:cubicBezTo>
                    <a:pt x="1111" y="465"/>
                    <a:pt x="1112" y="463"/>
                    <a:pt x="1113" y="462"/>
                  </a:cubicBezTo>
                  <a:lnTo>
                    <a:pt x="1145" y="446"/>
                  </a:lnTo>
                  <a:cubicBezTo>
                    <a:pt x="1146" y="445"/>
                    <a:pt x="1147" y="445"/>
                    <a:pt x="1148" y="447"/>
                  </a:cubicBezTo>
                  <a:cubicBezTo>
                    <a:pt x="1149" y="448"/>
                    <a:pt x="1148" y="449"/>
                    <a:pt x="1147" y="450"/>
                  </a:cubicBezTo>
                  <a:close/>
                  <a:moveTo>
                    <a:pt x="1093" y="479"/>
                  </a:moveTo>
                  <a:lnTo>
                    <a:pt x="1077" y="488"/>
                  </a:lnTo>
                  <a:lnTo>
                    <a:pt x="1062" y="497"/>
                  </a:lnTo>
                  <a:cubicBezTo>
                    <a:pt x="1061" y="497"/>
                    <a:pt x="1059" y="497"/>
                    <a:pt x="1058" y="496"/>
                  </a:cubicBezTo>
                  <a:cubicBezTo>
                    <a:pt x="1058" y="495"/>
                    <a:pt x="1058" y="493"/>
                    <a:pt x="1059" y="492"/>
                  </a:cubicBezTo>
                  <a:lnTo>
                    <a:pt x="1074" y="483"/>
                  </a:lnTo>
                  <a:lnTo>
                    <a:pt x="1090" y="475"/>
                  </a:lnTo>
                  <a:cubicBezTo>
                    <a:pt x="1092" y="474"/>
                    <a:pt x="1093" y="474"/>
                    <a:pt x="1094" y="476"/>
                  </a:cubicBezTo>
                  <a:cubicBezTo>
                    <a:pt x="1095" y="477"/>
                    <a:pt x="1094" y="478"/>
                    <a:pt x="1093" y="479"/>
                  </a:cubicBezTo>
                  <a:close/>
                  <a:moveTo>
                    <a:pt x="1040" y="510"/>
                  </a:moveTo>
                  <a:lnTo>
                    <a:pt x="1009" y="529"/>
                  </a:lnTo>
                  <a:cubicBezTo>
                    <a:pt x="1008" y="529"/>
                    <a:pt x="1007" y="529"/>
                    <a:pt x="1006" y="528"/>
                  </a:cubicBezTo>
                  <a:cubicBezTo>
                    <a:pt x="1005" y="527"/>
                    <a:pt x="1006" y="525"/>
                    <a:pt x="1007" y="524"/>
                  </a:cubicBezTo>
                  <a:lnTo>
                    <a:pt x="1037" y="506"/>
                  </a:lnTo>
                  <a:cubicBezTo>
                    <a:pt x="1039" y="505"/>
                    <a:pt x="1040" y="505"/>
                    <a:pt x="1041" y="507"/>
                  </a:cubicBezTo>
                  <a:cubicBezTo>
                    <a:pt x="1042" y="508"/>
                    <a:pt x="1041" y="509"/>
                    <a:pt x="1040" y="510"/>
                  </a:cubicBezTo>
                  <a:close/>
                  <a:moveTo>
                    <a:pt x="988" y="542"/>
                  </a:moveTo>
                  <a:lnTo>
                    <a:pt x="957" y="561"/>
                  </a:lnTo>
                  <a:cubicBezTo>
                    <a:pt x="956" y="561"/>
                    <a:pt x="954" y="561"/>
                    <a:pt x="953" y="560"/>
                  </a:cubicBezTo>
                  <a:cubicBezTo>
                    <a:pt x="953" y="558"/>
                    <a:pt x="953" y="557"/>
                    <a:pt x="954" y="556"/>
                  </a:cubicBezTo>
                  <a:lnTo>
                    <a:pt x="985" y="538"/>
                  </a:lnTo>
                  <a:cubicBezTo>
                    <a:pt x="986" y="537"/>
                    <a:pt x="988" y="537"/>
                    <a:pt x="988" y="538"/>
                  </a:cubicBezTo>
                  <a:cubicBezTo>
                    <a:pt x="989" y="540"/>
                    <a:pt x="989" y="541"/>
                    <a:pt x="988" y="542"/>
                  </a:cubicBezTo>
                  <a:close/>
                  <a:moveTo>
                    <a:pt x="935" y="574"/>
                  </a:moveTo>
                  <a:lnTo>
                    <a:pt x="904" y="592"/>
                  </a:lnTo>
                  <a:cubicBezTo>
                    <a:pt x="903" y="593"/>
                    <a:pt x="902" y="593"/>
                    <a:pt x="901" y="592"/>
                  </a:cubicBezTo>
                  <a:cubicBezTo>
                    <a:pt x="900" y="590"/>
                    <a:pt x="901" y="589"/>
                    <a:pt x="902" y="588"/>
                  </a:cubicBezTo>
                  <a:lnTo>
                    <a:pt x="932" y="569"/>
                  </a:lnTo>
                  <a:cubicBezTo>
                    <a:pt x="934" y="569"/>
                    <a:pt x="935" y="569"/>
                    <a:pt x="936" y="570"/>
                  </a:cubicBezTo>
                  <a:cubicBezTo>
                    <a:pt x="937" y="572"/>
                    <a:pt x="936" y="573"/>
                    <a:pt x="935" y="574"/>
                  </a:cubicBezTo>
                  <a:close/>
                  <a:moveTo>
                    <a:pt x="883" y="607"/>
                  </a:moveTo>
                  <a:lnTo>
                    <a:pt x="854" y="627"/>
                  </a:lnTo>
                  <a:cubicBezTo>
                    <a:pt x="853" y="628"/>
                    <a:pt x="851" y="628"/>
                    <a:pt x="850" y="627"/>
                  </a:cubicBezTo>
                  <a:cubicBezTo>
                    <a:pt x="850" y="625"/>
                    <a:pt x="850" y="624"/>
                    <a:pt x="851" y="623"/>
                  </a:cubicBezTo>
                  <a:lnTo>
                    <a:pt x="880" y="603"/>
                  </a:lnTo>
                  <a:cubicBezTo>
                    <a:pt x="882" y="602"/>
                    <a:pt x="883" y="602"/>
                    <a:pt x="884" y="603"/>
                  </a:cubicBezTo>
                  <a:cubicBezTo>
                    <a:pt x="885" y="604"/>
                    <a:pt x="884" y="606"/>
                    <a:pt x="883" y="607"/>
                  </a:cubicBezTo>
                  <a:close/>
                  <a:moveTo>
                    <a:pt x="833" y="642"/>
                  </a:moveTo>
                  <a:lnTo>
                    <a:pt x="803" y="662"/>
                  </a:lnTo>
                  <a:cubicBezTo>
                    <a:pt x="802" y="663"/>
                    <a:pt x="801" y="663"/>
                    <a:pt x="800" y="661"/>
                  </a:cubicBezTo>
                  <a:cubicBezTo>
                    <a:pt x="799" y="660"/>
                    <a:pt x="799" y="659"/>
                    <a:pt x="800" y="658"/>
                  </a:cubicBezTo>
                  <a:lnTo>
                    <a:pt x="830" y="638"/>
                  </a:lnTo>
                  <a:cubicBezTo>
                    <a:pt x="831" y="637"/>
                    <a:pt x="833" y="637"/>
                    <a:pt x="833" y="638"/>
                  </a:cubicBezTo>
                  <a:cubicBezTo>
                    <a:pt x="834" y="639"/>
                    <a:pt x="834" y="641"/>
                    <a:pt x="833" y="642"/>
                  </a:cubicBezTo>
                  <a:close/>
                  <a:moveTo>
                    <a:pt x="782" y="677"/>
                  </a:moveTo>
                  <a:lnTo>
                    <a:pt x="753" y="697"/>
                  </a:lnTo>
                  <a:cubicBezTo>
                    <a:pt x="752" y="698"/>
                    <a:pt x="750" y="698"/>
                    <a:pt x="749" y="696"/>
                  </a:cubicBezTo>
                  <a:cubicBezTo>
                    <a:pt x="748" y="695"/>
                    <a:pt x="749" y="694"/>
                    <a:pt x="750" y="693"/>
                  </a:cubicBezTo>
                  <a:lnTo>
                    <a:pt x="779" y="672"/>
                  </a:lnTo>
                  <a:cubicBezTo>
                    <a:pt x="781" y="672"/>
                    <a:pt x="782" y="672"/>
                    <a:pt x="783" y="673"/>
                  </a:cubicBezTo>
                  <a:cubicBezTo>
                    <a:pt x="784" y="674"/>
                    <a:pt x="783" y="676"/>
                    <a:pt x="782" y="677"/>
                  </a:cubicBezTo>
                  <a:close/>
                  <a:moveTo>
                    <a:pt x="732" y="712"/>
                  </a:moveTo>
                  <a:lnTo>
                    <a:pt x="704" y="734"/>
                  </a:lnTo>
                  <a:cubicBezTo>
                    <a:pt x="703" y="734"/>
                    <a:pt x="701" y="734"/>
                    <a:pt x="700" y="733"/>
                  </a:cubicBezTo>
                  <a:cubicBezTo>
                    <a:pt x="699" y="732"/>
                    <a:pt x="699" y="730"/>
                    <a:pt x="701" y="730"/>
                  </a:cubicBezTo>
                  <a:lnTo>
                    <a:pt x="729" y="708"/>
                  </a:lnTo>
                  <a:cubicBezTo>
                    <a:pt x="730" y="707"/>
                    <a:pt x="732" y="707"/>
                    <a:pt x="732" y="708"/>
                  </a:cubicBezTo>
                  <a:cubicBezTo>
                    <a:pt x="733" y="709"/>
                    <a:pt x="733" y="711"/>
                    <a:pt x="732" y="712"/>
                  </a:cubicBezTo>
                  <a:close/>
                  <a:moveTo>
                    <a:pt x="683" y="749"/>
                  </a:moveTo>
                  <a:lnTo>
                    <a:pt x="655" y="771"/>
                  </a:lnTo>
                  <a:cubicBezTo>
                    <a:pt x="654" y="772"/>
                    <a:pt x="652" y="772"/>
                    <a:pt x="652" y="771"/>
                  </a:cubicBezTo>
                  <a:cubicBezTo>
                    <a:pt x="651" y="770"/>
                    <a:pt x="651" y="768"/>
                    <a:pt x="652" y="767"/>
                  </a:cubicBezTo>
                  <a:lnTo>
                    <a:pt x="680" y="745"/>
                  </a:lnTo>
                  <a:cubicBezTo>
                    <a:pt x="681" y="744"/>
                    <a:pt x="683" y="745"/>
                    <a:pt x="684" y="746"/>
                  </a:cubicBezTo>
                  <a:cubicBezTo>
                    <a:pt x="685" y="747"/>
                    <a:pt x="685" y="748"/>
                    <a:pt x="683" y="749"/>
                  </a:cubicBezTo>
                  <a:close/>
                  <a:moveTo>
                    <a:pt x="635" y="787"/>
                  </a:moveTo>
                  <a:lnTo>
                    <a:pt x="607" y="809"/>
                  </a:lnTo>
                  <a:cubicBezTo>
                    <a:pt x="606" y="810"/>
                    <a:pt x="604" y="810"/>
                    <a:pt x="603" y="809"/>
                  </a:cubicBezTo>
                  <a:cubicBezTo>
                    <a:pt x="602" y="808"/>
                    <a:pt x="602" y="806"/>
                    <a:pt x="604" y="805"/>
                  </a:cubicBezTo>
                  <a:lnTo>
                    <a:pt x="632" y="783"/>
                  </a:lnTo>
                  <a:cubicBezTo>
                    <a:pt x="633" y="782"/>
                    <a:pt x="635" y="782"/>
                    <a:pt x="635" y="784"/>
                  </a:cubicBezTo>
                  <a:cubicBezTo>
                    <a:pt x="636" y="785"/>
                    <a:pt x="636" y="786"/>
                    <a:pt x="635" y="787"/>
                  </a:cubicBezTo>
                  <a:close/>
                  <a:moveTo>
                    <a:pt x="587" y="825"/>
                  </a:moveTo>
                  <a:lnTo>
                    <a:pt x="569" y="838"/>
                  </a:lnTo>
                  <a:lnTo>
                    <a:pt x="559" y="847"/>
                  </a:lnTo>
                  <a:cubicBezTo>
                    <a:pt x="558" y="848"/>
                    <a:pt x="556" y="848"/>
                    <a:pt x="555" y="847"/>
                  </a:cubicBezTo>
                  <a:cubicBezTo>
                    <a:pt x="554" y="846"/>
                    <a:pt x="554" y="844"/>
                    <a:pt x="555" y="844"/>
                  </a:cubicBezTo>
                  <a:lnTo>
                    <a:pt x="566" y="834"/>
                  </a:lnTo>
                  <a:lnTo>
                    <a:pt x="583" y="821"/>
                  </a:lnTo>
                  <a:cubicBezTo>
                    <a:pt x="585" y="820"/>
                    <a:pt x="586" y="820"/>
                    <a:pt x="587" y="821"/>
                  </a:cubicBezTo>
                  <a:cubicBezTo>
                    <a:pt x="588" y="822"/>
                    <a:pt x="588" y="824"/>
                    <a:pt x="587" y="825"/>
                  </a:cubicBezTo>
                  <a:close/>
                  <a:moveTo>
                    <a:pt x="540" y="864"/>
                  </a:moveTo>
                  <a:lnTo>
                    <a:pt x="513" y="888"/>
                  </a:lnTo>
                  <a:cubicBezTo>
                    <a:pt x="511" y="889"/>
                    <a:pt x="510" y="889"/>
                    <a:pt x="509" y="887"/>
                  </a:cubicBezTo>
                  <a:cubicBezTo>
                    <a:pt x="508" y="886"/>
                    <a:pt x="508" y="885"/>
                    <a:pt x="509" y="884"/>
                  </a:cubicBezTo>
                  <a:lnTo>
                    <a:pt x="536" y="860"/>
                  </a:lnTo>
                  <a:cubicBezTo>
                    <a:pt x="537" y="859"/>
                    <a:pt x="539" y="860"/>
                    <a:pt x="540" y="861"/>
                  </a:cubicBezTo>
                  <a:cubicBezTo>
                    <a:pt x="541" y="862"/>
                    <a:pt x="541" y="863"/>
                    <a:pt x="540" y="864"/>
                  </a:cubicBezTo>
                  <a:close/>
                  <a:moveTo>
                    <a:pt x="493" y="905"/>
                  </a:moveTo>
                  <a:lnTo>
                    <a:pt x="466" y="928"/>
                  </a:lnTo>
                  <a:cubicBezTo>
                    <a:pt x="465" y="929"/>
                    <a:pt x="464" y="929"/>
                    <a:pt x="463" y="928"/>
                  </a:cubicBezTo>
                  <a:cubicBezTo>
                    <a:pt x="462" y="927"/>
                    <a:pt x="462" y="925"/>
                    <a:pt x="463" y="924"/>
                  </a:cubicBezTo>
                  <a:lnTo>
                    <a:pt x="490" y="901"/>
                  </a:lnTo>
                  <a:cubicBezTo>
                    <a:pt x="491" y="900"/>
                    <a:pt x="493" y="900"/>
                    <a:pt x="494" y="901"/>
                  </a:cubicBezTo>
                  <a:cubicBezTo>
                    <a:pt x="494" y="902"/>
                    <a:pt x="494" y="904"/>
                    <a:pt x="493" y="905"/>
                  </a:cubicBezTo>
                  <a:close/>
                  <a:moveTo>
                    <a:pt x="447" y="945"/>
                  </a:moveTo>
                  <a:lnTo>
                    <a:pt x="420" y="968"/>
                  </a:lnTo>
                  <a:cubicBezTo>
                    <a:pt x="419" y="969"/>
                    <a:pt x="417" y="969"/>
                    <a:pt x="416" y="968"/>
                  </a:cubicBezTo>
                  <a:cubicBezTo>
                    <a:pt x="415" y="967"/>
                    <a:pt x="416" y="966"/>
                    <a:pt x="417" y="965"/>
                  </a:cubicBezTo>
                  <a:lnTo>
                    <a:pt x="444" y="941"/>
                  </a:lnTo>
                  <a:cubicBezTo>
                    <a:pt x="445" y="940"/>
                    <a:pt x="446" y="940"/>
                    <a:pt x="447" y="941"/>
                  </a:cubicBezTo>
                  <a:cubicBezTo>
                    <a:pt x="448" y="942"/>
                    <a:pt x="448" y="944"/>
                    <a:pt x="447" y="945"/>
                  </a:cubicBezTo>
                  <a:close/>
                  <a:moveTo>
                    <a:pt x="401" y="986"/>
                  </a:moveTo>
                  <a:lnTo>
                    <a:pt x="376" y="1011"/>
                  </a:lnTo>
                  <a:cubicBezTo>
                    <a:pt x="375" y="1012"/>
                    <a:pt x="373" y="1012"/>
                    <a:pt x="372" y="1011"/>
                  </a:cubicBezTo>
                  <a:cubicBezTo>
                    <a:pt x="371" y="1010"/>
                    <a:pt x="371" y="1008"/>
                    <a:pt x="372" y="1007"/>
                  </a:cubicBezTo>
                  <a:lnTo>
                    <a:pt x="398" y="982"/>
                  </a:lnTo>
                  <a:cubicBezTo>
                    <a:pt x="399" y="981"/>
                    <a:pt x="400" y="981"/>
                    <a:pt x="401" y="982"/>
                  </a:cubicBezTo>
                  <a:cubicBezTo>
                    <a:pt x="402" y="983"/>
                    <a:pt x="402" y="985"/>
                    <a:pt x="401" y="986"/>
                  </a:cubicBezTo>
                  <a:close/>
                  <a:moveTo>
                    <a:pt x="357" y="1029"/>
                  </a:moveTo>
                  <a:lnTo>
                    <a:pt x="332" y="1054"/>
                  </a:lnTo>
                  <a:cubicBezTo>
                    <a:pt x="331" y="1055"/>
                    <a:pt x="329" y="1055"/>
                    <a:pt x="328" y="1054"/>
                  </a:cubicBezTo>
                  <a:cubicBezTo>
                    <a:pt x="327" y="1053"/>
                    <a:pt x="327" y="1051"/>
                    <a:pt x="328" y="1050"/>
                  </a:cubicBezTo>
                  <a:lnTo>
                    <a:pt x="354" y="1025"/>
                  </a:lnTo>
                  <a:cubicBezTo>
                    <a:pt x="355" y="1024"/>
                    <a:pt x="356" y="1024"/>
                    <a:pt x="357" y="1025"/>
                  </a:cubicBezTo>
                  <a:cubicBezTo>
                    <a:pt x="358" y="1026"/>
                    <a:pt x="358" y="1028"/>
                    <a:pt x="357" y="1029"/>
                  </a:cubicBezTo>
                  <a:close/>
                  <a:moveTo>
                    <a:pt x="313" y="1072"/>
                  </a:moveTo>
                  <a:lnTo>
                    <a:pt x="288" y="1097"/>
                  </a:lnTo>
                  <a:cubicBezTo>
                    <a:pt x="287" y="1098"/>
                    <a:pt x="285" y="1098"/>
                    <a:pt x="284" y="1097"/>
                  </a:cubicBezTo>
                  <a:cubicBezTo>
                    <a:pt x="283" y="1095"/>
                    <a:pt x="283" y="1094"/>
                    <a:pt x="284" y="1093"/>
                  </a:cubicBezTo>
                  <a:lnTo>
                    <a:pt x="310" y="1068"/>
                  </a:lnTo>
                  <a:cubicBezTo>
                    <a:pt x="311" y="1067"/>
                    <a:pt x="312" y="1067"/>
                    <a:pt x="313" y="1068"/>
                  </a:cubicBezTo>
                  <a:cubicBezTo>
                    <a:pt x="314" y="1069"/>
                    <a:pt x="314" y="1071"/>
                    <a:pt x="313" y="1072"/>
                  </a:cubicBezTo>
                  <a:close/>
                  <a:moveTo>
                    <a:pt x="269" y="1114"/>
                  </a:moveTo>
                  <a:lnTo>
                    <a:pt x="264" y="1119"/>
                  </a:lnTo>
                  <a:lnTo>
                    <a:pt x="245" y="1141"/>
                  </a:lnTo>
                  <a:cubicBezTo>
                    <a:pt x="244" y="1142"/>
                    <a:pt x="242" y="1142"/>
                    <a:pt x="241" y="1141"/>
                  </a:cubicBezTo>
                  <a:cubicBezTo>
                    <a:pt x="240" y="1140"/>
                    <a:pt x="240" y="1138"/>
                    <a:pt x="241" y="1137"/>
                  </a:cubicBezTo>
                  <a:lnTo>
                    <a:pt x="261" y="1116"/>
                  </a:lnTo>
                  <a:lnTo>
                    <a:pt x="266" y="1111"/>
                  </a:lnTo>
                  <a:cubicBezTo>
                    <a:pt x="267" y="1110"/>
                    <a:pt x="268" y="1110"/>
                    <a:pt x="269" y="1111"/>
                  </a:cubicBezTo>
                  <a:cubicBezTo>
                    <a:pt x="270" y="1112"/>
                    <a:pt x="270" y="1113"/>
                    <a:pt x="269" y="1114"/>
                  </a:cubicBezTo>
                  <a:close/>
                  <a:moveTo>
                    <a:pt x="228" y="1159"/>
                  </a:moveTo>
                  <a:lnTo>
                    <a:pt x="204" y="1186"/>
                  </a:lnTo>
                  <a:cubicBezTo>
                    <a:pt x="203" y="1187"/>
                    <a:pt x="201" y="1187"/>
                    <a:pt x="200" y="1186"/>
                  </a:cubicBezTo>
                  <a:cubicBezTo>
                    <a:pt x="199" y="1185"/>
                    <a:pt x="199" y="1184"/>
                    <a:pt x="200" y="1183"/>
                  </a:cubicBezTo>
                  <a:lnTo>
                    <a:pt x="200" y="1183"/>
                  </a:lnTo>
                  <a:lnTo>
                    <a:pt x="224" y="1156"/>
                  </a:lnTo>
                  <a:cubicBezTo>
                    <a:pt x="225" y="1155"/>
                    <a:pt x="227" y="1155"/>
                    <a:pt x="228" y="1156"/>
                  </a:cubicBezTo>
                  <a:cubicBezTo>
                    <a:pt x="229" y="1157"/>
                    <a:pt x="229" y="1158"/>
                    <a:pt x="228" y="1159"/>
                  </a:cubicBezTo>
                  <a:close/>
                  <a:moveTo>
                    <a:pt x="186" y="1205"/>
                  </a:moveTo>
                  <a:lnTo>
                    <a:pt x="162" y="1231"/>
                  </a:lnTo>
                  <a:cubicBezTo>
                    <a:pt x="161" y="1232"/>
                    <a:pt x="160" y="1233"/>
                    <a:pt x="159" y="1232"/>
                  </a:cubicBezTo>
                  <a:cubicBezTo>
                    <a:pt x="158" y="1231"/>
                    <a:pt x="158" y="1229"/>
                    <a:pt x="159" y="1228"/>
                  </a:cubicBezTo>
                  <a:lnTo>
                    <a:pt x="183" y="1201"/>
                  </a:lnTo>
                  <a:cubicBezTo>
                    <a:pt x="184" y="1200"/>
                    <a:pt x="185" y="1200"/>
                    <a:pt x="186" y="1201"/>
                  </a:cubicBezTo>
                  <a:cubicBezTo>
                    <a:pt x="187" y="1202"/>
                    <a:pt x="187" y="1204"/>
                    <a:pt x="186" y="1205"/>
                  </a:cubicBezTo>
                  <a:close/>
                  <a:moveTo>
                    <a:pt x="145" y="1250"/>
                  </a:moveTo>
                  <a:lnTo>
                    <a:pt x="124" y="1273"/>
                  </a:lnTo>
                  <a:lnTo>
                    <a:pt x="121" y="1277"/>
                  </a:lnTo>
                  <a:cubicBezTo>
                    <a:pt x="120" y="1278"/>
                    <a:pt x="119" y="1278"/>
                    <a:pt x="118" y="1277"/>
                  </a:cubicBezTo>
                  <a:cubicBezTo>
                    <a:pt x="117" y="1276"/>
                    <a:pt x="116" y="1275"/>
                    <a:pt x="117" y="1274"/>
                  </a:cubicBezTo>
                  <a:lnTo>
                    <a:pt x="121" y="1270"/>
                  </a:lnTo>
                  <a:lnTo>
                    <a:pt x="141" y="1247"/>
                  </a:lnTo>
                  <a:cubicBezTo>
                    <a:pt x="142" y="1246"/>
                    <a:pt x="144" y="1246"/>
                    <a:pt x="145" y="1247"/>
                  </a:cubicBezTo>
                  <a:cubicBezTo>
                    <a:pt x="146" y="1248"/>
                    <a:pt x="146" y="1249"/>
                    <a:pt x="145" y="1250"/>
                  </a:cubicBezTo>
                  <a:close/>
                  <a:moveTo>
                    <a:pt x="105" y="1297"/>
                  </a:moveTo>
                  <a:lnTo>
                    <a:pt x="82" y="1325"/>
                  </a:lnTo>
                  <a:cubicBezTo>
                    <a:pt x="82" y="1326"/>
                    <a:pt x="80" y="1326"/>
                    <a:pt x="79" y="1325"/>
                  </a:cubicBezTo>
                  <a:cubicBezTo>
                    <a:pt x="78" y="1324"/>
                    <a:pt x="78" y="1322"/>
                    <a:pt x="78" y="1321"/>
                  </a:cubicBezTo>
                  <a:lnTo>
                    <a:pt x="101" y="1294"/>
                  </a:lnTo>
                  <a:cubicBezTo>
                    <a:pt x="102" y="1292"/>
                    <a:pt x="104" y="1292"/>
                    <a:pt x="105" y="1293"/>
                  </a:cubicBezTo>
                  <a:cubicBezTo>
                    <a:pt x="106" y="1294"/>
                    <a:pt x="106" y="1296"/>
                    <a:pt x="105" y="1297"/>
                  </a:cubicBezTo>
                  <a:close/>
                  <a:moveTo>
                    <a:pt x="66" y="1344"/>
                  </a:moveTo>
                  <a:lnTo>
                    <a:pt x="44" y="1372"/>
                  </a:lnTo>
                  <a:cubicBezTo>
                    <a:pt x="43" y="1373"/>
                    <a:pt x="41" y="1373"/>
                    <a:pt x="40" y="1373"/>
                  </a:cubicBezTo>
                  <a:cubicBezTo>
                    <a:pt x="39" y="1372"/>
                    <a:pt x="39" y="1370"/>
                    <a:pt x="40" y="1369"/>
                  </a:cubicBezTo>
                  <a:lnTo>
                    <a:pt x="62" y="1341"/>
                  </a:lnTo>
                  <a:cubicBezTo>
                    <a:pt x="63" y="1340"/>
                    <a:pt x="65" y="1340"/>
                    <a:pt x="66" y="1341"/>
                  </a:cubicBezTo>
                  <a:cubicBezTo>
                    <a:pt x="67" y="1342"/>
                    <a:pt x="67" y="1343"/>
                    <a:pt x="66" y="1344"/>
                  </a:cubicBezTo>
                  <a:close/>
                  <a:moveTo>
                    <a:pt x="27" y="1392"/>
                  </a:moveTo>
                  <a:lnTo>
                    <a:pt x="5" y="1420"/>
                  </a:lnTo>
                  <a:cubicBezTo>
                    <a:pt x="4" y="1421"/>
                    <a:pt x="2" y="1421"/>
                    <a:pt x="1" y="1420"/>
                  </a:cubicBezTo>
                  <a:cubicBezTo>
                    <a:pt x="0" y="1419"/>
                    <a:pt x="0" y="1418"/>
                    <a:pt x="1" y="1417"/>
                  </a:cubicBezTo>
                  <a:lnTo>
                    <a:pt x="23" y="1389"/>
                  </a:lnTo>
                  <a:cubicBezTo>
                    <a:pt x="24" y="1388"/>
                    <a:pt x="26" y="1387"/>
                    <a:pt x="27" y="1388"/>
                  </a:cubicBezTo>
                  <a:cubicBezTo>
                    <a:pt x="28" y="1389"/>
                    <a:pt x="28" y="1391"/>
                    <a:pt x="27" y="1392"/>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81">
              <a:extLst>
                <a:ext uri="{FF2B5EF4-FFF2-40B4-BE49-F238E27FC236}">
                  <a16:creationId xmlns:a16="http://schemas.microsoft.com/office/drawing/2014/main" id="{F4C8764F-F564-4EA7-95D1-18F66B6816FF}"/>
                </a:ext>
              </a:extLst>
            </p:cNvPr>
            <p:cNvSpPr>
              <a:spLocks/>
            </p:cNvSpPr>
            <p:nvPr/>
          </p:nvSpPr>
          <p:spPr bwMode="auto">
            <a:xfrm>
              <a:off x="3830" y="1472"/>
              <a:ext cx="52" cy="52"/>
            </a:xfrm>
            <a:custGeom>
              <a:avLst/>
              <a:gdLst>
                <a:gd name="T0" fmla="*/ 0 w 52"/>
                <a:gd name="T1" fmla="*/ 0 h 52"/>
                <a:gd name="T2" fmla="*/ 52 w 52"/>
                <a:gd name="T3" fmla="*/ 26 h 52"/>
                <a:gd name="T4" fmla="*/ 0 w 52"/>
                <a:gd name="T5" fmla="*/ 52 h 52"/>
                <a:gd name="T6" fmla="*/ 0 w 52"/>
                <a:gd name="T7" fmla="*/ 0 h 52"/>
              </a:gdLst>
              <a:ahLst/>
              <a:cxnLst>
                <a:cxn ang="0">
                  <a:pos x="T0" y="T1"/>
                </a:cxn>
                <a:cxn ang="0">
                  <a:pos x="T2" y="T3"/>
                </a:cxn>
                <a:cxn ang="0">
                  <a:pos x="T4" y="T5"/>
                </a:cxn>
                <a:cxn ang="0">
                  <a:pos x="T6" y="T7"/>
                </a:cxn>
              </a:cxnLst>
              <a:rect l="0" t="0" r="r" b="b"/>
              <a:pathLst>
                <a:path w="52" h="52">
                  <a:moveTo>
                    <a:pt x="0" y="0"/>
                  </a:moveTo>
                  <a:lnTo>
                    <a:pt x="52" y="26"/>
                  </a:lnTo>
                  <a:lnTo>
                    <a:pt x="0" y="52"/>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2">
              <a:extLst>
                <a:ext uri="{FF2B5EF4-FFF2-40B4-BE49-F238E27FC236}">
                  <a16:creationId xmlns:a16="http://schemas.microsoft.com/office/drawing/2014/main" id="{A812991A-6DF7-45F5-AF0E-E727CC5A66C2}"/>
                </a:ext>
              </a:extLst>
            </p:cNvPr>
            <p:cNvSpPr>
              <a:spLocks noChangeArrowheads="1"/>
            </p:cNvSpPr>
            <p:nvPr/>
          </p:nvSpPr>
          <p:spPr bwMode="auto">
            <a:xfrm>
              <a:off x="2904" y="1626"/>
              <a:ext cx="478" cy="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3">
              <a:extLst>
                <a:ext uri="{FF2B5EF4-FFF2-40B4-BE49-F238E27FC236}">
                  <a16:creationId xmlns:a16="http://schemas.microsoft.com/office/drawing/2014/main" id="{BCF1EDE5-3C0A-41E0-823A-026B5DAA6155}"/>
                </a:ext>
              </a:extLst>
            </p:cNvPr>
            <p:cNvSpPr>
              <a:spLocks noEditPoints="1"/>
            </p:cNvSpPr>
            <p:nvPr/>
          </p:nvSpPr>
          <p:spPr bwMode="auto">
            <a:xfrm>
              <a:off x="2905" y="1637"/>
              <a:ext cx="475" cy="51"/>
            </a:xfrm>
            <a:custGeom>
              <a:avLst/>
              <a:gdLst>
                <a:gd name="T0" fmla="*/ 17 w 1060"/>
                <a:gd name="T1" fmla="*/ 70 h 114"/>
                <a:gd name="T2" fmla="*/ 28 w 1060"/>
                <a:gd name="T3" fmla="*/ 11 h 114"/>
                <a:gd name="T4" fmla="*/ 20 w 1060"/>
                <a:gd name="T5" fmla="*/ 62 h 114"/>
                <a:gd name="T6" fmla="*/ 126 w 1060"/>
                <a:gd name="T7" fmla="*/ 90 h 114"/>
                <a:gd name="T8" fmla="*/ 108 w 1060"/>
                <a:gd name="T9" fmla="*/ 31 h 114"/>
                <a:gd name="T10" fmla="*/ 135 w 1060"/>
                <a:gd name="T11" fmla="*/ 7 h 114"/>
                <a:gd name="T12" fmla="*/ 101 w 1060"/>
                <a:gd name="T13" fmla="*/ 82 h 114"/>
                <a:gd name="T14" fmla="*/ 195 w 1060"/>
                <a:gd name="T15" fmla="*/ 92 h 114"/>
                <a:gd name="T16" fmla="*/ 147 w 1060"/>
                <a:gd name="T17" fmla="*/ 62 h 114"/>
                <a:gd name="T18" fmla="*/ 194 w 1060"/>
                <a:gd name="T19" fmla="*/ 5 h 114"/>
                <a:gd name="T20" fmla="*/ 159 w 1060"/>
                <a:gd name="T21" fmla="*/ 53 h 114"/>
                <a:gd name="T22" fmla="*/ 216 w 1060"/>
                <a:gd name="T23" fmla="*/ 107 h 114"/>
                <a:gd name="T24" fmla="*/ 245 w 1060"/>
                <a:gd name="T25" fmla="*/ 0 h 114"/>
                <a:gd name="T26" fmla="*/ 349 w 1060"/>
                <a:gd name="T27" fmla="*/ 92 h 114"/>
                <a:gd name="T28" fmla="*/ 310 w 1060"/>
                <a:gd name="T29" fmla="*/ 92 h 114"/>
                <a:gd name="T30" fmla="*/ 272 w 1060"/>
                <a:gd name="T31" fmla="*/ 92 h 114"/>
                <a:gd name="T32" fmla="*/ 281 w 1060"/>
                <a:gd name="T33" fmla="*/ 12 h 114"/>
                <a:gd name="T34" fmla="*/ 349 w 1060"/>
                <a:gd name="T35" fmla="*/ 11 h 114"/>
                <a:gd name="T36" fmla="*/ 378 w 1060"/>
                <a:gd name="T37" fmla="*/ 85 h 114"/>
                <a:gd name="T38" fmla="*/ 417 w 1060"/>
                <a:gd name="T39" fmla="*/ 62 h 114"/>
                <a:gd name="T40" fmla="*/ 391 w 1060"/>
                <a:gd name="T41" fmla="*/ 82 h 114"/>
                <a:gd name="T42" fmla="*/ 480 w 1060"/>
                <a:gd name="T43" fmla="*/ 92 h 114"/>
                <a:gd name="T44" fmla="*/ 437 w 1060"/>
                <a:gd name="T45" fmla="*/ 49 h 114"/>
                <a:gd name="T46" fmla="*/ 484 w 1060"/>
                <a:gd name="T47" fmla="*/ 5 h 114"/>
                <a:gd name="T48" fmla="*/ 446 w 1060"/>
                <a:gd name="T49" fmla="*/ 61 h 114"/>
                <a:gd name="T50" fmla="*/ 513 w 1060"/>
                <a:gd name="T51" fmla="*/ 91 h 114"/>
                <a:gd name="T52" fmla="*/ 506 w 1060"/>
                <a:gd name="T53" fmla="*/ 32 h 114"/>
                <a:gd name="T54" fmla="*/ 502 w 1060"/>
                <a:gd name="T55" fmla="*/ 15 h 114"/>
                <a:gd name="T56" fmla="*/ 562 w 1060"/>
                <a:gd name="T57" fmla="*/ 13 h 114"/>
                <a:gd name="T58" fmla="*/ 562 w 1060"/>
                <a:gd name="T59" fmla="*/ 34 h 114"/>
                <a:gd name="T60" fmla="*/ 539 w 1060"/>
                <a:gd name="T61" fmla="*/ 91 h 114"/>
                <a:gd name="T62" fmla="*/ 538 w 1060"/>
                <a:gd name="T63" fmla="*/ 32 h 114"/>
                <a:gd name="T64" fmla="*/ 566 w 1060"/>
                <a:gd name="T65" fmla="*/ 11 h 114"/>
                <a:gd name="T66" fmla="*/ 596 w 1060"/>
                <a:gd name="T67" fmla="*/ 89 h 114"/>
                <a:gd name="T68" fmla="*/ 603 w 1060"/>
                <a:gd name="T69" fmla="*/ 79 h 114"/>
                <a:gd name="T70" fmla="*/ 712 w 1060"/>
                <a:gd name="T71" fmla="*/ 45 h 114"/>
                <a:gd name="T72" fmla="*/ 665 w 1060"/>
                <a:gd name="T73" fmla="*/ 91 h 114"/>
                <a:gd name="T74" fmla="*/ 713 w 1060"/>
                <a:gd name="T75" fmla="*/ 26 h 114"/>
                <a:gd name="T76" fmla="*/ 698 w 1060"/>
                <a:gd name="T77" fmla="*/ 47 h 114"/>
                <a:gd name="T78" fmla="*/ 751 w 1060"/>
                <a:gd name="T79" fmla="*/ 41 h 114"/>
                <a:gd name="T80" fmla="*/ 728 w 1060"/>
                <a:gd name="T81" fmla="*/ 91 h 114"/>
                <a:gd name="T82" fmla="*/ 736 w 1060"/>
                <a:gd name="T83" fmla="*/ 34 h 114"/>
                <a:gd name="T84" fmla="*/ 760 w 1060"/>
                <a:gd name="T85" fmla="*/ 34 h 114"/>
                <a:gd name="T86" fmla="*/ 771 w 1060"/>
                <a:gd name="T87" fmla="*/ 62 h 114"/>
                <a:gd name="T88" fmla="*/ 813 w 1060"/>
                <a:gd name="T89" fmla="*/ 46 h 114"/>
                <a:gd name="T90" fmla="*/ 807 w 1060"/>
                <a:gd name="T91" fmla="*/ 82 h 114"/>
                <a:gd name="T92" fmla="*/ 878 w 1060"/>
                <a:gd name="T93" fmla="*/ 91 h 114"/>
                <a:gd name="T94" fmla="*/ 849 w 1060"/>
                <a:gd name="T95" fmla="*/ 33 h 114"/>
                <a:gd name="T96" fmla="*/ 887 w 1060"/>
                <a:gd name="T97" fmla="*/ 6 h 114"/>
                <a:gd name="T98" fmla="*/ 849 w 1060"/>
                <a:gd name="T99" fmla="*/ 77 h 114"/>
                <a:gd name="T100" fmla="*/ 949 w 1060"/>
                <a:gd name="T101" fmla="*/ 92 h 114"/>
                <a:gd name="T102" fmla="*/ 904 w 1060"/>
                <a:gd name="T103" fmla="*/ 78 h 114"/>
                <a:gd name="T104" fmla="*/ 913 w 1060"/>
                <a:gd name="T105" fmla="*/ 66 h 114"/>
                <a:gd name="T106" fmla="*/ 946 w 1060"/>
                <a:gd name="T107" fmla="*/ 32 h 114"/>
                <a:gd name="T108" fmla="*/ 1019 w 1060"/>
                <a:gd name="T109" fmla="*/ 89 h 114"/>
                <a:gd name="T110" fmla="*/ 1005 w 1060"/>
                <a:gd name="T111" fmla="*/ 31 h 114"/>
                <a:gd name="T112" fmla="*/ 1019 w 1060"/>
                <a:gd name="T113" fmla="*/ 45 h 114"/>
                <a:gd name="T114" fmla="*/ 1016 w 1060"/>
                <a:gd name="T115" fmla="*/ 80 h 114"/>
                <a:gd name="T116" fmla="*/ 1055 w 1060"/>
                <a:gd name="T117" fmla="*/ 92 h 114"/>
                <a:gd name="T118" fmla="*/ 1024 w 1060"/>
                <a:gd name="T119" fmla="*/ 34 h 114"/>
                <a:gd name="T120" fmla="*/ 1043 w 1060"/>
                <a:gd name="T121" fmla="*/ 17 h 114"/>
                <a:gd name="T122" fmla="*/ 1044 w 1060"/>
                <a:gd name="T123" fmla="*/ 41 h 114"/>
                <a:gd name="T124" fmla="*/ 1060 w 1060"/>
                <a:gd name="T125" fmla="*/ 8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0" h="114">
                  <a:moveTo>
                    <a:pt x="69" y="88"/>
                  </a:moveTo>
                  <a:cubicBezTo>
                    <a:pt x="69" y="89"/>
                    <a:pt x="69" y="89"/>
                    <a:pt x="69" y="90"/>
                  </a:cubicBezTo>
                  <a:cubicBezTo>
                    <a:pt x="69" y="90"/>
                    <a:pt x="69" y="91"/>
                    <a:pt x="69" y="91"/>
                  </a:cubicBezTo>
                  <a:cubicBezTo>
                    <a:pt x="68" y="91"/>
                    <a:pt x="68" y="92"/>
                    <a:pt x="67" y="92"/>
                  </a:cubicBezTo>
                  <a:cubicBezTo>
                    <a:pt x="66" y="92"/>
                    <a:pt x="65" y="92"/>
                    <a:pt x="64" y="92"/>
                  </a:cubicBezTo>
                  <a:cubicBezTo>
                    <a:pt x="63" y="92"/>
                    <a:pt x="62" y="92"/>
                    <a:pt x="61" y="92"/>
                  </a:cubicBezTo>
                  <a:cubicBezTo>
                    <a:pt x="60" y="92"/>
                    <a:pt x="60" y="92"/>
                    <a:pt x="59" y="91"/>
                  </a:cubicBezTo>
                  <a:cubicBezTo>
                    <a:pt x="59" y="91"/>
                    <a:pt x="58" y="91"/>
                    <a:pt x="58" y="91"/>
                  </a:cubicBezTo>
                  <a:cubicBezTo>
                    <a:pt x="58" y="91"/>
                    <a:pt x="58" y="90"/>
                    <a:pt x="58" y="90"/>
                  </a:cubicBezTo>
                  <a:lnTo>
                    <a:pt x="51" y="70"/>
                  </a:lnTo>
                  <a:lnTo>
                    <a:pt x="17" y="70"/>
                  </a:lnTo>
                  <a:lnTo>
                    <a:pt x="11" y="90"/>
                  </a:lnTo>
                  <a:cubicBezTo>
                    <a:pt x="10" y="90"/>
                    <a:pt x="10" y="90"/>
                    <a:pt x="10" y="91"/>
                  </a:cubicBezTo>
                  <a:cubicBezTo>
                    <a:pt x="10" y="91"/>
                    <a:pt x="10" y="91"/>
                    <a:pt x="9" y="91"/>
                  </a:cubicBezTo>
                  <a:cubicBezTo>
                    <a:pt x="9" y="91"/>
                    <a:pt x="8" y="92"/>
                    <a:pt x="7" y="92"/>
                  </a:cubicBezTo>
                  <a:cubicBezTo>
                    <a:pt x="7" y="92"/>
                    <a:pt x="6" y="92"/>
                    <a:pt x="5" y="92"/>
                  </a:cubicBezTo>
                  <a:cubicBezTo>
                    <a:pt x="3" y="92"/>
                    <a:pt x="2" y="92"/>
                    <a:pt x="2" y="92"/>
                  </a:cubicBezTo>
                  <a:cubicBezTo>
                    <a:pt x="1" y="92"/>
                    <a:pt x="0" y="91"/>
                    <a:pt x="0" y="91"/>
                  </a:cubicBezTo>
                  <a:cubicBezTo>
                    <a:pt x="0" y="91"/>
                    <a:pt x="0" y="90"/>
                    <a:pt x="0" y="90"/>
                  </a:cubicBezTo>
                  <a:cubicBezTo>
                    <a:pt x="0" y="89"/>
                    <a:pt x="0" y="88"/>
                    <a:pt x="0" y="88"/>
                  </a:cubicBezTo>
                  <a:lnTo>
                    <a:pt x="27" y="12"/>
                  </a:lnTo>
                  <a:cubicBezTo>
                    <a:pt x="27" y="12"/>
                    <a:pt x="28" y="12"/>
                    <a:pt x="28" y="11"/>
                  </a:cubicBezTo>
                  <a:cubicBezTo>
                    <a:pt x="28" y="11"/>
                    <a:pt x="29" y="11"/>
                    <a:pt x="29" y="11"/>
                  </a:cubicBezTo>
                  <a:cubicBezTo>
                    <a:pt x="30" y="10"/>
                    <a:pt x="30" y="10"/>
                    <a:pt x="31" y="10"/>
                  </a:cubicBezTo>
                  <a:cubicBezTo>
                    <a:pt x="32" y="10"/>
                    <a:pt x="33" y="10"/>
                    <a:pt x="34" y="10"/>
                  </a:cubicBezTo>
                  <a:cubicBezTo>
                    <a:pt x="35" y="10"/>
                    <a:pt x="37" y="10"/>
                    <a:pt x="37" y="10"/>
                  </a:cubicBezTo>
                  <a:cubicBezTo>
                    <a:pt x="38" y="10"/>
                    <a:pt x="39" y="10"/>
                    <a:pt x="40" y="11"/>
                  </a:cubicBezTo>
                  <a:cubicBezTo>
                    <a:pt x="40" y="11"/>
                    <a:pt x="41" y="11"/>
                    <a:pt x="41" y="11"/>
                  </a:cubicBezTo>
                  <a:cubicBezTo>
                    <a:pt x="41" y="12"/>
                    <a:pt x="41" y="12"/>
                    <a:pt x="42" y="13"/>
                  </a:cubicBezTo>
                  <a:lnTo>
                    <a:pt x="69" y="88"/>
                  </a:lnTo>
                  <a:close/>
                  <a:moveTo>
                    <a:pt x="34" y="21"/>
                  </a:moveTo>
                  <a:lnTo>
                    <a:pt x="34" y="21"/>
                  </a:lnTo>
                  <a:lnTo>
                    <a:pt x="20" y="62"/>
                  </a:lnTo>
                  <a:lnTo>
                    <a:pt x="48" y="62"/>
                  </a:lnTo>
                  <a:lnTo>
                    <a:pt x="34" y="21"/>
                  </a:lnTo>
                  <a:close/>
                  <a:moveTo>
                    <a:pt x="135" y="90"/>
                  </a:moveTo>
                  <a:cubicBezTo>
                    <a:pt x="135" y="90"/>
                    <a:pt x="135" y="91"/>
                    <a:pt x="135" y="91"/>
                  </a:cubicBezTo>
                  <a:cubicBezTo>
                    <a:pt x="135" y="91"/>
                    <a:pt x="134" y="91"/>
                    <a:pt x="134" y="91"/>
                  </a:cubicBezTo>
                  <a:cubicBezTo>
                    <a:pt x="134" y="91"/>
                    <a:pt x="133" y="92"/>
                    <a:pt x="133" y="92"/>
                  </a:cubicBezTo>
                  <a:cubicBezTo>
                    <a:pt x="132" y="92"/>
                    <a:pt x="131" y="92"/>
                    <a:pt x="131" y="92"/>
                  </a:cubicBezTo>
                  <a:cubicBezTo>
                    <a:pt x="130" y="92"/>
                    <a:pt x="129" y="92"/>
                    <a:pt x="128" y="92"/>
                  </a:cubicBezTo>
                  <a:cubicBezTo>
                    <a:pt x="128" y="92"/>
                    <a:pt x="127" y="91"/>
                    <a:pt x="127" y="91"/>
                  </a:cubicBezTo>
                  <a:cubicBezTo>
                    <a:pt x="127" y="91"/>
                    <a:pt x="126" y="91"/>
                    <a:pt x="126" y="91"/>
                  </a:cubicBezTo>
                  <a:cubicBezTo>
                    <a:pt x="126" y="91"/>
                    <a:pt x="126" y="90"/>
                    <a:pt x="126" y="90"/>
                  </a:cubicBezTo>
                  <a:lnTo>
                    <a:pt x="126" y="82"/>
                  </a:lnTo>
                  <a:cubicBezTo>
                    <a:pt x="123" y="86"/>
                    <a:pt x="120" y="88"/>
                    <a:pt x="117" y="90"/>
                  </a:cubicBezTo>
                  <a:cubicBezTo>
                    <a:pt x="114" y="92"/>
                    <a:pt x="110" y="93"/>
                    <a:pt x="106" y="93"/>
                  </a:cubicBezTo>
                  <a:cubicBezTo>
                    <a:pt x="102" y="93"/>
                    <a:pt x="99" y="92"/>
                    <a:pt x="96" y="90"/>
                  </a:cubicBezTo>
                  <a:cubicBezTo>
                    <a:pt x="93" y="89"/>
                    <a:pt x="90" y="86"/>
                    <a:pt x="89" y="84"/>
                  </a:cubicBezTo>
                  <a:cubicBezTo>
                    <a:pt x="87" y="81"/>
                    <a:pt x="85" y="78"/>
                    <a:pt x="85" y="74"/>
                  </a:cubicBezTo>
                  <a:cubicBezTo>
                    <a:pt x="84" y="70"/>
                    <a:pt x="83" y="67"/>
                    <a:pt x="83" y="62"/>
                  </a:cubicBezTo>
                  <a:cubicBezTo>
                    <a:pt x="83" y="58"/>
                    <a:pt x="84" y="53"/>
                    <a:pt x="85" y="49"/>
                  </a:cubicBezTo>
                  <a:cubicBezTo>
                    <a:pt x="86" y="45"/>
                    <a:pt x="87" y="42"/>
                    <a:pt x="90" y="39"/>
                  </a:cubicBezTo>
                  <a:cubicBezTo>
                    <a:pt x="92" y="37"/>
                    <a:pt x="94" y="35"/>
                    <a:pt x="97" y="33"/>
                  </a:cubicBezTo>
                  <a:cubicBezTo>
                    <a:pt x="100" y="32"/>
                    <a:pt x="104" y="31"/>
                    <a:pt x="108" y="31"/>
                  </a:cubicBezTo>
                  <a:cubicBezTo>
                    <a:pt x="111" y="31"/>
                    <a:pt x="114" y="32"/>
                    <a:pt x="117" y="33"/>
                  </a:cubicBezTo>
                  <a:cubicBezTo>
                    <a:pt x="119" y="34"/>
                    <a:pt x="122" y="37"/>
                    <a:pt x="125" y="39"/>
                  </a:cubicBezTo>
                  <a:lnTo>
                    <a:pt x="125" y="7"/>
                  </a:lnTo>
                  <a:cubicBezTo>
                    <a:pt x="125" y="6"/>
                    <a:pt x="125" y="6"/>
                    <a:pt x="125" y="6"/>
                  </a:cubicBezTo>
                  <a:cubicBezTo>
                    <a:pt x="125" y="6"/>
                    <a:pt x="125" y="5"/>
                    <a:pt x="126" y="5"/>
                  </a:cubicBezTo>
                  <a:cubicBezTo>
                    <a:pt x="126" y="5"/>
                    <a:pt x="127" y="5"/>
                    <a:pt x="127" y="5"/>
                  </a:cubicBezTo>
                  <a:cubicBezTo>
                    <a:pt x="128" y="5"/>
                    <a:pt x="129" y="5"/>
                    <a:pt x="130" y="5"/>
                  </a:cubicBezTo>
                  <a:cubicBezTo>
                    <a:pt x="131" y="5"/>
                    <a:pt x="132" y="5"/>
                    <a:pt x="132" y="5"/>
                  </a:cubicBezTo>
                  <a:cubicBezTo>
                    <a:pt x="133" y="5"/>
                    <a:pt x="134" y="5"/>
                    <a:pt x="134" y="5"/>
                  </a:cubicBezTo>
                  <a:cubicBezTo>
                    <a:pt x="134" y="5"/>
                    <a:pt x="135" y="6"/>
                    <a:pt x="135" y="6"/>
                  </a:cubicBezTo>
                  <a:cubicBezTo>
                    <a:pt x="135" y="6"/>
                    <a:pt x="135" y="6"/>
                    <a:pt x="135" y="7"/>
                  </a:cubicBezTo>
                  <a:lnTo>
                    <a:pt x="135" y="90"/>
                  </a:lnTo>
                  <a:close/>
                  <a:moveTo>
                    <a:pt x="125" y="50"/>
                  </a:moveTo>
                  <a:cubicBezTo>
                    <a:pt x="122" y="47"/>
                    <a:pt x="119" y="44"/>
                    <a:pt x="117" y="42"/>
                  </a:cubicBezTo>
                  <a:cubicBezTo>
                    <a:pt x="114" y="41"/>
                    <a:pt x="111" y="40"/>
                    <a:pt x="108" y="40"/>
                  </a:cubicBezTo>
                  <a:cubicBezTo>
                    <a:pt x="106" y="40"/>
                    <a:pt x="104" y="40"/>
                    <a:pt x="102" y="42"/>
                  </a:cubicBezTo>
                  <a:cubicBezTo>
                    <a:pt x="100" y="43"/>
                    <a:pt x="98" y="44"/>
                    <a:pt x="97" y="47"/>
                  </a:cubicBezTo>
                  <a:cubicBezTo>
                    <a:pt x="96" y="49"/>
                    <a:pt x="95" y="51"/>
                    <a:pt x="95" y="53"/>
                  </a:cubicBezTo>
                  <a:cubicBezTo>
                    <a:pt x="94" y="56"/>
                    <a:pt x="94" y="59"/>
                    <a:pt x="94" y="61"/>
                  </a:cubicBezTo>
                  <a:cubicBezTo>
                    <a:pt x="94" y="64"/>
                    <a:pt x="94" y="67"/>
                    <a:pt x="95" y="70"/>
                  </a:cubicBezTo>
                  <a:cubicBezTo>
                    <a:pt x="95" y="72"/>
                    <a:pt x="96" y="75"/>
                    <a:pt x="97" y="77"/>
                  </a:cubicBezTo>
                  <a:cubicBezTo>
                    <a:pt x="98" y="79"/>
                    <a:pt x="99" y="81"/>
                    <a:pt x="101" y="82"/>
                  </a:cubicBezTo>
                  <a:cubicBezTo>
                    <a:pt x="103" y="83"/>
                    <a:pt x="105" y="84"/>
                    <a:pt x="108" y="84"/>
                  </a:cubicBezTo>
                  <a:cubicBezTo>
                    <a:pt x="109" y="84"/>
                    <a:pt x="111" y="84"/>
                    <a:pt x="112" y="83"/>
                  </a:cubicBezTo>
                  <a:cubicBezTo>
                    <a:pt x="113" y="83"/>
                    <a:pt x="115" y="82"/>
                    <a:pt x="116" y="81"/>
                  </a:cubicBezTo>
                  <a:cubicBezTo>
                    <a:pt x="117" y="81"/>
                    <a:pt x="119" y="79"/>
                    <a:pt x="120" y="78"/>
                  </a:cubicBezTo>
                  <a:cubicBezTo>
                    <a:pt x="122" y="77"/>
                    <a:pt x="123" y="75"/>
                    <a:pt x="125" y="73"/>
                  </a:cubicBezTo>
                  <a:lnTo>
                    <a:pt x="125" y="50"/>
                  </a:lnTo>
                  <a:close/>
                  <a:moveTo>
                    <a:pt x="199" y="90"/>
                  </a:moveTo>
                  <a:cubicBezTo>
                    <a:pt x="199" y="90"/>
                    <a:pt x="199" y="91"/>
                    <a:pt x="199" y="91"/>
                  </a:cubicBezTo>
                  <a:cubicBezTo>
                    <a:pt x="199" y="91"/>
                    <a:pt x="198" y="91"/>
                    <a:pt x="198" y="91"/>
                  </a:cubicBezTo>
                  <a:cubicBezTo>
                    <a:pt x="198" y="91"/>
                    <a:pt x="197" y="92"/>
                    <a:pt x="197" y="92"/>
                  </a:cubicBezTo>
                  <a:cubicBezTo>
                    <a:pt x="196" y="92"/>
                    <a:pt x="195" y="92"/>
                    <a:pt x="195" y="92"/>
                  </a:cubicBezTo>
                  <a:cubicBezTo>
                    <a:pt x="194" y="92"/>
                    <a:pt x="193" y="92"/>
                    <a:pt x="192" y="92"/>
                  </a:cubicBezTo>
                  <a:cubicBezTo>
                    <a:pt x="192" y="92"/>
                    <a:pt x="191" y="91"/>
                    <a:pt x="191" y="91"/>
                  </a:cubicBezTo>
                  <a:cubicBezTo>
                    <a:pt x="191" y="91"/>
                    <a:pt x="190" y="91"/>
                    <a:pt x="190" y="91"/>
                  </a:cubicBezTo>
                  <a:cubicBezTo>
                    <a:pt x="190" y="91"/>
                    <a:pt x="190" y="90"/>
                    <a:pt x="190" y="90"/>
                  </a:cubicBezTo>
                  <a:lnTo>
                    <a:pt x="190" y="82"/>
                  </a:lnTo>
                  <a:cubicBezTo>
                    <a:pt x="187" y="86"/>
                    <a:pt x="184" y="88"/>
                    <a:pt x="181" y="90"/>
                  </a:cubicBezTo>
                  <a:cubicBezTo>
                    <a:pt x="178" y="92"/>
                    <a:pt x="174" y="93"/>
                    <a:pt x="170" y="93"/>
                  </a:cubicBezTo>
                  <a:cubicBezTo>
                    <a:pt x="166" y="93"/>
                    <a:pt x="163" y="92"/>
                    <a:pt x="160" y="90"/>
                  </a:cubicBezTo>
                  <a:cubicBezTo>
                    <a:pt x="157" y="89"/>
                    <a:pt x="154" y="86"/>
                    <a:pt x="153" y="84"/>
                  </a:cubicBezTo>
                  <a:cubicBezTo>
                    <a:pt x="151" y="81"/>
                    <a:pt x="149" y="78"/>
                    <a:pt x="149" y="74"/>
                  </a:cubicBezTo>
                  <a:cubicBezTo>
                    <a:pt x="148" y="70"/>
                    <a:pt x="147" y="67"/>
                    <a:pt x="147" y="62"/>
                  </a:cubicBezTo>
                  <a:cubicBezTo>
                    <a:pt x="147" y="58"/>
                    <a:pt x="148" y="53"/>
                    <a:pt x="149" y="49"/>
                  </a:cubicBezTo>
                  <a:cubicBezTo>
                    <a:pt x="150" y="45"/>
                    <a:pt x="151" y="42"/>
                    <a:pt x="154" y="39"/>
                  </a:cubicBezTo>
                  <a:cubicBezTo>
                    <a:pt x="156" y="37"/>
                    <a:pt x="158" y="35"/>
                    <a:pt x="161" y="33"/>
                  </a:cubicBezTo>
                  <a:cubicBezTo>
                    <a:pt x="164" y="32"/>
                    <a:pt x="168" y="31"/>
                    <a:pt x="172" y="31"/>
                  </a:cubicBezTo>
                  <a:cubicBezTo>
                    <a:pt x="175" y="31"/>
                    <a:pt x="178" y="32"/>
                    <a:pt x="181" y="33"/>
                  </a:cubicBezTo>
                  <a:cubicBezTo>
                    <a:pt x="183" y="34"/>
                    <a:pt x="186" y="37"/>
                    <a:pt x="189" y="39"/>
                  </a:cubicBezTo>
                  <a:lnTo>
                    <a:pt x="189" y="7"/>
                  </a:lnTo>
                  <a:cubicBezTo>
                    <a:pt x="189" y="6"/>
                    <a:pt x="189" y="6"/>
                    <a:pt x="189" y="6"/>
                  </a:cubicBezTo>
                  <a:cubicBezTo>
                    <a:pt x="189" y="6"/>
                    <a:pt x="189" y="5"/>
                    <a:pt x="190" y="5"/>
                  </a:cubicBezTo>
                  <a:cubicBezTo>
                    <a:pt x="190" y="5"/>
                    <a:pt x="191" y="5"/>
                    <a:pt x="191" y="5"/>
                  </a:cubicBezTo>
                  <a:cubicBezTo>
                    <a:pt x="192" y="5"/>
                    <a:pt x="193" y="5"/>
                    <a:pt x="194" y="5"/>
                  </a:cubicBezTo>
                  <a:cubicBezTo>
                    <a:pt x="195" y="5"/>
                    <a:pt x="196" y="5"/>
                    <a:pt x="196" y="5"/>
                  </a:cubicBezTo>
                  <a:cubicBezTo>
                    <a:pt x="197" y="5"/>
                    <a:pt x="198" y="5"/>
                    <a:pt x="198" y="5"/>
                  </a:cubicBezTo>
                  <a:cubicBezTo>
                    <a:pt x="198" y="5"/>
                    <a:pt x="199" y="6"/>
                    <a:pt x="199" y="6"/>
                  </a:cubicBezTo>
                  <a:cubicBezTo>
                    <a:pt x="199" y="6"/>
                    <a:pt x="199" y="6"/>
                    <a:pt x="199" y="7"/>
                  </a:cubicBezTo>
                  <a:lnTo>
                    <a:pt x="199" y="90"/>
                  </a:lnTo>
                  <a:close/>
                  <a:moveTo>
                    <a:pt x="189" y="50"/>
                  </a:moveTo>
                  <a:cubicBezTo>
                    <a:pt x="186" y="47"/>
                    <a:pt x="183" y="44"/>
                    <a:pt x="181" y="42"/>
                  </a:cubicBezTo>
                  <a:cubicBezTo>
                    <a:pt x="178" y="41"/>
                    <a:pt x="175" y="40"/>
                    <a:pt x="172" y="40"/>
                  </a:cubicBezTo>
                  <a:cubicBezTo>
                    <a:pt x="170" y="40"/>
                    <a:pt x="168" y="40"/>
                    <a:pt x="166" y="42"/>
                  </a:cubicBezTo>
                  <a:cubicBezTo>
                    <a:pt x="164" y="43"/>
                    <a:pt x="162" y="44"/>
                    <a:pt x="161" y="47"/>
                  </a:cubicBezTo>
                  <a:cubicBezTo>
                    <a:pt x="160" y="49"/>
                    <a:pt x="159" y="51"/>
                    <a:pt x="159" y="53"/>
                  </a:cubicBezTo>
                  <a:cubicBezTo>
                    <a:pt x="158" y="56"/>
                    <a:pt x="158" y="59"/>
                    <a:pt x="158" y="61"/>
                  </a:cubicBezTo>
                  <a:cubicBezTo>
                    <a:pt x="158" y="64"/>
                    <a:pt x="158" y="67"/>
                    <a:pt x="159" y="70"/>
                  </a:cubicBezTo>
                  <a:cubicBezTo>
                    <a:pt x="159" y="72"/>
                    <a:pt x="160" y="75"/>
                    <a:pt x="161" y="77"/>
                  </a:cubicBezTo>
                  <a:cubicBezTo>
                    <a:pt x="162" y="79"/>
                    <a:pt x="163" y="81"/>
                    <a:pt x="165" y="82"/>
                  </a:cubicBezTo>
                  <a:cubicBezTo>
                    <a:pt x="167" y="83"/>
                    <a:pt x="169" y="84"/>
                    <a:pt x="172" y="84"/>
                  </a:cubicBezTo>
                  <a:cubicBezTo>
                    <a:pt x="173" y="84"/>
                    <a:pt x="175" y="84"/>
                    <a:pt x="176" y="83"/>
                  </a:cubicBezTo>
                  <a:cubicBezTo>
                    <a:pt x="177" y="83"/>
                    <a:pt x="179" y="82"/>
                    <a:pt x="180" y="81"/>
                  </a:cubicBezTo>
                  <a:cubicBezTo>
                    <a:pt x="181" y="81"/>
                    <a:pt x="183" y="79"/>
                    <a:pt x="184" y="78"/>
                  </a:cubicBezTo>
                  <a:cubicBezTo>
                    <a:pt x="186" y="77"/>
                    <a:pt x="187" y="75"/>
                    <a:pt x="189" y="73"/>
                  </a:cubicBezTo>
                  <a:lnTo>
                    <a:pt x="189" y="50"/>
                  </a:lnTo>
                  <a:close/>
                  <a:moveTo>
                    <a:pt x="216" y="107"/>
                  </a:moveTo>
                  <a:cubicBezTo>
                    <a:pt x="216" y="107"/>
                    <a:pt x="215" y="107"/>
                    <a:pt x="215" y="108"/>
                  </a:cubicBezTo>
                  <a:cubicBezTo>
                    <a:pt x="215" y="108"/>
                    <a:pt x="215" y="108"/>
                    <a:pt x="214" y="109"/>
                  </a:cubicBezTo>
                  <a:cubicBezTo>
                    <a:pt x="214" y="109"/>
                    <a:pt x="213" y="109"/>
                    <a:pt x="213" y="109"/>
                  </a:cubicBezTo>
                  <a:cubicBezTo>
                    <a:pt x="212" y="109"/>
                    <a:pt x="211" y="109"/>
                    <a:pt x="210" y="109"/>
                  </a:cubicBezTo>
                  <a:cubicBezTo>
                    <a:pt x="209" y="109"/>
                    <a:pt x="209" y="109"/>
                    <a:pt x="208" y="109"/>
                  </a:cubicBezTo>
                  <a:cubicBezTo>
                    <a:pt x="207" y="109"/>
                    <a:pt x="207" y="108"/>
                    <a:pt x="206" y="108"/>
                  </a:cubicBezTo>
                  <a:cubicBezTo>
                    <a:pt x="206" y="108"/>
                    <a:pt x="206" y="108"/>
                    <a:pt x="206" y="107"/>
                  </a:cubicBezTo>
                  <a:cubicBezTo>
                    <a:pt x="205" y="107"/>
                    <a:pt x="206" y="106"/>
                    <a:pt x="206" y="106"/>
                  </a:cubicBezTo>
                  <a:lnTo>
                    <a:pt x="244" y="2"/>
                  </a:lnTo>
                  <a:cubicBezTo>
                    <a:pt x="244" y="2"/>
                    <a:pt x="244" y="1"/>
                    <a:pt x="244" y="1"/>
                  </a:cubicBezTo>
                  <a:cubicBezTo>
                    <a:pt x="245" y="0"/>
                    <a:pt x="245" y="0"/>
                    <a:pt x="245" y="0"/>
                  </a:cubicBezTo>
                  <a:cubicBezTo>
                    <a:pt x="246" y="0"/>
                    <a:pt x="246" y="0"/>
                    <a:pt x="247" y="0"/>
                  </a:cubicBezTo>
                  <a:cubicBezTo>
                    <a:pt x="247" y="0"/>
                    <a:pt x="248" y="0"/>
                    <a:pt x="249" y="0"/>
                  </a:cubicBezTo>
                  <a:cubicBezTo>
                    <a:pt x="250" y="0"/>
                    <a:pt x="251" y="0"/>
                    <a:pt x="252" y="0"/>
                  </a:cubicBezTo>
                  <a:cubicBezTo>
                    <a:pt x="252" y="0"/>
                    <a:pt x="253" y="0"/>
                    <a:pt x="253" y="0"/>
                  </a:cubicBezTo>
                  <a:cubicBezTo>
                    <a:pt x="254" y="1"/>
                    <a:pt x="254" y="1"/>
                    <a:pt x="254" y="1"/>
                  </a:cubicBezTo>
                  <a:cubicBezTo>
                    <a:pt x="254" y="2"/>
                    <a:pt x="254" y="2"/>
                    <a:pt x="254" y="3"/>
                  </a:cubicBezTo>
                  <a:lnTo>
                    <a:pt x="216" y="107"/>
                  </a:lnTo>
                  <a:close/>
                  <a:moveTo>
                    <a:pt x="352" y="90"/>
                  </a:moveTo>
                  <a:cubicBezTo>
                    <a:pt x="352" y="90"/>
                    <a:pt x="352" y="90"/>
                    <a:pt x="352" y="91"/>
                  </a:cubicBezTo>
                  <a:cubicBezTo>
                    <a:pt x="352" y="91"/>
                    <a:pt x="351" y="91"/>
                    <a:pt x="351" y="91"/>
                  </a:cubicBezTo>
                  <a:cubicBezTo>
                    <a:pt x="350" y="91"/>
                    <a:pt x="350" y="92"/>
                    <a:pt x="349" y="92"/>
                  </a:cubicBezTo>
                  <a:cubicBezTo>
                    <a:pt x="349" y="92"/>
                    <a:pt x="348" y="92"/>
                    <a:pt x="347" y="92"/>
                  </a:cubicBezTo>
                  <a:cubicBezTo>
                    <a:pt x="346" y="92"/>
                    <a:pt x="345" y="92"/>
                    <a:pt x="344" y="92"/>
                  </a:cubicBezTo>
                  <a:cubicBezTo>
                    <a:pt x="343" y="92"/>
                    <a:pt x="343" y="91"/>
                    <a:pt x="342" y="91"/>
                  </a:cubicBezTo>
                  <a:cubicBezTo>
                    <a:pt x="342" y="91"/>
                    <a:pt x="342" y="91"/>
                    <a:pt x="342" y="91"/>
                  </a:cubicBezTo>
                  <a:cubicBezTo>
                    <a:pt x="341" y="90"/>
                    <a:pt x="341" y="90"/>
                    <a:pt x="341" y="90"/>
                  </a:cubicBezTo>
                  <a:lnTo>
                    <a:pt x="341" y="19"/>
                  </a:lnTo>
                  <a:lnTo>
                    <a:pt x="341" y="19"/>
                  </a:lnTo>
                  <a:lnTo>
                    <a:pt x="313" y="90"/>
                  </a:lnTo>
                  <a:cubicBezTo>
                    <a:pt x="313" y="90"/>
                    <a:pt x="312" y="91"/>
                    <a:pt x="312" y="91"/>
                  </a:cubicBezTo>
                  <a:cubicBezTo>
                    <a:pt x="312" y="91"/>
                    <a:pt x="312" y="91"/>
                    <a:pt x="311" y="91"/>
                  </a:cubicBezTo>
                  <a:cubicBezTo>
                    <a:pt x="311" y="92"/>
                    <a:pt x="310" y="92"/>
                    <a:pt x="310" y="92"/>
                  </a:cubicBezTo>
                  <a:cubicBezTo>
                    <a:pt x="309" y="92"/>
                    <a:pt x="308" y="92"/>
                    <a:pt x="307" y="92"/>
                  </a:cubicBezTo>
                  <a:cubicBezTo>
                    <a:pt x="307" y="92"/>
                    <a:pt x="306" y="92"/>
                    <a:pt x="305" y="92"/>
                  </a:cubicBezTo>
                  <a:cubicBezTo>
                    <a:pt x="305" y="92"/>
                    <a:pt x="304" y="91"/>
                    <a:pt x="304" y="91"/>
                  </a:cubicBezTo>
                  <a:cubicBezTo>
                    <a:pt x="303" y="91"/>
                    <a:pt x="303" y="91"/>
                    <a:pt x="303" y="91"/>
                  </a:cubicBezTo>
                  <a:cubicBezTo>
                    <a:pt x="302" y="91"/>
                    <a:pt x="302" y="90"/>
                    <a:pt x="302" y="90"/>
                  </a:cubicBezTo>
                  <a:lnTo>
                    <a:pt x="275" y="19"/>
                  </a:lnTo>
                  <a:lnTo>
                    <a:pt x="275" y="19"/>
                  </a:lnTo>
                  <a:lnTo>
                    <a:pt x="275" y="90"/>
                  </a:lnTo>
                  <a:cubicBezTo>
                    <a:pt x="275" y="90"/>
                    <a:pt x="275" y="90"/>
                    <a:pt x="275" y="91"/>
                  </a:cubicBezTo>
                  <a:cubicBezTo>
                    <a:pt x="274" y="91"/>
                    <a:pt x="274" y="91"/>
                    <a:pt x="274" y="91"/>
                  </a:cubicBezTo>
                  <a:cubicBezTo>
                    <a:pt x="273" y="91"/>
                    <a:pt x="273" y="92"/>
                    <a:pt x="272" y="92"/>
                  </a:cubicBezTo>
                  <a:cubicBezTo>
                    <a:pt x="271" y="92"/>
                    <a:pt x="270" y="92"/>
                    <a:pt x="269" y="92"/>
                  </a:cubicBezTo>
                  <a:cubicBezTo>
                    <a:pt x="268" y="92"/>
                    <a:pt x="267" y="92"/>
                    <a:pt x="267" y="92"/>
                  </a:cubicBezTo>
                  <a:cubicBezTo>
                    <a:pt x="266" y="92"/>
                    <a:pt x="266" y="91"/>
                    <a:pt x="265" y="91"/>
                  </a:cubicBezTo>
                  <a:cubicBezTo>
                    <a:pt x="265" y="91"/>
                    <a:pt x="264" y="91"/>
                    <a:pt x="264" y="91"/>
                  </a:cubicBezTo>
                  <a:cubicBezTo>
                    <a:pt x="264" y="90"/>
                    <a:pt x="264" y="90"/>
                    <a:pt x="264" y="90"/>
                  </a:cubicBezTo>
                  <a:lnTo>
                    <a:pt x="264" y="15"/>
                  </a:lnTo>
                  <a:cubicBezTo>
                    <a:pt x="264" y="14"/>
                    <a:pt x="265" y="12"/>
                    <a:pt x="265" y="12"/>
                  </a:cubicBezTo>
                  <a:cubicBezTo>
                    <a:pt x="266" y="11"/>
                    <a:pt x="267" y="11"/>
                    <a:pt x="269" y="11"/>
                  </a:cubicBezTo>
                  <a:lnTo>
                    <a:pt x="275" y="11"/>
                  </a:lnTo>
                  <a:cubicBezTo>
                    <a:pt x="277" y="11"/>
                    <a:pt x="278" y="11"/>
                    <a:pt x="279" y="11"/>
                  </a:cubicBezTo>
                  <a:cubicBezTo>
                    <a:pt x="280" y="11"/>
                    <a:pt x="281" y="12"/>
                    <a:pt x="281" y="12"/>
                  </a:cubicBezTo>
                  <a:cubicBezTo>
                    <a:pt x="282" y="13"/>
                    <a:pt x="283" y="13"/>
                    <a:pt x="283" y="14"/>
                  </a:cubicBezTo>
                  <a:cubicBezTo>
                    <a:pt x="284" y="15"/>
                    <a:pt x="284" y="16"/>
                    <a:pt x="285" y="17"/>
                  </a:cubicBezTo>
                  <a:lnTo>
                    <a:pt x="308" y="76"/>
                  </a:lnTo>
                  <a:lnTo>
                    <a:pt x="308" y="76"/>
                  </a:lnTo>
                  <a:lnTo>
                    <a:pt x="332" y="17"/>
                  </a:lnTo>
                  <a:cubicBezTo>
                    <a:pt x="333" y="16"/>
                    <a:pt x="333" y="15"/>
                    <a:pt x="334" y="14"/>
                  </a:cubicBezTo>
                  <a:cubicBezTo>
                    <a:pt x="334" y="13"/>
                    <a:pt x="335" y="13"/>
                    <a:pt x="335" y="12"/>
                  </a:cubicBezTo>
                  <a:cubicBezTo>
                    <a:pt x="336" y="12"/>
                    <a:pt x="337" y="11"/>
                    <a:pt x="338" y="11"/>
                  </a:cubicBezTo>
                  <a:cubicBezTo>
                    <a:pt x="338" y="11"/>
                    <a:pt x="339" y="11"/>
                    <a:pt x="340" y="11"/>
                  </a:cubicBezTo>
                  <a:lnTo>
                    <a:pt x="347" y="11"/>
                  </a:lnTo>
                  <a:cubicBezTo>
                    <a:pt x="348" y="11"/>
                    <a:pt x="349" y="11"/>
                    <a:pt x="349" y="11"/>
                  </a:cubicBezTo>
                  <a:cubicBezTo>
                    <a:pt x="350" y="11"/>
                    <a:pt x="350" y="11"/>
                    <a:pt x="351" y="12"/>
                  </a:cubicBezTo>
                  <a:cubicBezTo>
                    <a:pt x="351" y="12"/>
                    <a:pt x="351" y="13"/>
                    <a:pt x="352" y="13"/>
                  </a:cubicBezTo>
                  <a:cubicBezTo>
                    <a:pt x="352" y="14"/>
                    <a:pt x="352" y="15"/>
                    <a:pt x="352" y="15"/>
                  </a:cubicBezTo>
                  <a:lnTo>
                    <a:pt x="352" y="90"/>
                  </a:lnTo>
                  <a:close/>
                  <a:moveTo>
                    <a:pt x="427" y="61"/>
                  </a:moveTo>
                  <a:cubicBezTo>
                    <a:pt x="427" y="66"/>
                    <a:pt x="427" y="70"/>
                    <a:pt x="425" y="74"/>
                  </a:cubicBezTo>
                  <a:cubicBezTo>
                    <a:pt x="424" y="78"/>
                    <a:pt x="422" y="81"/>
                    <a:pt x="420" y="84"/>
                  </a:cubicBezTo>
                  <a:cubicBezTo>
                    <a:pt x="418" y="87"/>
                    <a:pt x="415" y="89"/>
                    <a:pt x="411" y="90"/>
                  </a:cubicBezTo>
                  <a:cubicBezTo>
                    <a:pt x="407" y="92"/>
                    <a:pt x="403" y="93"/>
                    <a:pt x="398" y="93"/>
                  </a:cubicBezTo>
                  <a:cubicBezTo>
                    <a:pt x="394" y="93"/>
                    <a:pt x="390" y="92"/>
                    <a:pt x="386" y="91"/>
                  </a:cubicBezTo>
                  <a:cubicBezTo>
                    <a:pt x="383" y="89"/>
                    <a:pt x="380" y="87"/>
                    <a:pt x="378" y="85"/>
                  </a:cubicBezTo>
                  <a:cubicBezTo>
                    <a:pt x="375" y="82"/>
                    <a:pt x="374" y="79"/>
                    <a:pt x="373" y="75"/>
                  </a:cubicBezTo>
                  <a:cubicBezTo>
                    <a:pt x="372" y="71"/>
                    <a:pt x="371" y="67"/>
                    <a:pt x="371" y="62"/>
                  </a:cubicBezTo>
                  <a:cubicBezTo>
                    <a:pt x="371" y="58"/>
                    <a:pt x="372" y="53"/>
                    <a:pt x="373" y="50"/>
                  </a:cubicBezTo>
                  <a:cubicBezTo>
                    <a:pt x="374" y="46"/>
                    <a:pt x="376" y="42"/>
                    <a:pt x="378" y="40"/>
                  </a:cubicBezTo>
                  <a:cubicBezTo>
                    <a:pt x="381" y="37"/>
                    <a:pt x="384" y="35"/>
                    <a:pt x="387" y="33"/>
                  </a:cubicBezTo>
                  <a:cubicBezTo>
                    <a:pt x="391" y="32"/>
                    <a:pt x="395" y="31"/>
                    <a:pt x="400" y="31"/>
                  </a:cubicBezTo>
                  <a:cubicBezTo>
                    <a:pt x="404" y="31"/>
                    <a:pt x="408" y="32"/>
                    <a:pt x="412" y="33"/>
                  </a:cubicBezTo>
                  <a:cubicBezTo>
                    <a:pt x="415" y="34"/>
                    <a:pt x="418" y="36"/>
                    <a:pt x="420" y="39"/>
                  </a:cubicBezTo>
                  <a:cubicBezTo>
                    <a:pt x="423" y="42"/>
                    <a:pt x="424" y="45"/>
                    <a:pt x="426" y="48"/>
                  </a:cubicBezTo>
                  <a:cubicBezTo>
                    <a:pt x="427" y="52"/>
                    <a:pt x="427" y="56"/>
                    <a:pt x="427" y="61"/>
                  </a:cubicBezTo>
                  <a:close/>
                  <a:moveTo>
                    <a:pt x="417" y="62"/>
                  </a:moveTo>
                  <a:cubicBezTo>
                    <a:pt x="417" y="59"/>
                    <a:pt x="416" y="56"/>
                    <a:pt x="416" y="53"/>
                  </a:cubicBezTo>
                  <a:cubicBezTo>
                    <a:pt x="415" y="50"/>
                    <a:pt x="414" y="48"/>
                    <a:pt x="413" y="46"/>
                  </a:cubicBezTo>
                  <a:cubicBezTo>
                    <a:pt x="412" y="44"/>
                    <a:pt x="410" y="42"/>
                    <a:pt x="408" y="41"/>
                  </a:cubicBezTo>
                  <a:cubicBezTo>
                    <a:pt x="405" y="40"/>
                    <a:pt x="403" y="39"/>
                    <a:pt x="399" y="39"/>
                  </a:cubicBezTo>
                  <a:cubicBezTo>
                    <a:pt x="396" y="39"/>
                    <a:pt x="394" y="40"/>
                    <a:pt x="391" y="41"/>
                  </a:cubicBezTo>
                  <a:cubicBezTo>
                    <a:pt x="389" y="42"/>
                    <a:pt x="387" y="44"/>
                    <a:pt x="386" y="46"/>
                  </a:cubicBezTo>
                  <a:cubicBezTo>
                    <a:pt x="384" y="48"/>
                    <a:pt x="383" y="50"/>
                    <a:pt x="383" y="53"/>
                  </a:cubicBezTo>
                  <a:cubicBezTo>
                    <a:pt x="382" y="55"/>
                    <a:pt x="382" y="58"/>
                    <a:pt x="382" y="62"/>
                  </a:cubicBezTo>
                  <a:cubicBezTo>
                    <a:pt x="382" y="65"/>
                    <a:pt x="382" y="68"/>
                    <a:pt x="383" y="70"/>
                  </a:cubicBezTo>
                  <a:cubicBezTo>
                    <a:pt x="383" y="73"/>
                    <a:pt x="384" y="75"/>
                    <a:pt x="385" y="77"/>
                  </a:cubicBezTo>
                  <a:cubicBezTo>
                    <a:pt x="387" y="79"/>
                    <a:pt x="388" y="81"/>
                    <a:pt x="391" y="82"/>
                  </a:cubicBezTo>
                  <a:cubicBezTo>
                    <a:pt x="393" y="83"/>
                    <a:pt x="396" y="84"/>
                    <a:pt x="399" y="84"/>
                  </a:cubicBezTo>
                  <a:cubicBezTo>
                    <a:pt x="402" y="84"/>
                    <a:pt x="405" y="83"/>
                    <a:pt x="407" y="82"/>
                  </a:cubicBezTo>
                  <a:cubicBezTo>
                    <a:pt x="409" y="81"/>
                    <a:pt x="411" y="80"/>
                    <a:pt x="412" y="78"/>
                  </a:cubicBezTo>
                  <a:cubicBezTo>
                    <a:pt x="414" y="76"/>
                    <a:pt x="415" y="73"/>
                    <a:pt x="416" y="71"/>
                  </a:cubicBezTo>
                  <a:cubicBezTo>
                    <a:pt x="416" y="68"/>
                    <a:pt x="417" y="65"/>
                    <a:pt x="417" y="62"/>
                  </a:cubicBezTo>
                  <a:close/>
                  <a:moveTo>
                    <a:pt x="487" y="90"/>
                  </a:moveTo>
                  <a:cubicBezTo>
                    <a:pt x="487" y="90"/>
                    <a:pt x="487" y="91"/>
                    <a:pt x="487" y="91"/>
                  </a:cubicBezTo>
                  <a:cubicBezTo>
                    <a:pt x="487" y="91"/>
                    <a:pt x="486" y="91"/>
                    <a:pt x="486" y="91"/>
                  </a:cubicBezTo>
                  <a:cubicBezTo>
                    <a:pt x="486" y="91"/>
                    <a:pt x="485" y="92"/>
                    <a:pt x="485" y="92"/>
                  </a:cubicBezTo>
                  <a:cubicBezTo>
                    <a:pt x="484" y="92"/>
                    <a:pt x="483" y="92"/>
                    <a:pt x="483" y="92"/>
                  </a:cubicBezTo>
                  <a:cubicBezTo>
                    <a:pt x="482" y="92"/>
                    <a:pt x="481" y="92"/>
                    <a:pt x="480" y="92"/>
                  </a:cubicBezTo>
                  <a:cubicBezTo>
                    <a:pt x="480" y="92"/>
                    <a:pt x="479" y="91"/>
                    <a:pt x="479" y="91"/>
                  </a:cubicBezTo>
                  <a:cubicBezTo>
                    <a:pt x="479" y="91"/>
                    <a:pt x="478" y="91"/>
                    <a:pt x="478" y="91"/>
                  </a:cubicBezTo>
                  <a:cubicBezTo>
                    <a:pt x="478" y="91"/>
                    <a:pt x="478" y="90"/>
                    <a:pt x="478" y="90"/>
                  </a:cubicBezTo>
                  <a:lnTo>
                    <a:pt x="478" y="82"/>
                  </a:lnTo>
                  <a:cubicBezTo>
                    <a:pt x="475" y="86"/>
                    <a:pt x="472" y="88"/>
                    <a:pt x="469" y="90"/>
                  </a:cubicBezTo>
                  <a:cubicBezTo>
                    <a:pt x="466" y="92"/>
                    <a:pt x="462" y="93"/>
                    <a:pt x="458" y="93"/>
                  </a:cubicBezTo>
                  <a:cubicBezTo>
                    <a:pt x="454" y="93"/>
                    <a:pt x="451" y="92"/>
                    <a:pt x="448" y="90"/>
                  </a:cubicBezTo>
                  <a:cubicBezTo>
                    <a:pt x="445" y="89"/>
                    <a:pt x="442" y="86"/>
                    <a:pt x="441" y="84"/>
                  </a:cubicBezTo>
                  <a:cubicBezTo>
                    <a:pt x="439" y="81"/>
                    <a:pt x="437" y="78"/>
                    <a:pt x="437" y="74"/>
                  </a:cubicBezTo>
                  <a:cubicBezTo>
                    <a:pt x="436" y="70"/>
                    <a:pt x="435" y="67"/>
                    <a:pt x="435" y="62"/>
                  </a:cubicBezTo>
                  <a:cubicBezTo>
                    <a:pt x="435" y="58"/>
                    <a:pt x="436" y="53"/>
                    <a:pt x="437" y="49"/>
                  </a:cubicBezTo>
                  <a:cubicBezTo>
                    <a:pt x="438" y="45"/>
                    <a:pt x="439" y="42"/>
                    <a:pt x="442" y="39"/>
                  </a:cubicBezTo>
                  <a:cubicBezTo>
                    <a:pt x="444" y="37"/>
                    <a:pt x="446" y="35"/>
                    <a:pt x="449" y="33"/>
                  </a:cubicBezTo>
                  <a:cubicBezTo>
                    <a:pt x="452" y="32"/>
                    <a:pt x="456" y="31"/>
                    <a:pt x="460" y="31"/>
                  </a:cubicBezTo>
                  <a:cubicBezTo>
                    <a:pt x="463" y="31"/>
                    <a:pt x="466" y="32"/>
                    <a:pt x="469" y="33"/>
                  </a:cubicBezTo>
                  <a:cubicBezTo>
                    <a:pt x="471" y="34"/>
                    <a:pt x="474" y="37"/>
                    <a:pt x="477" y="39"/>
                  </a:cubicBezTo>
                  <a:lnTo>
                    <a:pt x="477" y="7"/>
                  </a:lnTo>
                  <a:cubicBezTo>
                    <a:pt x="477" y="6"/>
                    <a:pt x="477" y="6"/>
                    <a:pt x="477" y="6"/>
                  </a:cubicBezTo>
                  <a:cubicBezTo>
                    <a:pt x="477" y="6"/>
                    <a:pt x="477" y="5"/>
                    <a:pt x="478" y="5"/>
                  </a:cubicBezTo>
                  <a:cubicBezTo>
                    <a:pt x="478" y="5"/>
                    <a:pt x="479" y="5"/>
                    <a:pt x="479" y="5"/>
                  </a:cubicBezTo>
                  <a:cubicBezTo>
                    <a:pt x="480" y="5"/>
                    <a:pt x="481" y="5"/>
                    <a:pt x="482" y="5"/>
                  </a:cubicBezTo>
                  <a:cubicBezTo>
                    <a:pt x="483" y="5"/>
                    <a:pt x="484" y="5"/>
                    <a:pt x="484" y="5"/>
                  </a:cubicBezTo>
                  <a:cubicBezTo>
                    <a:pt x="485" y="5"/>
                    <a:pt x="486" y="5"/>
                    <a:pt x="486" y="5"/>
                  </a:cubicBezTo>
                  <a:cubicBezTo>
                    <a:pt x="486" y="5"/>
                    <a:pt x="487" y="6"/>
                    <a:pt x="487" y="6"/>
                  </a:cubicBezTo>
                  <a:cubicBezTo>
                    <a:pt x="487" y="6"/>
                    <a:pt x="487" y="6"/>
                    <a:pt x="487" y="7"/>
                  </a:cubicBezTo>
                  <a:lnTo>
                    <a:pt x="487" y="90"/>
                  </a:lnTo>
                  <a:close/>
                  <a:moveTo>
                    <a:pt x="477" y="50"/>
                  </a:moveTo>
                  <a:cubicBezTo>
                    <a:pt x="474" y="47"/>
                    <a:pt x="471" y="44"/>
                    <a:pt x="469" y="42"/>
                  </a:cubicBezTo>
                  <a:cubicBezTo>
                    <a:pt x="466" y="41"/>
                    <a:pt x="463" y="40"/>
                    <a:pt x="460" y="40"/>
                  </a:cubicBezTo>
                  <a:cubicBezTo>
                    <a:pt x="458" y="40"/>
                    <a:pt x="456" y="40"/>
                    <a:pt x="454" y="42"/>
                  </a:cubicBezTo>
                  <a:cubicBezTo>
                    <a:pt x="452" y="43"/>
                    <a:pt x="450" y="44"/>
                    <a:pt x="449" y="47"/>
                  </a:cubicBezTo>
                  <a:cubicBezTo>
                    <a:pt x="448" y="49"/>
                    <a:pt x="447" y="51"/>
                    <a:pt x="447" y="53"/>
                  </a:cubicBezTo>
                  <a:cubicBezTo>
                    <a:pt x="446" y="56"/>
                    <a:pt x="446" y="59"/>
                    <a:pt x="446" y="61"/>
                  </a:cubicBezTo>
                  <a:cubicBezTo>
                    <a:pt x="446" y="64"/>
                    <a:pt x="446" y="67"/>
                    <a:pt x="447" y="70"/>
                  </a:cubicBezTo>
                  <a:cubicBezTo>
                    <a:pt x="447" y="72"/>
                    <a:pt x="448" y="75"/>
                    <a:pt x="449" y="77"/>
                  </a:cubicBezTo>
                  <a:cubicBezTo>
                    <a:pt x="450" y="79"/>
                    <a:pt x="451" y="81"/>
                    <a:pt x="453" y="82"/>
                  </a:cubicBezTo>
                  <a:cubicBezTo>
                    <a:pt x="455" y="83"/>
                    <a:pt x="457" y="84"/>
                    <a:pt x="460" y="84"/>
                  </a:cubicBezTo>
                  <a:cubicBezTo>
                    <a:pt x="461" y="84"/>
                    <a:pt x="463" y="84"/>
                    <a:pt x="464" y="83"/>
                  </a:cubicBezTo>
                  <a:cubicBezTo>
                    <a:pt x="465" y="83"/>
                    <a:pt x="467" y="82"/>
                    <a:pt x="468" y="81"/>
                  </a:cubicBezTo>
                  <a:cubicBezTo>
                    <a:pt x="469" y="81"/>
                    <a:pt x="471" y="79"/>
                    <a:pt x="472" y="78"/>
                  </a:cubicBezTo>
                  <a:cubicBezTo>
                    <a:pt x="474" y="77"/>
                    <a:pt x="475" y="75"/>
                    <a:pt x="477" y="73"/>
                  </a:cubicBezTo>
                  <a:lnTo>
                    <a:pt x="477" y="50"/>
                  </a:lnTo>
                  <a:close/>
                  <a:moveTo>
                    <a:pt x="513" y="90"/>
                  </a:moveTo>
                  <a:cubicBezTo>
                    <a:pt x="513" y="90"/>
                    <a:pt x="513" y="90"/>
                    <a:pt x="513" y="91"/>
                  </a:cubicBezTo>
                  <a:cubicBezTo>
                    <a:pt x="513" y="91"/>
                    <a:pt x="513" y="91"/>
                    <a:pt x="512" y="91"/>
                  </a:cubicBezTo>
                  <a:cubicBezTo>
                    <a:pt x="512" y="91"/>
                    <a:pt x="511" y="92"/>
                    <a:pt x="511" y="92"/>
                  </a:cubicBezTo>
                  <a:cubicBezTo>
                    <a:pt x="510" y="92"/>
                    <a:pt x="509" y="92"/>
                    <a:pt x="508" y="92"/>
                  </a:cubicBezTo>
                  <a:cubicBezTo>
                    <a:pt x="507" y="92"/>
                    <a:pt x="506" y="92"/>
                    <a:pt x="506" y="92"/>
                  </a:cubicBezTo>
                  <a:cubicBezTo>
                    <a:pt x="505" y="92"/>
                    <a:pt x="504" y="91"/>
                    <a:pt x="504" y="91"/>
                  </a:cubicBezTo>
                  <a:cubicBezTo>
                    <a:pt x="504" y="91"/>
                    <a:pt x="503" y="91"/>
                    <a:pt x="503" y="91"/>
                  </a:cubicBezTo>
                  <a:cubicBezTo>
                    <a:pt x="503" y="90"/>
                    <a:pt x="503" y="90"/>
                    <a:pt x="503" y="90"/>
                  </a:cubicBezTo>
                  <a:lnTo>
                    <a:pt x="503" y="34"/>
                  </a:lnTo>
                  <a:cubicBezTo>
                    <a:pt x="503" y="33"/>
                    <a:pt x="503" y="33"/>
                    <a:pt x="503" y="33"/>
                  </a:cubicBezTo>
                  <a:cubicBezTo>
                    <a:pt x="503" y="33"/>
                    <a:pt x="504" y="32"/>
                    <a:pt x="504" y="32"/>
                  </a:cubicBezTo>
                  <a:cubicBezTo>
                    <a:pt x="504" y="32"/>
                    <a:pt x="505" y="32"/>
                    <a:pt x="506" y="32"/>
                  </a:cubicBezTo>
                  <a:cubicBezTo>
                    <a:pt x="506" y="32"/>
                    <a:pt x="507" y="32"/>
                    <a:pt x="508" y="32"/>
                  </a:cubicBezTo>
                  <a:cubicBezTo>
                    <a:pt x="509" y="32"/>
                    <a:pt x="510" y="32"/>
                    <a:pt x="511" y="32"/>
                  </a:cubicBezTo>
                  <a:cubicBezTo>
                    <a:pt x="511" y="32"/>
                    <a:pt x="512" y="32"/>
                    <a:pt x="512" y="32"/>
                  </a:cubicBezTo>
                  <a:cubicBezTo>
                    <a:pt x="513" y="32"/>
                    <a:pt x="513" y="33"/>
                    <a:pt x="513" y="33"/>
                  </a:cubicBezTo>
                  <a:cubicBezTo>
                    <a:pt x="513" y="33"/>
                    <a:pt x="513" y="33"/>
                    <a:pt x="513" y="34"/>
                  </a:cubicBezTo>
                  <a:lnTo>
                    <a:pt x="513" y="90"/>
                  </a:lnTo>
                  <a:close/>
                  <a:moveTo>
                    <a:pt x="514" y="15"/>
                  </a:moveTo>
                  <a:cubicBezTo>
                    <a:pt x="514" y="17"/>
                    <a:pt x="514" y="19"/>
                    <a:pt x="513" y="20"/>
                  </a:cubicBezTo>
                  <a:cubicBezTo>
                    <a:pt x="512" y="20"/>
                    <a:pt x="510" y="21"/>
                    <a:pt x="508" y="21"/>
                  </a:cubicBezTo>
                  <a:cubicBezTo>
                    <a:pt x="506" y="21"/>
                    <a:pt x="504" y="20"/>
                    <a:pt x="503" y="20"/>
                  </a:cubicBezTo>
                  <a:cubicBezTo>
                    <a:pt x="502" y="19"/>
                    <a:pt x="502" y="17"/>
                    <a:pt x="502" y="15"/>
                  </a:cubicBezTo>
                  <a:cubicBezTo>
                    <a:pt x="502" y="12"/>
                    <a:pt x="502" y="11"/>
                    <a:pt x="503" y="10"/>
                  </a:cubicBezTo>
                  <a:cubicBezTo>
                    <a:pt x="504" y="9"/>
                    <a:pt x="506" y="9"/>
                    <a:pt x="508" y="9"/>
                  </a:cubicBezTo>
                  <a:cubicBezTo>
                    <a:pt x="511" y="9"/>
                    <a:pt x="512" y="9"/>
                    <a:pt x="513" y="10"/>
                  </a:cubicBezTo>
                  <a:cubicBezTo>
                    <a:pt x="514" y="11"/>
                    <a:pt x="514" y="12"/>
                    <a:pt x="514" y="15"/>
                  </a:cubicBezTo>
                  <a:close/>
                  <a:moveTo>
                    <a:pt x="566" y="11"/>
                  </a:moveTo>
                  <a:cubicBezTo>
                    <a:pt x="566" y="11"/>
                    <a:pt x="566" y="12"/>
                    <a:pt x="566" y="12"/>
                  </a:cubicBezTo>
                  <a:cubicBezTo>
                    <a:pt x="566" y="13"/>
                    <a:pt x="565" y="13"/>
                    <a:pt x="565" y="14"/>
                  </a:cubicBezTo>
                  <a:cubicBezTo>
                    <a:pt x="565" y="14"/>
                    <a:pt x="565" y="14"/>
                    <a:pt x="565" y="14"/>
                  </a:cubicBezTo>
                  <a:cubicBezTo>
                    <a:pt x="565" y="14"/>
                    <a:pt x="565" y="14"/>
                    <a:pt x="564" y="14"/>
                  </a:cubicBezTo>
                  <a:cubicBezTo>
                    <a:pt x="564" y="14"/>
                    <a:pt x="564" y="14"/>
                    <a:pt x="563" y="14"/>
                  </a:cubicBezTo>
                  <a:cubicBezTo>
                    <a:pt x="563" y="14"/>
                    <a:pt x="562" y="14"/>
                    <a:pt x="562" y="13"/>
                  </a:cubicBezTo>
                  <a:cubicBezTo>
                    <a:pt x="561" y="13"/>
                    <a:pt x="560" y="13"/>
                    <a:pt x="559" y="13"/>
                  </a:cubicBezTo>
                  <a:cubicBezTo>
                    <a:pt x="559" y="13"/>
                    <a:pt x="558" y="13"/>
                    <a:pt x="556" y="13"/>
                  </a:cubicBezTo>
                  <a:cubicBezTo>
                    <a:pt x="555" y="13"/>
                    <a:pt x="554" y="13"/>
                    <a:pt x="552" y="13"/>
                  </a:cubicBezTo>
                  <a:cubicBezTo>
                    <a:pt x="551" y="14"/>
                    <a:pt x="551" y="15"/>
                    <a:pt x="550" y="16"/>
                  </a:cubicBezTo>
                  <a:cubicBezTo>
                    <a:pt x="549" y="17"/>
                    <a:pt x="549" y="18"/>
                    <a:pt x="548" y="20"/>
                  </a:cubicBezTo>
                  <a:cubicBezTo>
                    <a:pt x="548" y="21"/>
                    <a:pt x="548" y="23"/>
                    <a:pt x="548" y="26"/>
                  </a:cubicBezTo>
                  <a:lnTo>
                    <a:pt x="548" y="32"/>
                  </a:lnTo>
                  <a:lnTo>
                    <a:pt x="561" y="32"/>
                  </a:lnTo>
                  <a:cubicBezTo>
                    <a:pt x="561" y="32"/>
                    <a:pt x="561" y="32"/>
                    <a:pt x="561" y="32"/>
                  </a:cubicBezTo>
                  <a:cubicBezTo>
                    <a:pt x="562" y="32"/>
                    <a:pt x="562" y="33"/>
                    <a:pt x="562" y="33"/>
                  </a:cubicBezTo>
                  <a:cubicBezTo>
                    <a:pt x="562" y="33"/>
                    <a:pt x="562" y="34"/>
                    <a:pt x="562" y="34"/>
                  </a:cubicBezTo>
                  <a:cubicBezTo>
                    <a:pt x="563" y="35"/>
                    <a:pt x="563" y="36"/>
                    <a:pt x="563" y="36"/>
                  </a:cubicBezTo>
                  <a:cubicBezTo>
                    <a:pt x="563" y="38"/>
                    <a:pt x="562" y="39"/>
                    <a:pt x="562" y="40"/>
                  </a:cubicBezTo>
                  <a:cubicBezTo>
                    <a:pt x="562" y="40"/>
                    <a:pt x="561" y="41"/>
                    <a:pt x="561" y="41"/>
                  </a:cubicBezTo>
                  <a:lnTo>
                    <a:pt x="548" y="41"/>
                  </a:lnTo>
                  <a:lnTo>
                    <a:pt x="548" y="90"/>
                  </a:lnTo>
                  <a:cubicBezTo>
                    <a:pt x="548" y="90"/>
                    <a:pt x="548" y="90"/>
                    <a:pt x="548" y="91"/>
                  </a:cubicBezTo>
                  <a:cubicBezTo>
                    <a:pt x="548" y="91"/>
                    <a:pt x="547" y="91"/>
                    <a:pt x="547" y="91"/>
                  </a:cubicBezTo>
                  <a:cubicBezTo>
                    <a:pt x="546" y="91"/>
                    <a:pt x="546" y="92"/>
                    <a:pt x="545" y="92"/>
                  </a:cubicBezTo>
                  <a:cubicBezTo>
                    <a:pt x="545" y="92"/>
                    <a:pt x="544" y="92"/>
                    <a:pt x="543" y="92"/>
                  </a:cubicBezTo>
                  <a:cubicBezTo>
                    <a:pt x="542" y="92"/>
                    <a:pt x="541" y="92"/>
                    <a:pt x="540" y="92"/>
                  </a:cubicBezTo>
                  <a:cubicBezTo>
                    <a:pt x="540" y="92"/>
                    <a:pt x="539" y="91"/>
                    <a:pt x="539" y="91"/>
                  </a:cubicBezTo>
                  <a:cubicBezTo>
                    <a:pt x="538" y="91"/>
                    <a:pt x="538" y="91"/>
                    <a:pt x="538" y="91"/>
                  </a:cubicBezTo>
                  <a:cubicBezTo>
                    <a:pt x="538" y="90"/>
                    <a:pt x="538" y="90"/>
                    <a:pt x="538" y="90"/>
                  </a:cubicBezTo>
                  <a:lnTo>
                    <a:pt x="538" y="41"/>
                  </a:lnTo>
                  <a:lnTo>
                    <a:pt x="530" y="41"/>
                  </a:lnTo>
                  <a:cubicBezTo>
                    <a:pt x="529" y="41"/>
                    <a:pt x="528" y="40"/>
                    <a:pt x="528" y="40"/>
                  </a:cubicBezTo>
                  <a:cubicBezTo>
                    <a:pt x="528" y="39"/>
                    <a:pt x="528" y="38"/>
                    <a:pt x="528" y="36"/>
                  </a:cubicBezTo>
                  <a:cubicBezTo>
                    <a:pt x="528" y="36"/>
                    <a:pt x="528" y="35"/>
                    <a:pt x="528" y="34"/>
                  </a:cubicBezTo>
                  <a:cubicBezTo>
                    <a:pt x="528" y="34"/>
                    <a:pt x="528" y="33"/>
                    <a:pt x="528" y="33"/>
                  </a:cubicBezTo>
                  <a:cubicBezTo>
                    <a:pt x="528" y="33"/>
                    <a:pt x="529" y="32"/>
                    <a:pt x="529" y="32"/>
                  </a:cubicBezTo>
                  <a:cubicBezTo>
                    <a:pt x="529" y="32"/>
                    <a:pt x="529" y="32"/>
                    <a:pt x="530" y="32"/>
                  </a:cubicBezTo>
                  <a:lnTo>
                    <a:pt x="538" y="32"/>
                  </a:lnTo>
                  <a:lnTo>
                    <a:pt x="538" y="26"/>
                  </a:lnTo>
                  <a:cubicBezTo>
                    <a:pt x="538" y="22"/>
                    <a:pt x="538" y="19"/>
                    <a:pt x="539" y="16"/>
                  </a:cubicBezTo>
                  <a:cubicBezTo>
                    <a:pt x="539" y="13"/>
                    <a:pt x="541" y="11"/>
                    <a:pt x="542" y="9"/>
                  </a:cubicBezTo>
                  <a:cubicBezTo>
                    <a:pt x="544" y="7"/>
                    <a:pt x="545" y="6"/>
                    <a:pt x="548" y="5"/>
                  </a:cubicBezTo>
                  <a:cubicBezTo>
                    <a:pt x="550" y="4"/>
                    <a:pt x="553" y="4"/>
                    <a:pt x="556" y="4"/>
                  </a:cubicBezTo>
                  <a:cubicBezTo>
                    <a:pt x="557" y="4"/>
                    <a:pt x="559" y="4"/>
                    <a:pt x="560" y="4"/>
                  </a:cubicBezTo>
                  <a:cubicBezTo>
                    <a:pt x="561" y="5"/>
                    <a:pt x="562" y="5"/>
                    <a:pt x="563" y="5"/>
                  </a:cubicBezTo>
                  <a:cubicBezTo>
                    <a:pt x="564" y="6"/>
                    <a:pt x="564" y="6"/>
                    <a:pt x="565" y="6"/>
                  </a:cubicBezTo>
                  <a:cubicBezTo>
                    <a:pt x="565" y="6"/>
                    <a:pt x="565" y="7"/>
                    <a:pt x="565" y="7"/>
                  </a:cubicBezTo>
                  <a:cubicBezTo>
                    <a:pt x="565" y="7"/>
                    <a:pt x="566" y="8"/>
                    <a:pt x="566" y="8"/>
                  </a:cubicBezTo>
                  <a:cubicBezTo>
                    <a:pt x="566" y="9"/>
                    <a:pt x="566" y="10"/>
                    <a:pt x="566" y="11"/>
                  </a:cubicBezTo>
                  <a:close/>
                  <a:moveTo>
                    <a:pt x="609" y="91"/>
                  </a:moveTo>
                  <a:lnTo>
                    <a:pt x="601" y="112"/>
                  </a:lnTo>
                  <a:cubicBezTo>
                    <a:pt x="601" y="113"/>
                    <a:pt x="600" y="113"/>
                    <a:pt x="599" y="114"/>
                  </a:cubicBezTo>
                  <a:cubicBezTo>
                    <a:pt x="598" y="114"/>
                    <a:pt x="597" y="114"/>
                    <a:pt x="594" y="114"/>
                  </a:cubicBezTo>
                  <a:cubicBezTo>
                    <a:pt x="593" y="114"/>
                    <a:pt x="593" y="114"/>
                    <a:pt x="592" y="114"/>
                  </a:cubicBezTo>
                  <a:cubicBezTo>
                    <a:pt x="591" y="114"/>
                    <a:pt x="591" y="114"/>
                    <a:pt x="590" y="114"/>
                  </a:cubicBezTo>
                  <a:cubicBezTo>
                    <a:pt x="590" y="113"/>
                    <a:pt x="590" y="113"/>
                    <a:pt x="590" y="113"/>
                  </a:cubicBezTo>
                  <a:cubicBezTo>
                    <a:pt x="590" y="112"/>
                    <a:pt x="590" y="112"/>
                    <a:pt x="590" y="111"/>
                  </a:cubicBezTo>
                  <a:lnTo>
                    <a:pt x="598" y="91"/>
                  </a:lnTo>
                  <a:cubicBezTo>
                    <a:pt x="597" y="91"/>
                    <a:pt x="597" y="91"/>
                    <a:pt x="597" y="91"/>
                  </a:cubicBezTo>
                  <a:cubicBezTo>
                    <a:pt x="596" y="90"/>
                    <a:pt x="596" y="90"/>
                    <a:pt x="596" y="89"/>
                  </a:cubicBezTo>
                  <a:lnTo>
                    <a:pt x="576" y="36"/>
                  </a:lnTo>
                  <a:cubicBezTo>
                    <a:pt x="576" y="35"/>
                    <a:pt x="575" y="34"/>
                    <a:pt x="575" y="34"/>
                  </a:cubicBezTo>
                  <a:cubicBezTo>
                    <a:pt x="575" y="33"/>
                    <a:pt x="576" y="33"/>
                    <a:pt x="576" y="32"/>
                  </a:cubicBezTo>
                  <a:cubicBezTo>
                    <a:pt x="576" y="32"/>
                    <a:pt x="577" y="32"/>
                    <a:pt x="578" y="32"/>
                  </a:cubicBezTo>
                  <a:cubicBezTo>
                    <a:pt x="578" y="32"/>
                    <a:pt x="579" y="32"/>
                    <a:pt x="581" y="32"/>
                  </a:cubicBezTo>
                  <a:cubicBezTo>
                    <a:pt x="582" y="32"/>
                    <a:pt x="583" y="32"/>
                    <a:pt x="584" y="32"/>
                  </a:cubicBezTo>
                  <a:cubicBezTo>
                    <a:pt x="584" y="32"/>
                    <a:pt x="585" y="32"/>
                    <a:pt x="585" y="32"/>
                  </a:cubicBezTo>
                  <a:cubicBezTo>
                    <a:pt x="586" y="32"/>
                    <a:pt x="586" y="33"/>
                    <a:pt x="586" y="33"/>
                  </a:cubicBezTo>
                  <a:cubicBezTo>
                    <a:pt x="586" y="33"/>
                    <a:pt x="587" y="34"/>
                    <a:pt x="587" y="34"/>
                  </a:cubicBezTo>
                  <a:lnTo>
                    <a:pt x="603" y="79"/>
                  </a:lnTo>
                  <a:lnTo>
                    <a:pt x="603" y="79"/>
                  </a:lnTo>
                  <a:lnTo>
                    <a:pt x="618" y="34"/>
                  </a:lnTo>
                  <a:cubicBezTo>
                    <a:pt x="619" y="33"/>
                    <a:pt x="619" y="33"/>
                    <a:pt x="619" y="32"/>
                  </a:cubicBezTo>
                  <a:cubicBezTo>
                    <a:pt x="620" y="32"/>
                    <a:pt x="620" y="32"/>
                    <a:pt x="621" y="32"/>
                  </a:cubicBezTo>
                  <a:cubicBezTo>
                    <a:pt x="622" y="32"/>
                    <a:pt x="623" y="32"/>
                    <a:pt x="624" y="32"/>
                  </a:cubicBezTo>
                  <a:cubicBezTo>
                    <a:pt x="625" y="32"/>
                    <a:pt x="626" y="32"/>
                    <a:pt x="627" y="32"/>
                  </a:cubicBezTo>
                  <a:cubicBezTo>
                    <a:pt x="628" y="32"/>
                    <a:pt x="628" y="32"/>
                    <a:pt x="629" y="32"/>
                  </a:cubicBezTo>
                  <a:cubicBezTo>
                    <a:pt x="629" y="33"/>
                    <a:pt x="629" y="33"/>
                    <a:pt x="629" y="34"/>
                  </a:cubicBezTo>
                  <a:cubicBezTo>
                    <a:pt x="629" y="34"/>
                    <a:pt x="629" y="35"/>
                    <a:pt x="629" y="36"/>
                  </a:cubicBezTo>
                  <a:lnTo>
                    <a:pt x="609" y="91"/>
                  </a:lnTo>
                  <a:close/>
                  <a:moveTo>
                    <a:pt x="714" y="34"/>
                  </a:moveTo>
                  <a:cubicBezTo>
                    <a:pt x="714" y="38"/>
                    <a:pt x="713" y="42"/>
                    <a:pt x="712" y="45"/>
                  </a:cubicBezTo>
                  <a:cubicBezTo>
                    <a:pt x="710" y="48"/>
                    <a:pt x="709" y="51"/>
                    <a:pt x="706" y="54"/>
                  </a:cubicBezTo>
                  <a:cubicBezTo>
                    <a:pt x="704" y="56"/>
                    <a:pt x="701" y="58"/>
                    <a:pt x="697" y="59"/>
                  </a:cubicBezTo>
                  <a:cubicBezTo>
                    <a:pt x="693" y="60"/>
                    <a:pt x="689" y="61"/>
                    <a:pt x="684" y="61"/>
                  </a:cubicBezTo>
                  <a:lnTo>
                    <a:pt x="675" y="61"/>
                  </a:lnTo>
                  <a:lnTo>
                    <a:pt x="675" y="90"/>
                  </a:lnTo>
                  <a:cubicBezTo>
                    <a:pt x="675" y="90"/>
                    <a:pt x="675" y="90"/>
                    <a:pt x="675" y="91"/>
                  </a:cubicBezTo>
                  <a:cubicBezTo>
                    <a:pt x="674" y="91"/>
                    <a:pt x="674" y="91"/>
                    <a:pt x="674" y="91"/>
                  </a:cubicBezTo>
                  <a:cubicBezTo>
                    <a:pt x="673" y="91"/>
                    <a:pt x="673" y="92"/>
                    <a:pt x="672" y="92"/>
                  </a:cubicBezTo>
                  <a:cubicBezTo>
                    <a:pt x="671" y="92"/>
                    <a:pt x="671" y="92"/>
                    <a:pt x="669" y="92"/>
                  </a:cubicBezTo>
                  <a:cubicBezTo>
                    <a:pt x="668" y="92"/>
                    <a:pt x="668" y="92"/>
                    <a:pt x="667" y="92"/>
                  </a:cubicBezTo>
                  <a:cubicBezTo>
                    <a:pt x="666" y="92"/>
                    <a:pt x="666" y="91"/>
                    <a:pt x="665" y="91"/>
                  </a:cubicBezTo>
                  <a:cubicBezTo>
                    <a:pt x="665" y="91"/>
                    <a:pt x="665" y="91"/>
                    <a:pt x="664" y="91"/>
                  </a:cubicBezTo>
                  <a:cubicBezTo>
                    <a:pt x="664" y="90"/>
                    <a:pt x="664" y="90"/>
                    <a:pt x="664" y="90"/>
                  </a:cubicBezTo>
                  <a:lnTo>
                    <a:pt x="664" y="15"/>
                  </a:lnTo>
                  <a:cubicBezTo>
                    <a:pt x="664" y="14"/>
                    <a:pt x="665" y="12"/>
                    <a:pt x="665" y="12"/>
                  </a:cubicBezTo>
                  <a:cubicBezTo>
                    <a:pt x="666" y="11"/>
                    <a:pt x="667" y="11"/>
                    <a:pt x="668" y="11"/>
                  </a:cubicBezTo>
                  <a:lnTo>
                    <a:pt x="686" y="11"/>
                  </a:lnTo>
                  <a:cubicBezTo>
                    <a:pt x="687" y="11"/>
                    <a:pt x="689" y="11"/>
                    <a:pt x="691" y="11"/>
                  </a:cubicBezTo>
                  <a:cubicBezTo>
                    <a:pt x="692" y="11"/>
                    <a:pt x="694" y="11"/>
                    <a:pt x="696" y="12"/>
                  </a:cubicBezTo>
                  <a:cubicBezTo>
                    <a:pt x="699" y="12"/>
                    <a:pt x="701" y="13"/>
                    <a:pt x="703" y="14"/>
                  </a:cubicBezTo>
                  <a:cubicBezTo>
                    <a:pt x="705" y="16"/>
                    <a:pt x="707" y="17"/>
                    <a:pt x="709" y="19"/>
                  </a:cubicBezTo>
                  <a:cubicBezTo>
                    <a:pt x="710" y="21"/>
                    <a:pt x="712" y="23"/>
                    <a:pt x="713" y="26"/>
                  </a:cubicBezTo>
                  <a:cubicBezTo>
                    <a:pt x="713" y="28"/>
                    <a:pt x="714" y="31"/>
                    <a:pt x="714" y="34"/>
                  </a:cubicBezTo>
                  <a:close/>
                  <a:moveTo>
                    <a:pt x="702" y="35"/>
                  </a:moveTo>
                  <a:cubicBezTo>
                    <a:pt x="702" y="32"/>
                    <a:pt x="702" y="29"/>
                    <a:pt x="701" y="27"/>
                  </a:cubicBezTo>
                  <a:cubicBezTo>
                    <a:pt x="699" y="25"/>
                    <a:pt x="698" y="23"/>
                    <a:pt x="696" y="22"/>
                  </a:cubicBezTo>
                  <a:cubicBezTo>
                    <a:pt x="694" y="21"/>
                    <a:pt x="692" y="20"/>
                    <a:pt x="690" y="20"/>
                  </a:cubicBezTo>
                  <a:cubicBezTo>
                    <a:pt x="689" y="20"/>
                    <a:pt x="687" y="19"/>
                    <a:pt x="685" y="19"/>
                  </a:cubicBezTo>
                  <a:lnTo>
                    <a:pt x="675" y="19"/>
                  </a:lnTo>
                  <a:lnTo>
                    <a:pt x="675" y="52"/>
                  </a:lnTo>
                  <a:lnTo>
                    <a:pt x="685" y="52"/>
                  </a:lnTo>
                  <a:cubicBezTo>
                    <a:pt x="688" y="52"/>
                    <a:pt x="690" y="51"/>
                    <a:pt x="693" y="51"/>
                  </a:cubicBezTo>
                  <a:cubicBezTo>
                    <a:pt x="695" y="50"/>
                    <a:pt x="697" y="49"/>
                    <a:pt x="698" y="47"/>
                  </a:cubicBezTo>
                  <a:cubicBezTo>
                    <a:pt x="699" y="46"/>
                    <a:pt x="701" y="44"/>
                    <a:pt x="701" y="42"/>
                  </a:cubicBezTo>
                  <a:cubicBezTo>
                    <a:pt x="702" y="40"/>
                    <a:pt x="702" y="38"/>
                    <a:pt x="702" y="35"/>
                  </a:cubicBezTo>
                  <a:close/>
                  <a:moveTo>
                    <a:pt x="760" y="37"/>
                  </a:moveTo>
                  <a:cubicBezTo>
                    <a:pt x="760" y="38"/>
                    <a:pt x="760" y="39"/>
                    <a:pt x="760" y="40"/>
                  </a:cubicBezTo>
                  <a:cubicBezTo>
                    <a:pt x="760" y="40"/>
                    <a:pt x="760" y="41"/>
                    <a:pt x="759" y="41"/>
                  </a:cubicBezTo>
                  <a:cubicBezTo>
                    <a:pt x="759" y="41"/>
                    <a:pt x="759" y="42"/>
                    <a:pt x="759" y="42"/>
                  </a:cubicBezTo>
                  <a:cubicBezTo>
                    <a:pt x="759" y="42"/>
                    <a:pt x="759" y="42"/>
                    <a:pt x="758" y="42"/>
                  </a:cubicBezTo>
                  <a:cubicBezTo>
                    <a:pt x="758" y="42"/>
                    <a:pt x="757" y="42"/>
                    <a:pt x="757" y="42"/>
                  </a:cubicBezTo>
                  <a:cubicBezTo>
                    <a:pt x="757" y="42"/>
                    <a:pt x="756" y="42"/>
                    <a:pt x="755" y="41"/>
                  </a:cubicBezTo>
                  <a:cubicBezTo>
                    <a:pt x="755" y="41"/>
                    <a:pt x="754" y="41"/>
                    <a:pt x="753" y="41"/>
                  </a:cubicBezTo>
                  <a:cubicBezTo>
                    <a:pt x="753" y="41"/>
                    <a:pt x="752" y="41"/>
                    <a:pt x="751" y="41"/>
                  </a:cubicBezTo>
                  <a:cubicBezTo>
                    <a:pt x="750" y="41"/>
                    <a:pt x="749" y="41"/>
                    <a:pt x="748" y="41"/>
                  </a:cubicBezTo>
                  <a:cubicBezTo>
                    <a:pt x="747" y="42"/>
                    <a:pt x="746" y="42"/>
                    <a:pt x="745" y="43"/>
                  </a:cubicBezTo>
                  <a:cubicBezTo>
                    <a:pt x="744" y="44"/>
                    <a:pt x="742" y="45"/>
                    <a:pt x="741" y="47"/>
                  </a:cubicBezTo>
                  <a:cubicBezTo>
                    <a:pt x="740" y="49"/>
                    <a:pt x="739" y="51"/>
                    <a:pt x="737" y="53"/>
                  </a:cubicBezTo>
                  <a:lnTo>
                    <a:pt x="737" y="90"/>
                  </a:lnTo>
                  <a:cubicBezTo>
                    <a:pt x="737" y="90"/>
                    <a:pt x="737" y="90"/>
                    <a:pt x="737" y="91"/>
                  </a:cubicBezTo>
                  <a:cubicBezTo>
                    <a:pt x="737" y="91"/>
                    <a:pt x="737" y="91"/>
                    <a:pt x="736" y="91"/>
                  </a:cubicBezTo>
                  <a:cubicBezTo>
                    <a:pt x="736" y="91"/>
                    <a:pt x="735" y="92"/>
                    <a:pt x="735" y="92"/>
                  </a:cubicBezTo>
                  <a:cubicBezTo>
                    <a:pt x="734" y="92"/>
                    <a:pt x="733" y="92"/>
                    <a:pt x="732" y="92"/>
                  </a:cubicBezTo>
                  <a:cubicBezTo>
                    <a:pt x="731" y="92"/>
                    <a:pt x="730" y="92"/>
                    <a:pt x="730" y="92"/>
                  </a:cubicBezTo>
                  <a:cubicBezTo>
                    <a:pt x="729" y="92"/>
                    <a:pt x="728" y="91"/>
                    <a:pt x="728" y="91"/>
                  </a:cubicBezTo>
                  <a:cubicBezTo>
                    <a:pt x="728" y="91"/>
                    <a:pt x="727" y="91"/>
                    <a:pt x="727" y="91"/>
                  </a:cubicBezTo>
                  <a:cubicBezTo>
                    <a:pt x="727" y="90"/>
                    <a:pt x="727" y="90"/>
                    <a:pt x="727" y="90"/>
                  </a:cubicBezTo>
                  <a:lnTo>
                    <a:pt x="727" y="34"/>
                  </a:lnTo>
                  <a:cubicBezTo>
                    <a:pt x="727" y="33"/>
                    <a:pt x="727" y="33"/>
                    <a:pt x="727" y="33"/>
                  </a:cubicBezTo>
                  <a:cubicBezTo>
                    <a:pt x="727" y="33"/>
                    <a:pt x="727" y="32"/>
                    <a:pt x="728" y="32"/>
                  </a:cubicBezTo>
                  <a:cubicBezTo>
                    <a:pt x="728" y="32"/>
                    <a:pt x="729" y="32"/>
                    <a:pt x="729" y="32"/>
                  </a:cubicBezTo>
                  <a:cubicBezTo>
                    <a:pt x="730" y="32"/>
                    <a:pt x="731" y="32"/>
                    <a:pt x="732" y="32"/>
                  </a:cubicBezTo>
                  <a:cubicBezTo>
                    <a:pt x="733" y="32"/>
                    <a:pt x="733" y="32"/>
                    <a:pt x="734" y="32"/>
                  </a:cubicBezTo>
                  <a:cubicBezTo>
                    <a:pt x="734" y="32"/>
                    <a:pt x="735" y="32"/>
                    <a:pt x="735" y="32"/>
                  </a:cubicBezTo>
                  <a:cubicBezTo>
                    <a:pt x="736" y="32"/>
                    <a:pt x="736" y="33"/>
                    <a:pt x="736" y="33"/>
                  </a:cubicBezTo>
                  <a:cubicBezTo>
                    <a:pt x="736" y="33"/>
                    <a:pt x="736" y="33"/>
                    <a:pt x="736" y="34"/>
                  </a:cubicBezTo>
                  <a:lnTo>
                    <a:pt x="736" y="42"/>
                  </a:lnTo>
                  <a:cubicBezTo>
                    <a:pt x="738" y="40"/>
                    <a:pt x="739" y="38"/>
                    <a:pt x="741" y="36"/>
                  </a:cubicBezTo>
                  <a:cubicBezTo>
                    <a:pt x="742" y="35"/>
                    <a:pt x="743" y="34"/>
                    <a:pt x="744" y="33"/>
                  </a:cubicBezTo>
                  <a:cubicBezTo>
                    <a:pt x="746" y="32"/>
                    <a:pt x="747" y="32"/>
                    <a:pt x="748" y="31"/>
                  </a:cubicBezTo>
                  <a:cubicBezTo>
                    <a:pt x="749" y="31"/>
                    <a:pt x="750" y="31"/>
                    <a:pt x="752" y="31"/>
                  </a:cubicBezTo>
                  <a:cubicBezTo>
                    <a:pt x="752" y="31"/>
                    <a:pt x="753" y="31"/>
                    <a:pt x="753" y="31"/>
                  </a:cubicBezTo>
                  <a:cubicBezTo>
                    <a:pt x="754" y="31"/>
                    <a:pt x="755" y="31"/>
                    <a:pt x="756" y="31"/>
                  </a:cubicBezTo>
                  <a:cubicBezTo>
                    <a:pt x="756" y="31"/>
                    <a:pt x="757" y="32"/>
                    <a:pt x="758" y="32"/>
                  </a:cubicBezTo>
                  <a:cubicBezTo>
                    <a:pt x="758" y="32"/>
                    <a:pt x="759" y="32"/>
                    <a:pt x="759" y="32"/>
                  </a:cubicBezTo>
                  <a:cubicBezTo>
                    <a:pt x="759" y="33"/>
                    <a:pt x="759" y="33"/>
                    <a:pt x="759" y="33"/>
                  </a:cubicBezTo>
                  <a:cubicBezTo>
                    <a:pt x="759" y="33"/>
                    <a:pt x="760" y="33"/>
                    <a:pt x="760" y="34"/>
                  </a:cubicBezTo>
                  <a:cubicBezTo>
                    <a:pt x="760" y="34"/>
                    <a:pt x="760" y="34"/>
                    <a:pt x="760" y="35"/>
                  </a:cubicBezTo>
                  <a:cubicBezTo>
                    <a:pt x="760" y="36"/>
                    <a:pt x="760" y="36"/>
                    <a:pt x="760" y="37"/>
                  </a:cubicBezTo>
                  <a:close/>
                  <a:moveTo>
                    <a:pt x="827" y="61"/>
                  </a:moveTo>
                  <a:cubicBezTo>
                    <a:pt x="827" y="66"/>
                    <a:pt x="827" y="70"/>
                    <a:pt x="825" y="74"/>
                  </a:cubicBezTo>
                  <a:cubicBezTo>
                    <a:pt x="824" y="78"/>
                    <a:pt x="822" y="81"/>
                    <a:pt x="820" y="84"/>
                  </a:cubicBezTo>
                  <a:cubicBezTo>
                    <a:pt x="818" y="87"/>
                    <a:pt x="815" y="89"/>
                    <a:pt x="811" y="90"/>
                  </a:cubicBezTo>
                  <a:cubicBezTo>
                    <a:pt x="807" y="92"/>
                    <a:pt x="803" y="93"/>
                    <a:pt x="798" y="93"/>
                  </a:cubicBezTo>
                  <a:cubicBezTo>
                    <a:pt x="794" y="93"/>
                    <a:pt x="790" y="92"/>
                    <a:pt x="786" y="91"/>
                  </a:cubicBezTo>
                  <a:cubicBezTo>
                    <a:pt x="783" y="89"/>
                    <a:pt x="780" y="87"/>
                    <a:pt x="778" y="85"/>
                  </a:cubicBezTo>
                  <a:cubicBezTo>
                    <a:pt x="775" y="82"/>
                    <a:pt x="774" y="79"/>
                    <a:pt x="773" y="75"/>
                  </a:cubicBezTo>
                  <a:cubicBezTo>
                    <a:pt x="772" y="71"/>
                    <a:pt x="771" y="67"/>
                    <a:pt x="771" y="62"/>
                  </a:cubicBezTo>
                  <a:cubicBezTo>
                    <a:pt x="771" y="58"/>
                    <a:pt x="772" y="53"/>
                    <a:pt x="773" y="50"/>
                  </a:cubicBezTo>
                  <a:cubicBezTo>
                    <a:pt x="774" y="46"/>
                    <a:pt x="776" y="42"/>
                    <a:pt x="778" y="40"/>
                  </a:cubicBezTo>
                  <a:cubicBezTo>
                    <a:pt x="781" y="37"/>
                    <a:pt x="784" y="35"/>
                    <a:pt x="787" y="33"/>
                  </a:cubicBezTo>
                  <a:cubicBezTo>
                    <a:pt x="791" y="32"/>
                    <a:pt x="795" y="31"/>
                    <a:pt x="800" y="31"/>
                  </a:cubicBezTo>
                  <a:cubicBezTo>
                    <a:pt x="804" y="31"/>
                    <a:pt x="808" y="32"/>
                    <a:pt x="812" y="33"/>
                  </a:cubicBezTo>
                  <a:cubicBezTo>
                    <a:pt x="815" y="34"/>
                    <a:pt x="818" y="36"/>
                    <a:pt x="820" y="39"/>
                  </a:cubicBezTo>
                  <a:cubicBezTo>
                    <a:pt x="823" y="42"/>
                    <a:pt x="824" y="45"/>
                    <a:pt x="826" y="48"/>
                  </a:cubicBezTo>
                  <a:cubicBezTo>
                    <a:pt x="827" y="52"/>
                    <a:pt x="827" y="56"/>
                    <a:pt x="827" y="61"/>
                  </a:cubicBezTo>
                  <a:close/>
                  <a:moveTo>
                    <a:pt x="817" y="62"/>
                  </a:moveTo>
                  <a:cubicBezTo>
                    <a:pt x="817" y="59"/>
                    <a:pt x="816" y="56"/>
                    <a:pt x="816" y="53"/>
                  </a:cubicBezTo>
                  <a:cubicBezTo>
                    <a:pt x="815" y="50"/>
                    <a:pt x="814" y="48"/>
                    <a:pt x="813" y="46"/>
                  </a:cubicBezTo>
                  <a:cubicBezTo>
                    <a:pt x="812" y="44"/>
                    <a:pt x="810" y="42"/>
                    <a:pt x="808" y="41"/>
                  </a:cubicBezTo>
                  <a:cubicBezTo>
                    <a:pt x="805" y="40"/>
                    <a:pt x="803" y="39"/>
                    <a:pt x="799" y="39"/>
                  </a:cubicBezTo>
                  <a:cubicBezTo>
                    <a:pt x="796" y="39"/>
                    <a:pt x="794" y="40"/>
                    <a:pt x="791" y="41"/>
                  </a:cubicBezTo>
                  <a:cubicBezTo>
                    <a:pt x="789" y="42"/>
                    <a:pt x="787" y="44"/>
                    <a:pt x="786" y="46"/>
                  </a:cubicBezTo>
                  <a:cubicBezTo>
                    <a:pt x="784" y="48"/>
                    <a:pt x="783" y="50"/>
                    <a:pt x="783" y="53"/>
                  </a:cubicBezTo>
                  <a:cubicBezTo>
                    <a:pt x="782" y="55"/>
                    <a:pt x="782" y="58"/>
                    <a:pt x="782" y="62"/>
                  </a:cubicBezTo>
                  <a:cubicBezTo>
                    <a:pt x="782" y="65"/>
                    <a:pt x="782" y="68"/>
                    <a:pt x="783" y="70"/>
                  </a:cubicBezTo>
                  <a:cubicBezTo>
                    <a:pt x="783" y="73"/>
                    <a:pt x="784" y="75"/>
                    <a:pt x="785" y="77"/>
                  </a:cubicBezTo>
                  <a:cubicBezTo>
                    <a:pt x="787" y="79"/>
                    <a:pt x="788" y="81"/>
                    <a:pt x="791" y="82"/>
                  </a:cubicBezTo>
                  <a:cubicBezTo>
                    <a:pt x="793" y="83"/>
                    <a:pt x="796" y="84"/>
                    <a:pt x="799" y="84"/>
                  </a:cubicBezTo>
                  <a:cubicBezTo>
                    <a:pt x="802" y="84"/>
                    <a:pt x="805" y="83"/>
                    <a:pt x="807" y="82"/>
                  </a:cubicBezTo>
                  <a:cubicBezTo>
                    <a:pt x="809" y="81"/>
                    <a:pt x="811" y="80"/>
                    <a:pt x="812" y="78"/>
                  </a:cubicBezTo>
                  <a:cubicBezTo>
                    <a:pt x="814" y="76"/>
                    <a:pt x="815" y="73"/>
                    <a:pt x="816" y="71"/>
                  </a:cubicBezTo>
                  <a:cubicBezTo>
                    <a:pt x="816" y="68"/>
                    <a:pt x="817" y="65"/>
                    <a:pt x="817" y="62"/>
                  </a:cubicBezTo>
                  <a:close/>
                  <a:moveTo>
                    <a:pt x="887" y="90"/>
                  </a:moveTo>
                  <a:cubicBezTo>
                    <a:pt x="887" y="90"/>
                    <a:pt x="887" y="91"/>
                    <a:pt x="887" y="91"/>
                  </a:cubicBezTo>
                  <a:cubicBezTo>
                    <a:pt x="887" y="91"/>
                    <a:pt x="886" y="91"/>
                    <a:pt x="886" y="91"/>
                  </a:cubicBezTo>
                  <a:cubicBezTo>
                    <a:pt x="886" y="91"/>
                    <a:pt x="885" y="92"/>
                    <a:pt x="885" y="92"/>
                  </a:cubicBezTo>
                  <a:cubicBezTo>
                    <a:pt x="884" y="92"/>
                    <a:pt x="883" y="92"/>
                    <a:pt x="883" y="92"/>
                  </a:cubicBezTo>
                  <a:cubicBezTo>
                    <a:pt x="882" y="92"/>
                    <a:pt x="881" y="92"/>
                    <a:pt x="880" y="92"/>
                  </a:cubicBezTo>
                  <a:cubicBezTo>
                    <a:pt x="880" y="92"/>
                    <a:pt x="879" y="91"/>
                    <a:pt x="879" y="91"/>
                  </a:cubicBezTo>
                  <a:cubicBezTo>
                    <a:pt x="879" y="91"/>
                    <a:pt x="878" y="91"/>
                    <a:pt x="878" y="91"/>
                  </a:cubicBezTo>
                  <a:cubicBezTo>
                    <a:pt x="878" y="91"/>
                    <a:pt x="878" y="90"/>
                    <a:pt x="878" y="90"/>
                  </a:cubicBezTo>
                  <a:lnTo>
                    <a:pt x="878" y="82"/>
                  </a:lnTo>
                  <a:cubicBezTo>
                    <a:pt x="875" y="86"/>
                    <a:pt x="872" y="88"/>
                    <a:pt x="869" y="90"/>
                  </a:cubicBezTo>
                  <a:cubicBezTo>
                    <a:pt x="866" y="92"/>
                    <a:pt x="862" y="93"/>
                    <a:pt x="858" y="93"/>
                  </a:cubicBezTo>
                  <a:cubicBezTo>
                    <a:pt x="854" y="93"/>
                    <a:pt x="851" y="92"/>
                    <a:pt x="848" y="90"/>
                  </a:cubicBezTo>
                  <a:cubicBezTo>
                    <a:pt x="845" y="89"/>
                    <a:pt x="842" y="86"/>
                    <a:pt x="841" y="84"/>
                  </a:cubicBezTo>
                  <a:cubicBezTo>
                    <a:pt x="839" y="81"/>
                    <a:pt x="837" y="78"/>
                    <a:pt x="837" y="74"/>
                  </a:cubicBezTo>
                  <a:cubicBezTo>
                    <a:pt x="836" y="70"/>
                    <a:pt x="835" y="67"/>
                    <a:pt x="835" y="62"/>
                  </a:cubicBezTo>
                  <a:cubicBezTo>
                    <a:pt x="835" y="58"/>
                    <a:pt x="836" y="53"/>
                    <a:pt x="837" y="49"/>
                  </a:cubicBezTo>
                  <a:cubicBezTo>
                    <a:pt x="838" y="45"/>
                    <a:pt x="839" y="42"/>
                    <a:pt x="842" y="39"/>
                  </a:cubicBezTo>
                  <a:cubicBezTo>
                    <a:pt x="844" y="37"/>
                    <a:pt x="846" y="35"/>
                    <a:pt x="849" y="33"/>
                  </a:cubicBezTo>
                  <a:cubicBezTo>
                    <a:pt x="852" y="32"/>
                    <a:pt x="856" y="31"/>
                    <a:pt x="860" y="31"/>
                  </a:cubicBezTo>
                  <a:cubicBezTo>
                    <a:pt x="863" y="31"/>
                    <a:pt x="866" y="32"/>
                    <a:pt x="869" y="33"/>
                  </a:cubicBezTo>
                  <a:cubicBezTo>
                    <a:pt x="871" y="34"/>
                    <a:pt x="874" y="37"/>
                    <a:pt x="877" y="39"/>
                  </a:cubicBezTo>
                  <a:lnTo>
                    <a:pt x="877" y="7"/>
                  </a:lnTo>
                  <a:cubicBezTo>
                    <a:pt x="877" y="6"/>
                    <a:pt x="877" y="6"/>
                    <a:pt x="877" y="6"/>
                  </a:cubicBezTo>
                  <a:cubicBezTo>
                    <a:pt x="877" y="6"/>
                    <a:pt x="877" y="5"/>
                    <a:pt x="878" y="5"/>
                  </a:cubicBezTo>
                  <a:cubicBezTo>
                    <a:pt x="878" y="5"/>
                    <a:pt x="879" y="5"/>
                    <a:pt x="879" y="5"/>
                  </a:cubicBezTo>
                  <a:cubicBezTo>
                    <a:pt x="880" y="5"/>
                    <a:pt x="881" y="5"/>
                    <a:pt x="882" y="5"/>
                  </a:cubicBezTo>
                  <a:cubicBezTo>
                    <a:pt x="883" y="5"/>
                    <a:pt x="884" y="5"/>
                    <a:pt x="884" y="5"/>
                  </a:cubicBezTo>
                  <a:cubicBezTo>
                    <a:pt x="885" y="5"/>
                    <a:pt x="886" y="5"/>
                    <a:pt x="886" y="5"/>
                  </a:cubicBezTo>
                  <a:cubicBezTo>
                    <a:pt x="886" y="5"/>
                    <a:pt x="887" y="6"/>
                    <a:pt x="887" y="6"/>
                  </a:cubicBezTo>
                  <a:cubicBezTo>
                    <a:pt x="887" y="6"/>
                    <a:pt x="887" y="6"/>
                    <a:pt x="887" y="7"/>
                  </a:cubicBezTo>
                  <a:lnTo>
                    <a:pt x="887" y="90"/>
                  </a:lnTo>
                  <a:close/>
                  <a:moveTo>
                    <a:pt x="877" y="50"/>
                  </a:moveTo>
                  <a:cubicBezTo>
                    <a:pt x="874" y="47"/>
                    <a:pt x="871" y="44"/>
                    <a:pt x="869" y="42"/>
                  </a:cubicBezTo>
                  <a:cubicBezTo>
                    <a:pt x="866" y="41"/>
                    <a:pt x="863" y="40"/>
                    <a:pt x="860" y="40"/>
                  </a:cubicBezTo>
                  <a:cubicBezTo>
                    <a:pt x="858" y="40"/>
                    <a:pt x="856" y="40"/>
                    <a:pt x="854" y="42"/>
                  </a:cubicBezTo>
                  <a:cubicBezTo>
                    <a:pt x="852" y="43"/>
                    <a:pt x="850" y="44"/>
                    <a:pt x="849" y="47"/>
                  </a:cubicBezTo>
                  <a:cubicBezTo>
                    <a:pt x="848" y="49"/>
                    <a:pt x="847" y="51"/>
                    <a:pt x="847" y="53"/>
                  </a:cubicBezTo>
                  <a:cubicBezTo>
                    <a:pt x="846" y="56"/>
                    <a:pt x="846" y="59"/>
                    <a:pt x="846" y="61"/>
                  </a:cubicBezTo>
                  <a:cubicBezTo>
                    <a:pt x="846" y="64"/>
                    <a:pt x="846" y="67"/>
                    <a:pt x="847" y="70"/>
                  </a:cubicBezTo>
                  <a:cubicBezTo>
                    <a:pt x="847" y="72"/>
                    <a:pt x="848" y="75"/>
                    <a:pt x="849" y="77"/>
                  </a:cubicBezTo>
                  <a:cubicBezTo>
                    <a:pt x="850" y="79"/>
                    <a:pt x="851" y="81"/>
                    <a:pt x="853" y="82"/>
                  </a:cubicBezTo>
                  <a:cubicBezTo>
                    <a:pt x="855" y="83"/>
                    <a:pt x="857" y="84"/>
                    <a:pt x="860" y="84"/>
                  </a:cubicBezTo>
                  <a:cubicBezTo>
                    <a:pt x="861" y="84"/>
                    <a:pt x="863" y="84"/>
                    <a:pt x="864" y="83"/>
                  </a:cubicBezTo>
                  <a:cubicBezTo>
                    <a:pt x="865" y="83"/>
                    <a:pt x="867" y="82"/>
                    <a:pt x="868" y="81"/>
                  </a:cubicBezTo>
                  <a:cubicBezTo>
                    <a:pt x="869" y="81"/>
                    <a:pt x="871" y="79"/>
                    <a:pt x="872" y="78"/>
                  </a:cubicBezTo>
                  <a:cubicBezTo>
                    <a:pt x="874" y="77"/>
                    <a:pt x="875" y="75"/>
                    <a:pt x="877" y="73"/>
                  </a:cubicBezTo>
                  <a:lnTo>
                    <a:pt x="877" y="50"/>
                  </a:lnTo>
                  <a:close/>
                  <a:moveTo>
                    <a:pt x="951" y="90"/>
                  </a:moveTo>
                  <a:cubicBezTo>
                    <a:pt x="951" y="90"/>
                    <a:pt x="951" y="90"/>
                    <a:pt x="951" y="91"/>
                  </a:cubicBezTo>
                  <a:cubicBezTo>
                    <a:pt x="951" y="91"/>
                    <a:pt x="950" y="91"/>
                    <a:pt x="950" y="91"/>
                  </a:cubicBezTo>
                  <a:cubicBezTo>
                    <a:pt x="950" y="91"/>
                    <a:pt x="949" y="92"/>
                    <a:pt x="949" y="92"/>
                  </a:cubicBezTo>
                  <a:cubicBezTo>
                    <a:pt x="948" y="92"/>
                    <a:pt x="947" y="92"/>
                    <a:pt x="946" y="92"/>
                  </a:cubicBezTo>
                  <a:cubicBezTo>
                    <a:pt x="945" y="92"/>
                    <a:pt x="945" y="92"/>
                    <a:pt x="944" y="92"/>
                  </a:cubicBezTo>
                  <a:cubicBezTo>
                    <a:pt x="943" y="92"/>
                    <a:pt x="943" y="91"/>
                    <a:pt x="943" y="91"/>
                  </a:cubicBezTo>
                  <a:cubicBezTo>
                    <a:pt x="942" y="91"/>
                    <a:pt x="942" y="91"/>
                    <a:pt x="942" y="91"/>
                  </a:cubicBezTo>
                  <a:cubicBezTo>
                    <a:pt x="942" y="90"/>
                    <a:pt x="942" y="90"/>
                    <a:pt x="942" y="90"/>
                  </a:cubicBezTo>
                  <a:lnTo>
                    <a:pt x="942" y="82"/>
                  </a:lnTo>
                  <a:cubicBezTo>
                    <a:pt x="939" y="86"/>
                    <a:pt x="935" y="89"/>
                    <a:pt x="932" y="90"/>
                  </a:cubicBezTo>
                  <a:cubicBezTo>
                    <a:pt x="929" y="92"/>
                    <a:pt x="926" y="93"/>
                    <a:pt x="923" y="93"/>
                  </a:cubicBezTo>
                  <a:cubicBezTo>
                    <a:pt x="919" y="93"/>
                    <a:pt x="916" y="92"/>
                    <a:pt x="913" y="91"/>
                  </a:cubicBezTo>
                  <a:cubicBezTo>
                    <a:pt x="911" y="90"/>
                    <a:pt x="909" y="88"/>
                    <a:pt x="907" y="86"/>
                  </a:cubicBezTo>
                  <a:cubicBezTo>
                    <a:pt x="905" y="84"/>
                    <a:pt x="904" y="81"/>
                    <a:pt x="904" y="78"/>
                  </a:cubicBezTo>
                  <a:cubicBezTo>
                    <a:pt x="903" y="75"/>
                    <a:pt x="903" y="72"/>
                    <a:pt x="903" y="68"/>
                  </a:cubicBezTo>
                  <a:lnTo>
                    <a:pt x="903" y="34"/>
                  </a:lnTo>
                  <a:cubicBezTo>
                    <a:pt x="903" y="33"/>
                    <a:pt x="903" y="33"/>
                    <a:pt x="903" y="33"/>
                  </a:cubicBezTo>
                  <a:cubicBezTo>
                    <a:pt x="903" y="33"/>
                    <a:pt x="903" y="32"/>
                    <a:pt x="904" y="32"/>
                  </a:cubicBezTo>
                  <a:cubicBezTo>
                    <a:pt x="904" y="32"/>
                    <a:pt x="905" y="32"/>
                    <a:pt x="905" y="32"/>
                  </a:cubicBezTo>
                  <a:cubicBezTo>
                    <a:pt x="906" y="32"/>
                    <a:pt x="907" y="32"/>
                    <a:pt x="908" y="32"/>
                  </a:cubicBezTo>
                  <a:cubicBezTo>
                    <a:pt x="909" y="32"/>
                    <a:pt x="910" y="32"/>
                    <a:pt x="910" y="32"/>
                  </a:cubicBezTo>
                  <a:cubicBezTo>
                    <a:pt x="911" y="32"/>
                    <a:pt x="911" y="32"/>
                    <a:pt x="912" y="32"/>
                  </a:cubicBezTo>
                  <a:cubicBezTo>
                    <a:pt x="912" y="32"/>
                    <a:pt x="913" y="33"/>
                    <a:pt x="913" y="33"/>
                  </a:cubicBezTo>
                  <a:cubicBezTo>
                    <a:pt x="913" y="33"/>
                    <a:pt x="913" y="33"/>
                    <a:pt x="913" y="34"/>
                  </a:cubicBezTo>
                  <a:lnTo>
                    <a:pt x="913" y="66"/>
                  </a:lnTo>
                  <a:cubicBezTo>
                    <a:pt x="913" y="70"/>
                    <a:pt x="913" y="72"/>
                    <a:pt x="914" y="74"/>
                  </a:cubicBezTo>
                  <a:cubicBezTo>
                    <a:pt x="914" y="76"/>
                    <a:pt x="915" y="78"/>
                    <a:pt x="916" y="79"/>
                  </a:cubicBezTo>
                  <a:cubicBezTo>
                    <a:pt x="917" y="81"/>
                    <a:pt x="918" y="82"/>
                    <a:pt x="920" y="83"/>
                  </a:cubicBezTo>
                  <a:cubicBezTo>
                    <a:pt x="921" y="83"/>
                    <a:pt x="923" y="84"/>
                    <a:pt x="925" y="84"/>
                  </a:cubicBezTo>
                  <a:cubicBezTo>
                    <a:pt x="927" y="84"/>
                    <a:pt x="930" y="83"/>
                    <a:pt x="933" y="81"/>
                  </a:cubicBezTo>
                  <a:cubicBezTo>
                    <a:pt x="935" y="79"/>
                    <a:pt x="938" y="76"/>
                    <a:pt x="941" y="73"/>
                  </a:cubicBezTo>
                  <a:lnTo>
                    <a:pt x="941" y="34"/>
                  </a:lnTo>
                  <a:cubicBezTo>
                    <a:pt x="941" y="33"/>
                    <a:pt x="941" y="33"/>
                    <a:pt x="941" y="33"/>
                  </a:cubicBezTo>
                  <a:cubicBezTo>
                    <a:pt x="941" y="33"/>
                    <a:pt x="941" y="32"/>
                    <a:pt x="942" y="32"/>
                  </a:cubicBezTo>
                  <a:cubicBezTo>
                    <a:pt x="942" y="32"/>
                    <a:pt x="943" y="32"/>
                    <a:pt x="943" y="32"/>
                  </a:cubicBezTo>
                  <a:cubicBezTo>
                    <a:pt x="944" y="32"/>
                    <a:pt x="945" y="32"/>
                    <a:pt x="946" y="32"/>
                  </a:cubicBezTo>
                  <a:cubicBezTo>
                    <a:pt x="947" y="32"/>
                    <a:pt x="948" y="32"/>
                    <a:pt x="948" y="32"/>
                  </a:cubicBezTo>
                  <a:cubicBezTo>
                    <a:pt x="949" y="32"/>
                    <a:pt x="950" y="32"/>
                    <a:pt x="950" y="32"/>
                  </a:cubicBezTo>
                  <a:cubicBezTo>
                    <a:pt x="950" y="32"/>
                    <a:pt x="951" y="33"/>
                    <a:pt x="951" y="33"/>
                  </a:cubicBezTo>
                  <a:cubicBezTo>
                    <a:pt x="951" y="33"/>
                    <a:pt x="951" y="33"/>
                    <a:pt x="951" y="34"/>
                  </a:cubicBezTo>
                  <a:lnTo>
                    <a:pt x="951" y="90"/>
                  </a:lnTo>
                  <a:close/>
                  <a:moveTo>
                    <a:pt x="1023" y="81"/>
                  </a:moveTo>
                  <a:cubicBezTo>
                    <a:pt x="1023" y="82"/>
                    <a:pt x="1023" y="83"/>
                    <a:pt x="1023" y="83"/>
                  </a:cubicBezTo>
                  <a:cubicBezTo>
                    <a:pt x="1023" y="84"/>
                    <a:pt x="1023" y="84"/>
                    <a:pt x="1023" y="84"/>
                  </a:cubicBezTo>
                  <a:cubicBezTo>
                    <a:pt x="1023" y="85"/>
                    <a:pt x="1023" y="85"/>
                    <a:pt x="1023" y="85"/>
                  </a:cubicBezTo>
                  <a:cubicBezTo>
                    <a:pt x="1023" y="86"/>
                    <a:pt x="1022" y="86"/>
                    <a:pt x="1022" y="87"/>
                  </a:cubicBezTo>
                  <a:cubicBezTo>
                    <a:pt x="1021" y="87"/>
                    <a:pt x="1020" y="88"/>
                    <a:pt x="1019" y="89"/>
                  </a:cubicBezTo>
                  <a:cubicBezTo>
                    <a:pt x="1018" y="89"/>
                    <a:pt x="1016" y="90"/>
                    <a:pt x="1015" y="91"/>
                  </a:cubicBezTo>
                  <a:cubicBezTo>
                    <a:pt x="1013" y="91"/>
                    <a:pt x="1012" y="92"/>
                    <a:pt x="1010" y="92"/>
                  </a:cubicBezTo>
                  <a:cubicBezTo>
                    <a:pt x="1008" y="92"/>
                    <a:pt x="1006" y="93"/>
                    <a:pt x="1004" y="93"/>
                  </a:cubicBezTo>
                  <a:cubicBezTo>
                    <a:pt x="1000" y="93"/>
                    <a:pt x="996" y="92"/>
                    <a:pt x="993" y="91"/>
                  </a:cubicBezTo>
                  <a:cubicBezTo>
                    <a:pt x="990" y="89"/>
                    <a:pt x="988" y="87"/>
                    <a:pt x="985" y="85"/>
                  </a:cubicBezTo>
                  <a:cubicBezTo>
                    <a:pt x="983" y="82"/>
                    <a:pt x="982" y="79"/>
                    <a:pt x="981" y="75"/>
                  </a:cubicBezTo>
                  <a:cubicBezTo>
                    <a:pt x="980" y="72"/>
                    <a:pt x="979" y="67"/>
                    <a:pt x="979" y="62"/>
                  </a:cubicBezTo>
                  <a:cubicBezTo>
                    <a:pt x="979" y="57"/>
                    <a:pt x="980" y="52"/>
                    <a:pt x="981" y="48"/>
                  </a:cubicBezTo>
                  <a:cubicBezTo>
                    <a:pt x="982" y="44"/>
                    <a:pt x="984" y="41"/>
                    <a:pt x="987" y="38"/>
                  </a:cubicBezTo>
                  <a:cubicBezTo>
                    <a:pt x="989" y="36"/>
                    <a:pt x="992" y="34"/>
                    <a:pt x="995" y="33"/>
                  </a:cubicBezTo>
                  <a:cubicBezTo>
                    <a:pt x="998" y="31"/>
                    <a:pt x="1002" y="31"/>
                    <a:pt x="1005" y="31"/>
                  </a:cubicBezTo>
                  <a:cubicBezTo>
                    <a:pt x="1007" y="31"/>
                    <a:pt x="1009" y="31"/>
                    <a:pt x="1010" y="31"/>
                  </a:cubicBezTo>
                  <a:cubicBezTo>
                    <a:pt x="1012" y="32"/>
                    <a:pt x="1014" y="32"/>
                    <a:pt x="1015" y="33"/>
                  </a:cubicBezTo>
                  <a:cubicBezTo>
                    <a:pt x="1017" y="33"/>
                    <a:pt x="1018" y="34"/>
                    <a:pt x="1019" y="35"/>
                  </a:cubicBezTo>
                  <a:cubicBezTo>
                    <a:pt x="1020" y="35"/>
                    <a:pt x="1021" y="36"/>
                    <a:pt x="1021" y="36"/>
                  </a:cubicBezTo>
                  <a:cubicBezTo>
                    <a:pt x="1022" y="37"/>
                    <a:pt x="1022" y="37"/>
                    <a:pt x="1022" y="38"/>
                  </a:cubicBezTo>
                  <a:cubicBezTo>
                    <a:pt x="1023" y="38"/>
                    <a:pt x="1023" y="38"/>
                    <a:pt x="1023" y="39"/>
                  </a:cubicBezTo>
                  <a:cubicBezTo>
                    <a:pt x="1023" y="39"/>
                    <a:pt x="1023" y="39"/>
                    <a:pt x="1023" y="40"/>
                  </a:cubicBezTo>
                  <a:cubicBezTo>
                    <a:pt x="1023" y="40"/>
                    <a:pt x="1023" y="41"/>
                    <a:pt x="1023" y="42"/>
                  </a:cubicBezTo>
                  <a:cubicBezTo>
                    <a:pt x="1023" y="43"/>
                    <a:pt x="1023" y="45"/>
                    <a:pt x="1023" y="45"/>
                  </a:cubicBezTo>
                  <a:cubicBezTo>
                    <a:pt x="1022" y="46"/>
                    <a:pt x="1022" y="46"/>
                    <a:pt x="1021" y="46"/>
                  </a:cubicBezTo>
                  <a:cubicBezTo>
                    <a:pt x="1021" y="46"/>
                    <a:pt x="1020" y="46"/>
                    <a:pt x="1019" y="45"/>
                  </a:cubicBezTo>
                  <a:cubicBezTo>
                    <a:pt x="1018" y="44"/>
                    <a:pt x="1017" y="44"/>
                    <a:pt x="1016" y="43"/>
                  </a:cubicBezTo>
                  <a:cubicBezTo>
                    <a:pt x="1015" y="42"/>
                    <a:pt x="1013" y="41"/>
                    <a:pt x="1011" y="41"/>
                  </a:cubicBezTo>
                  <a:cubicBezTo>
                    <a:pt x="1010" y="40"/>
                    <a:pt x="1008" y="40"/>
                    <a:pt x="1005" y="40"/>
                  </a:cubicBezTo>
                  <a:cubicBezTo>
                    <a:pt x="1000" y="40"/>
                    <a:pt x="996" y="41"/>
                    <a:pt x="994" y="45"/>
                  </a:cubicBezTo>
                  <a:cubicBezTo>
                    <a:pt x="991" y="49"/>
                    <a:pt x="990" y="55"/>
                    <a:pt x="990" y="62"/>
                  </a:cubicBezTo>
                  <a:cubicBezTo>
                    <a:pt x="990" y="66"/>
                    <a:pt x="990" y="69"/>
                    <a:pt x="991" y="71"/>
                  </a:cubicBezTo>
                  <a:cubicBezTo>
                    <a:pt x="991" y="74"/>
                    <a:pt x="992" y="76"/>
                    <a:pt x="994" y="78"/>
                  </a:cubicBezTo>
                  <a:cubicBezTo>
                    <a:pt x="995" y="80"/>
                    <a:pt x="997" y="81"/>
                    <a:pt x="999" y="82"/>
                  </a:cubicBezTo>
                  <a:cubicBezTo>
                    <a:pt x="1001" y="83"/>
                    <a:pt x="1003" y="84"/>
                    <a:pt x="1005" y="84"/>
                  </a:cubicBezTo>
                  <a:cubicBezTo>
                    <a:pt x="1008" y="84"/>
                    <a:pt x="1010" y="83"/>
                    <a:pt x="1012" y="83"/>
                  </a:cubicBezTo>
                  <a:cubicBezTo>
                    <a:pt x="1013" y="82"/>
                    <a:pt x="1015" y="81"/>
                    <a:pt x="1016" y="80"/>
                  </a:cubicBezTo>
                  <a:cubicBezTo>
                    <a:pt x="1018" y="79"/>
                    <a:pt x="1019" y="78"/>
                    <a:pt x="1020" y="78"/>
                  </a:cubicBezTo>
                  <a:cubicBezTo>
                    <a:pt x="1020" y="77"/>
                    <a:pt x="1021" y="77"/>
                    <a:pt x="1022" y="77"/>
                  </a:cubicBezTo>
                  <a:cubicBezTo>
                    <a:pt x="1022" y="77"/>
                    <a:pt x="1022" y="77"/>
                    <a:pt x="1022" y="77"/>
                  </a:cubicBezTo>
                  <a:cubicBezTo>
                    <a:pt x="1023" y="77"/>
                    <a:pt x="1023" y="77"/>
                    <a:pt x="1023" y="78"/>
                  </a:cubicBezTo>
                  <a:cubicBezTo>
                    <a:pt x="1023" y="78"/>
                    <a:pt x="1023" y="79"/>
                    <a:pt x="1023" y="79"/>
                  </a:cubicBezTo>
                  <a:cubicBezTo>
                    <a:pt x="1023" y="80"/>
                    <a:pt x="1023" y="80"/>
                    <a:pt x="1023" y="81"/>
                  </a:cubicBezTo>
                  <a:close/>
                  <a:moveTo>
                    <a:pt x="1060" y="86"/>
                  </a:moveTo>
                  <a:cubicBezTo>
                    <a:pt x="1060" y="87"/>
                    <a:pt x="1060" y="88"/>
                    <a:pt x="1060" y="89"/>
                  </a:cubicBezTo>
                  <a:cubicBezTo>
                    <a:pt x="1060" y="89"/>
                    <a:pt x="1059" y="90"/>
                    <a:pt x="1059" y="90"/>
                  </a:cubicBezTo>
                  <a:cubicBezTo>
                    <a:pt x="1059" y="91"/>
                    <a:pt x="1058" y="91"/>
                    <a:pt x="1058" y="91"/>
                  </a:cubicBezTo>
                  <a:cubicBezTo>
                    <a:pt x="1057" y="91"/>
                    <a:pt x="1056" y="92"/>
                    <a:pt x="1055" y="92"/>
                  </a:cubicBezTo>
                  <a:cubicBezTo>
                    <a:pt x="1055" y="92"/>
                    <a:pt x="1054" y="92"/>
                    <a:pt x="1053" y="92"/>
                  </a:cubicBezTo>
                  <a:cubicBezTo>
                    <a:pt x="1052" y="92"/>
                    <a:pt x="1051" y="93"/>
                    <a:pt x="1050" y="93"/>
                  </a:cubicBezTo>
                  <a:cubicBezTo>
                    <a:pt x="1047" y="93"/>
                    <a:pt x="1044" y="92"/>
                    <a:pt x="1042" y="91"/>
                  </a:cubicBezTo>
                  <a:cubicBezTo>
                    <a:pt x="1040" y="91"/>
                    <a:pt x="1038" y="89"/>
                    <a:pt x="1037" y="88"/>
                  </a:cubicBezTo>
                  <a:cubicBezTo>
                    <a:pt x="1036" y="86"/>
                    <a:pt x="1035" y="84"/>
                    <a:pt x="1034" y="82"/>
                  </a:cubicBezTo>
                  <a:cubicBezTo>
                    <a:pt x="1034" y="80"/>
                    <a:pt x="1033" y="77"/>
                    <a:pt x="1033" y="73"/>
                  </a:cubicBezTo>
                  <a:lnTo>
                    <a:pt x="1033" y="41"/>
                  </a:lnTo>
                  <a:lnTo>
                    <a:pt x="1025" y="41"/>
                  </a:lnTo>
                  <a:cubicBezTo>
                    <a:pt x="1025" y="41"/>
                    <a:pt x="1024" y="40"/>
                    <a:pt x="1024" y="40"/>
                  </a:cubicBezTo>
                  <a:cubicBezTo>
                    <a:pt x="1024" y="39"/>
                    <a:pt x="1023" y="38"/>
                    <a:pt x="1023" y="36"/>
                  </a:cubicBezTo>
                  <a:cubicBezTo>
                    <a:pt x="1023" y="36"/>
                    <a:pt x="1023" y="35"/>
                    <a:pt x="1024" y="34"/>
                  </a:cubicBezTo>
                  <a:cubicBezTo>
                    <a:pt x="1024" y="34"/>
                    <a:pt x="1024" y="33"/>
                    <a:pt x="1024" y="33"/>
                  </a:cubicBezTo>
                  <a:cubicBezTo>
                    <a:pt x="1024" y="33"/>
                    <a:pt x="1024" y="32"/>
                    <a:pt x="1025" y="32"/>
                  </a:cubicBezTo>
                  <a:cubicBezTo>
                    <a:pt x="1025" y="32"/>
                    <a:pt x="1025" y="32"/>
                    <a:pt x="1026" y="32"/>
                  </a:cubicBezTo>
                  <a:lnTo>
                    <a:pt x="1033" y="32"/>
                  </a:lnTo>
                  <a:lnTo>
                    <a:pt x="1033" y="19"/>
                  </a:lnTo>
                  <a:cubicBezTo>
                    <a:pt x="1033" y="18"/>
                    <a:pt x="1033" y="18"/>
                    <a:pt x="1034" y="18"/>
                  </a:cubicBezTo>
                  <a:cubicBezTo>
                    <a:pt x="1034" y="18"/>
                    <a:pt x="1034" y="17"/>
                    <a:pt x="1034" y="17"/>
                  </a:cubicBezTo>
                  <a:cubicBezTo>
                    <a:pt x="1035" y="17"/>
                    <a:pt x="1035" y="17"/>
                    <a:pt x="1036" y="17"/>
                  </a:cubicBezTo>
                  <a:cubicBezTo>
                    <a:pt x="1037" y="17"/>
                    <a:pt x="1037" y="17"/>
                    <a:pt x="1038" y="17"/>
                  </a:cubicBezTo>
                  <a:cubicBezTo>
                    <a:pt x="1040" y="17"/>
                    <a:pt x="1040" y="17"/>
                    <a:pt x="1041" y="17"/>
                  </a:cubicBezTo>
                  <a:cubicBezTo>
                    <a:pt x="1042" y="17"/>
                    <a:pt x="1042" y="17"/>
                    <a:pt x="1043" y="17"/>
                  </a:cubicBezTo>
                  <a:cubicBezTo>
                    <a:pt x="1043" y="17"/>
                    <a:pt x="1043" y="18"/>
                    <a:pt x="1043" y="18"/>
                  </a:cubicBezTo>
                  <a:cubicBezTo>
                    <a:pt x="1044" y="18"/>
                    <a:pt x="1044" y="18"/>
                    <a:pt x="1044" y="19"/>
                  </a:cubicBezTo>
                  <a:lnTo>
                    <a:pt x="1044" y="32"/>
                  </a:lnTo>
                  <a:lnTo>
                    <a:pt x="1058" y="32"/>
                  </a:lnTo>
                  <a:cubicBezTo>
                    <a:pt x="1058" y="32"/>
                    <a:pt x="1059" y="32"/>
                    <a:pt x="1059" y="32"/>
                  </a:cubicBezTo>
                  <a:cubicBezTo>
                    <a:pt x="1059" y="32"/>
                    <a:pt x="1059" y="33"/>
                    <a:pt x="1060" y="33"/>
                  </a:cubicBezTo>
                  <a:cubicBezTo>
                    <a:pt x="1060" y="33"/>
                    <a:pt x="1060" y="34"/>
                    <a:pt x="1060" y="34"/>
                  </a:cubicBezTo>
                  <a:cubicBezTo>
                    <a:pt x="1060" y="35"/>
                    <a:pt x="1060" y="36"/>
                    <a:pt x="1060" y="36"/>
                  </a:cubicBezTo>
                  <a:cubicBezTo>
                    <a:pt x="1060" y="38"/>
                    <a:pt x="1060" y="39"/>
                    <a:pt x="1060" y="40"/>
                  </a:cubicBezTo>
                  <a:cubicBezTo>
                    <a:pt x="1059" y="40"/>
                    <a:pt x="1059" y="41"/>
                    <a:pt x="1058" y="41"/>
                  </a:cubicBezTo>
                  <a:lnTo>
                    <a:pt x="1044" y="41"/>
                  </a:lnTo>
                  <a:lnTo>
                    <a:pt x="1044" y="72"/>
                  </a:lnTo>
                  <a:cubicBezTo>
                    <a:pt x="1044" y="76"/>
                    <a:pt x="1044" y="79"/>
                    <a:pt x="1045" y="81"/>
                  </a:cubicBezTo>
                  <a:cubicBezTo>
                    <a:pt x="1047" y="83"/>
                    <a:pt x="1049" y="84"/>
                    <a:pt x="1052" y="84"/>
                  </a:cubicBezTo>
                  <a:cubicBezTo>
                    <a:pt x="1052" y="84"/>
                    <a:pt x="1053" y="84"/>
                    <a:pt x="1054" y="83"/>
                  </a:cubicBezTo>
                  <a:cubicBezTo>
                    <a:pt x="1055" y="83"/>
                    <a:pt x="1056" y="83"/>
                    <a:pt x="1056" y="83"/>
                  </a:cubicBezTo>
                  <a:cubicBezTo>
                    <a:pt x="1057" y="83"/>
                    <a:pt x="1057" y="82"/>
                    <a:pt x="1058" y="82"/>
                  </a:cubicBezTo>
                  <a:cubicBezTo>
                    <a:pt x="1058" y="82"/>
                    <a:pt x="1058" y="82"/>
                    <a:pt x="1059" y="82"/>
                  </a:cubicBezTo>
                  <a:cubicBezTo>
                    <a:pt x="1059" y="82"/>
                    <a:pt x="1059" y="82"/>
                    <a:pt x="1059" y="82"/>
                  </a:cubicBezTo>
                  <a:cubicBezTo>
                    <a:pt x="1060" y="82"/>
                    <a:pt x="1060" y="82"/>
                    <a:pt x="1060" y="83"/>
                  </a:cubicBezTo>
                  <a:cubicBezTo>
                    <a:pt x="1060" y="83"/>
                    <a:pt x="1060" y="83"/>
                    <a:pt x="1060" y="84"/>
                  </a:cubicBezTo>
                  <a:cubicBezTo>
                    <a:pt x="1060" y="84"/>
                    <a:pt x="1060" y="85"/>
                    <a:pt x="1060" y="86"/>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84">
              <a:extLst>
                <a:ext uri="{FF2B5EF4-FFF2-40B4-BE49-F238E27FC236}">
                  <a16:creationId xmlns:a16="http://schemas.microsoft.com/office/drawing/2014/main" id="{D3562455-64A6-47E3-BDEE-1F02ECFF779D}"/>
                </a:ext>
              </a:extLst>
            </p:cNvPr>
            <p:cNvSpPr>
              <a:spLocks noChangeArrowheads="1"/>
            </p:cNvSpPr>
            <p:nvPr/>
          </p:nvSpPr>
          <p:spPr bwMode="auto">
            <a:xfrm>
              <a:off x="3695" y="2148"/>
              <a:ext cx="143"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a:ln>
                    <a:noFill/>
                  </a:ln>
                  <a:solidFill>
                    <a:srgbClr val="00B050"/>
                  </a:solidFill>
                  <a:effectLst/>
                  <a:latin typeface="Segoe UI" panose="020B0502040204020203" pitchFamily="34" charset="0"/>
                </a:rPr>
                <a:t>Us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27733" name="Picture 85">
              <a:extLst>
                <a:ext uri="{FF2B5EF4-FFF2-40B4-BE49-F238E27FC236}">
                  <a16:creationId xmlns:a16="http://schemas.microsoft.com/office/drawing/2014/main" id="{B97E86E3-85D5-4047-B340-C14B9101AF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7" y="2039"/>
              <a:ext cx="10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34" name="Picture 86">
              <a:extLst>
                <a:ext uri="{FF2B5EF4-FFF2-40B4-BE49-F238E27FC236}">
                  <a16:creationId xmlns:a16="http://schemas.microsoft.com/office/drawing/2014/main" id="{EC202FBD-18C1-4356-A075-589677AF3A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97" y="2039"/>
              <a:ext cx="10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35" name="Picture 87">
              <a:extLst>
                <a:ext uri="{FF2B5EF4-FFF2-40B4-BE49-F238E27FC236}">
                  <a16:creationId xmlns:a16="http://schemas.microsoft.com/office/drawing/2014/main" id="{73015DFC-21D1-4CB1-BE43-A175D36A4B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25" y="2734"/>
              <a:ext cx="10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36" name="Picture 88">
              <a:extLst>
                <a:ext uri="{FF2B5EF4-FFF2-40B4-BE49-F238E27FC236}">
                  <a16:creationId xmlns:a16="http://schemas.microsoft.com/office/drawing/2014/main" id="{B3C7EC8C-ACF9-40E9-A53B-C5E1069693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25" y="2734"/>
              <a:ext cx="10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Rectangle 89">
              <a:extLst>
                <a:ext uri="{FF2B5EF4-FFF2-40B4-BE49-F238E27FC236}">
                  <a16:creationId xmlns:a16="http://schemas.microsoft.com/office/drawing/2014/main" id="{16552AE1-930A-41F2-BD02-E0CDC8957D9C}"/>
                </a:ext>
              </a:extLst>
            </p:cNvPr>
            <p:cNvSpPr>
              <a:spLocks noChangeArrowheads="1"/>
            </p:cNvSpPr>
            <p:nvPr/>
          </p:nvSpPr>
          <p:spPr bwMode="auto">
            <a:xfrm>
              <a:off x="3523" y="1542"/>
              <a:ext cx="19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a:ln>
                    <a:noFill/>
                  </a:ln>
                  <a:solidFill>
                    <a:srgbClr val="00B050"/>
                  </a:solidFill>
                  <a:effectLst/>
                  <a:latin typeface="Segoe UI" panose="020B0502040204020203" pitchFamily="34" charset="0"/>
                </a:rPr>
                <a:t>Adm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27738" name="Picture 90">
              <a:extLst>
                <a:ext uri="{FF2B5EF4-FFF2-40B4-BE49-F238E27FC236}">
                  <a16:creationId xmlns:a16="http://schemas.microsoft.com/office/drawing/2014/main" id="{6C516ECD-347D-424E-9689-D64F549BA2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39" y="1430"/>
              <a:ext cx="10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39" name="Picture 91">
              <a:extLst>
                <a:ext uri="{FF2B5EF4-FFF2-40B4-BE49-F238E27FC236}">
                  <a16:creationId xmlns:a16="http://schemas.microsoft.com/office/drawing/2014/main" id="{DBCE3122-44BC-49E5-823A-9F54B688F9F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39" y="1430"/>
              <a:ext cx="10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 name="Rectangle 92">
              <a:extLst>
                <a:ext uri="{FF2B5EF4-FFF2-40B4-BE49-F238E27FC236}">
                  <a16:creationId xmlns:a16="http://schemas.microsoft.com/office/drawing/2014/main" id="{1B02DA29-678A-4670-82D2-773FEA261B3A}"/>
                </a:ext>
              </a:extLst>
            </p:cNvPr>
            <p:cNvSpPr>
              <a:spLocks noChangeArrowheads="1"/>
            </p:cNvSpPr>
            <p:nvPr/>
          </p:nvSpPr>
          <p:spPr bwMode="auto">
            <a:xfrm>
              <a:off x="6026" y="1081"/>
              <a:ext cx="234" cy="26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CF3D672B-C67A-4BFC-9FF7-0D71C59938AA}"/>
                </a:ext>
              </a:extLst>
            </p:cNvPr>
            <p:cNvSpPr>
              <a:spLocks noEditPoints="1"/>
            </p:cNvSpPr>
            <p:nvPr/>
          </p:nvSpPr>
          <p:spPr bwMode="auto">
            <a:xfrm>
              <a:off x="6025" y="1079"/>
              <a:ext cx="237" cy="2685"/>
            </a:xfrm>
            <a:custGeom>
              <a:avLst/>
              <a:gdLst>
                <a:gd name="T0" fmla="*/ 5 w 528"/>
                <a:gd name="T1" fmla="*/ 6 h 5996"/>
                <a:gd name="T2" fmla="*/ 522 w 528"/>
                <a:gd name="T3" fmla="*/ 6 h 5996"/>
                <a:gd name="T4" fmla="*/ 522 w 528"/>
                <a:gd name="T5" fmla="*/ 5991 h 5996"/>
                <a:gd name="T6" fmla="*/ 5 w 528"/>
                <a:gd name="T7" fmla="*/ 5991 h 5996"/>
                <a:gd name="T8" fmla="*/ 5 w 528"/>
                <a:gd name="T9" fmla="*/ 6 h 5996"/>
                <a:gd name="T10" fmla="*/ 0 w 528"/>
                <a:gd name="T11" fmla="*/ 3 h 5996"/>
                <a:gd name="T12" fmla="*/ 0 w 528"/>
                <a:gd name="T13" fmla="*/ 5993 h 5996"/>
                <a:gd name="T14" fmla="*/ 2 w 528"/>
                <a:gd name="T15" fmla="*/ 5996 h 5996"/>
                <a:gd name="T16" fmla="*/ 525 w 528"/>
                <a:gd name="T17" fmla="*/ 5996 h 5996"/>
                <a:gd name="T18" fmla="*/ 528 w 528"/>
                <a:gd name="T19" fmla="*/ 5993 h 5996"/>
                <a:gd name="T20" fmla="*/ 528 w 528"/>
                <a:gd name="T21" fmla="*/ 3 h 5996"/>
                <a:gd name="T22" fmla="*/ 525 w 528"/>
                <a:gd name="T23" fmla="*/ 0 h 5996"/>
                <a:gd name="T24" fmla="*/ 2 w 528"/>
                <a:gd name="T25" fmla="*/ 0 h 5996"/>
                <a:gd name="T26" fmla="*/ 0 w 528"/>
                <a:gd name="T27" fmla="*/ 3 h 5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8" h="5996">
                  <a:moveTo>
                    <a:pt x="5" y="6"/>
                  </a:moveTo>
                  <a:lnTo>
                    <a:pt x="522" y="6"/>
                  </a:lnTo>
                  <a:lnTo>
                    <a:pt x="522" y="5991"/>
                  </a:lnTo>
                  <a:lnTo>
                    <a:pt x="5" y="5991"/>
                  </a:lnTo>
                  <a:lnTo>
                    <a:pt x="5" y="6"/>
                  </a:lnTo>
                  <a:close/>
                  <a:moveTo>
                    <a:pt x="0" y="3"/>
                  </a:moveTo>
                  <a:lnTo>
                    <a:pt x="0" y="5993"/>
                  </a:lnTo>
                  <a:cubicBezTo>
                    <a:pt x="0" y="5995"/>
                    <a:pt x="1" y="5996"/>
                    <a:pt x="2" y="5996"/>
                  </a:cubicBezTo>
                  <a:lnTo>
                    <a:pt x="525" y="5996"/>
                  </a:lnTo>
                  <a:cubicBezTo>
                    <a:pt x="526" y="5996"/>
                    <a:pt x="528" y="5995"/>
                    <a:pt x="528" y="5993"/>
                  </a:cubicBezTo>
                  <a:lnTo>
                    <a:pt x="528" y="3"/>
                  </a:lnTo>
                  <a:cubicBezTo>
                    <a:pt x="528" y="2"/>
                    <a:pt x="526" y="0"/>
                    <a:pt x="525" y="0"/>
                  </a:cubicBezTo>
                  <a:lnTo>
                    <a:pt x="2" y="0"/>
                  </a:lnTo>
                  <a:cubicBezTo>
                    <a:pt x="1" y="0"/>
                    <a:pt x="0" y="2"/>
                    <a:pt x="0" y="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Rectangle 94">
              <a:extLst>
                <a:ext uri="{FF2B5EF4-FFF2-40B4-BE49-F238E27FC236}">
                  <a16:creationId xmlns:a16="http://schemas.microsoft.com/office/drawing/2014/main" id="{DC993E00-EC04-4D89-BCF9-27249820C26B}"/>
                </a:ext>
              </a:extLst>
            </p:cNvPr>
            <p:cNvSpPr>
              <a:spLocks noChangeArrowheads="1"/>
            </p:cNvSpPr>
            <p:nvPr/>
          </p:nvSpPr>
          <p:spPr bwMode="auto">
            <a:xfrm>
              <a:off x="6026" y="1081"/>
              <a:ext cx="234" cy="26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95">
              <a:extLst>
                <a:ext uri="{FF2B5EF4-FFF2-40B4-BE49-F238E27FC236}">
                  <a16:creationId xmlns:a16="http://schemas.microsoft.com/office/drawing/2014/main" id="{EC131D34-F7C5-48EA-8724-3290453AA8F7}"/>
                </a:ext>
              </a:extLst>
            </p:cNvPr>
            <p:cNvSpPr>
              <a:spLocks noChangeArrowheads="1"/>
            </p:cNvSpPr>
            <p:nvPr/>
          </p:nvSpPr>
          <p:spPr bwMode="auto">
            <a:xfrm>
              <a:off x="6026" y="1081"/>
              <a:ext cx="234" cy="2682"/>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Rectangle 96">
              <a:extLst>
                <a:ext uri="{FF2B5EF4-FFF2-40B4-BE49-F238E27FC236}">
                  <a16:creationId xmlns:a16="http://schemas.microsoft.com/office/drawing/2014/main" id="{E14BFFE7-5E69-4CD8-8F5A-290280324830}"/>
                </a:ext>
              </a:extLst>
            </p:cNvPr>
            <p:cNvSpPr>
              <a:spLocks noChangeArrowheads="1"/>
            </p:cNvSpPr>
            <p:nvPr/>
          </p:nvSpPr>
          <p:spPr bwMode="auto">
            <a:xfrm rot="5400000">
              <a:off x="4801" y="2350"/>
              <a:ext cx="2685"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FFFFFF"/>
                  </a:solidFill>
                  <a:effectLst/>
                  <a:latin typeface="Calibri" panose="020F0502020204030204" pitchFamily="34" charset="0"/>
                </a:rPr>
                <a:t>Event Grid / Service Bu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3" name="Freeform 97">
              <a:extLst>
                <a:ext uri="{FF2B5EF4-FFF2-40B4-BE49-F238E27FC236}">
                  <a16:creationId xmlns:a16="http://schemas.microsoft.com/office/drawing/2014/main" id="{375B3CED-E469-468E-8D18-7B94748383B0}"/>
                </a:ext>
              </a:extLst>
            </p:cNvPr>
            <p:cNvSpPr>
              <a:spLocks noEditPoints="1"/>
            </p:cNvSpPr>
            <p:nvPr/>
          </p:nvSpPr>
          <p:spPr bwMode="auto">
            <a:xfrm>
              <a:off x="5016" y="2747"/>
              <a:ext cx="943" cy="92"/>
            </a:xfrm>
            <a:custGeom>
              <a:avLst/>
              <a:gdLst>
                <a:gd name="T0" fmla="*/ 2070 w 2108"/>
                <a:gd name="T1" fmla="*/ 49 h 206"/>
                <a:gd name="T2" fmla="*/ 2044 w 2108"/>
                <a:gd name="T3" fmla="*/ 51 h 206"/>
                <a:gd name="T4" fmla="*/ 2045 w 2108"/>
                <a:gd name="T5" fmla="*/ 46 h 206"/>
                <a:gd name="T6" fmla="*/ 1948 w 2108"/>
                <a:gd name="T7" fmla="*/ 39 h 206"/>
                <a:gd name="T8" fmla="*/ 1986 w 2108"/>
                <a:gd name="T9" fmla="*/ 41 h 206"/>
                <a:gd name="T10" fmla="*/ 1884 w 2108"/>
                <a:gd name="T11" fmla="*/ 29 h 206"/>
                <a:gd name="T12" fmla="*/ 1922 w 2108"/>
                <a:gd name="T13" fmla="*/ 36 h 206"/>
                <a:gd name="T14" fmla="*/ 1823 w 2108"/>
                <a:gd name="T15" fmla="*/ 23 h 206"/>
                <a:gd name="T16" fmla="*/ 1864 w 2108"/>
                <a:gd name="T17" fmla="*/ 27 h 206"/>
                <a:gd name="T18" fmla="*/ 1762 w 2108"/>
                <a:gd name="T19" fmla="*/ 18 h 206"/>
                <a:gd name="T20" fmla="*/ 1800 w 2108"/>
                <a:gd name="T21" fmla="*/ 24 h 206"/>
                <a:gd name="T22" fmla="*/ 1703 w 2108"/>
                <a:gd name="T23" fmla="*/ 12 h 206"/>
                <a:gd name="T24" fmla="*/ 1678 w 2108"/>
                <a:gd name="T25" fmla="*/ 15 h 206"/>
                <a:gd name="T26" fmla="*/ 1678 w 2108"/>
                <a:gd name="T27" fmla="*/ 10 h 206"/>
                <a:gd name="T28" fmla="*/ 1580 w 2108"/>
                <a:gd name="T29" fmla="*/ 9 h 206"/>
                <a:gd name="T30" fmla="*/ 1619 w 2108"/>
                <a:gd name="T31" fmla="*/ 9 h 206"/>
                <a:gd name="T32" fmla="*/ 1517 w 2108"/>
                <a:gd name="T33" fmla="*/ 5 h 206"/>
                <a:gd name="T34" fmla="*/ 1555 w 2108"/>
                <a:gd name="T35" fmla="*/ 8 h 206"/>
                <a:gd name="T36" fmla="*/ 1458 w 2108"/>
                <a:gd name="T37" fmla="*/ 2 h 206"/>
                <a:gd name="T38" fmla="*/ 1432 w 2108"/>
                <a:gd name="T39" fmla="*/ 6 h 206"/>
                <a:gd name="T40" fmla="*/ 1432 w 2108"/>
                <a:gd name="T41" fmla="*/ 1 h 206"/>
                <a:gd name="T42" fmla="*/ 1335 w 2108"/>
                <a:gd name="T43" fmla="*/ 5 h 206"/>
                <a:gd name="T44" fmla="*/ 1373 w 2108"/>
                <a:gd name="T45" fmla="*/ 3 h 206"/>
                <a:gd name="T46" fmla="*/ 1274 w 2108"/>
                <a:gd name="T47" fmla="*/ 6 h 206"/>
                <a:gd name="T48" fmla="*/ 1309 w 2108"/>
                <a:gd name="T49" fmla="*/ 0 h 206"/>
                <a:gd name="T50" fmla="*/ 1212 w 2108"/>
                <a:gd name="T51" fmla="*/ 9 h 206"/>
                <a:gd name="T52" fmla="*/ 1251 w 2108"/>
                <a:gd name="T53" fmla="*/ 5 h 206"/>
                <a:gd name="T54" fmla="*/ 1148 w 2108"/>
                <a:gd name="T55" fmla="*/ 9 h 206"/>
                <a:gd name="T56" fmla="*/ 1187 w 2108"/>
                <a:gd name="T57" fmla="*/ 10 h 206"/>
                <a:gd name="T58" fmla="*/ 1089 w 2108"/>
                <a:gd name="T59" fmla="*/ 9 h 206"/>
                <a:gd name="T60" fmla="*/ 1064 w 2108"/>
                <a:gd name="T61" fmla="*/ 16 h 206"/>
                <a:gd name="T62" fmla="*/ 1028 w 2108"/>
                <a:gd name="T63" fmla="*/ 12 h 206"/>
                <a:gd name="T64" fmla="*/ 1064 w 2108"/>
                <a:gd name="T65" fmla="*/ 16 h 206"/>
                <a:gd name="T66" fmla="*/ 967 w 2108"/>
                <a:gd name="T67" fmla="*/ 19 h 206"/>
                <a:gd name="T68" fmla="*/ 942 w 2108"/>
                <a:gd name="T69" fmla="*/ 26 h 206"/>
                <a:gd name="T70" fmla="*/ 941 w 2108"/>
                <a:gd name="T71" fmla="*/ 21 h 206"/>
                <a:gd name="T72" fmla="*/ 845 w 2108"/>
                <a:gd name="T73" fmla="*/ 36 h 206"/>
                <a:gd name="T74" fmla="*/ 883 w 2108"/>
                <a:gd name="T75" fmla="*/ 30 h 206"/>
                <a:gd name="T76" fmla="*/ 781 w 2108"/>
                <a:gd name="T77" fmla="*/ 40 h 206"/>
                <a:gd name="T78" fmla="*/ 820 w 2108"/>
                <a:gd name="T79" fmla="*/ 39 h 206"/>
                <a:gd name="T80" fmla="*/ 722 w 2108"/>
                <a:gd name="T81" fmla="*/ 46 h 206"/>
                <a:gd name="T82" fmla="*/ 698 w 2108"/>
                <a:gd name="T83" fmla="*/ 55 h 206"/>
                <a:gd name="T84" fmla="*/ 697 w 2108"/>
                <a:gd name="T85" fmla="*/ 50 h 206"/>
                <a:gd name="T86" fmla="*/ 602 w 2108"/>
                <a:gd name="T87" fmla="*/ 70 h 206"/>
                <a:gd name="T88" fmla="*/ 639 w 2108"/>
                <a:gd name="T89" fmla="*/ 61 h 206"/>
                <a:gd name="T90" fmla="*/ 538 w 2108"/>
                <a:gd name="T91" fmla="*/ 77 h 206"/>
                <a:gd name="T92" fmla="*/ 576 w 2108"/>
                <a:gd name="T93" fmla="*/ 73 h 206"/>
                <a:gd name="T94" fmla="*/ 478 w 2108"/>
                <a:gd name="T95" fmla="*/ 88 h 206"/>
                <a:gd name="T96" fmla="*/ 518 w 2108"/>
                <a:gd name="T97" fmla="*/ 80 h 206"/>
                <a:gd name="T98" fmla="*/ 418 w 2108"/>
                <a:gd name="T99" fmla="*/ 100 h 206"/>
                <a:gd name="T100" fmla="*/ 456 w 2108"/>
                <a:gd name="T101" fmla="*/ 95 h 206"/>
                <a:gd name="T102" fmla="*/ 359 w 2108"/>
                <a:gd name="T103" fmla="*/ 110 h 206"/>
                <a:gd name="T104" fmla="*/ 335 w 2108"/>
                <a:gd name="T105" fmla="*/ 121 h 206"/>
                <a:gd name="T106" fmla="*/ 334 w 2108"/>
                <a:gd name="T107" fmla="*/ 116 h 206"/>
                <a:gd name="T108" fmla="*/ 240 w 2108"/>
                <a:gd name="T109" fmla="*/ 141 h 206"/>
                <a:gd name="T110" fmla="*/ 277 w 2108"/>
                <a:gd name="T111" fmla="*/ 130 h 206"/>
                <a:gd name="T112" fmla="*/ 178 w 2108"/>
                <a:gd name="T113" fmla="*/ 155 h 206"/>
                <a:gd name="T114" fmla="*/ 216 w 2108"/>
                <a:gd name="T115" fmla="*/ 148 h 206"/>
                <a:gd name="T116" fmla="*/ 121 w 2108"/>
                <a:gd name="T117" fmla="*/ 168 h 206"/>
                <a:gd name="T118" fmla="*/ 97 w 2108"/>
                <a:gd name="T119" fmla="*/ 180 h 206"/>
                <a:gd name="T120" fmla="*/ 96 w 2108"/>
                <a:gd name="T121" fmla="*/ 175 h 206"/>
                <a:gd name="T122" fmla="*/ 3 w 2108"/>
                <a:gd name="T123" fmla="*/ 206 h 206"/>
                <a:gd name="T124" fmla="*/ 40 w 2108"/>
                <a:gd name="T125" fmla="*/ 19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8" h="206">
                  <a:moveTo>
                    <a:pt x="2105" y="58"/>
                  </a:moveTo>
                  <a:lnTo>
                    <a:pt x="2070" y="54"/>
                  </a:lnTo>
                  <a:cubicBezTo>
                    <a:pt x="2068" y="54"/>
                    <a:pt x="2067" y="52"/>
                    <a:pt x="2067" y="51"/>
                  </a:cubicBezTo>
                  <a:cubicBezTo>
                    <a:pt x="2068" y="50"/>
                    <a:pt x="2069" y="49"/>
                    <a:pt x="2070" y="49"/>
                  </a:cubicBezTo>
                  <a:lnTo>
                    <a:pt x="2106" y="53"/>
                  </a:lnTo>
                  <a:cubicBezTo>
                    <a:pt x="2107" y="53"/>
                    <a:pt x="2108" y="54"/>
                    <a:pt x="2108" y="56"/>
                  </a:cubicBezTo>
                  <a:cubicBezTo>
                    <a:pt x="2108" y="57"/>
                    <a:pt x="2107" y="58"/>
                    <a:pt x="2105" y="58"/>
                  </a:cubicBezTo>
                  <a:close/>
                  <a:moveTo>
                    <a:pt x="2044" y="51"/>
                  </a:moveTo>
                  <a:lnTo>
                    <a:pt x="2009" y="46"/>
                  </a:lnTo>
                  <a:cubicBezTo>
                    <a:pt x="2007" y="46"/>
                    <a:pt x="2006" y="45"/>
                    <a:pt x="2006" y="44"/>
                  </a:cubicBezTo>
                  <a:cubicBezTo>
                    <a:pt x="2007" y="42"/>
                    <a:pt x="2008" y="41"/>
                    <a:pt x="2009" y="41"/>
                  </a:cubicBezTo>
                  <a:lnTo>
                    <a:pt x="2045" y="46"/>
                  </a:lnTo>
                  <a:cubicBezTo>
                    <a:pt x="2046" y="46"/>
                    <a:pt x="2047" y="47"/>
                    <a:pt x="2047" y="48"/>
                  </a:cubicBezTo>
                  <a:cubicBezTo>
                    <a:pt x="2047" y="50"/>
                    <a:pt x="2046" y="51"/>
                    <a:pt x="2044" y="51"/>
                  </a:cubicBezTo>
                  <a:close/>
                  <a:moveTo>
                    <a:pt x="1983" y="43"/>
                  </a:moveTo>
                  <a:lnTo>
                    <a:pt x="1948" y="39"/>
                  </a:lnTo>
                  <a:cubicBezTo>
                    <a:pt x="1946" y="39"/>
                    <a:pt x="1945" y="38"/>
                    <a:pt x="1945" y="36"/>
                  </a:cubicBezTo>
                  <a:cubicBezTo>
                    <a:pt x="1946" y="35"/>
                    <a:pt x="1947" y="34"/>
                    <a:pt x="1948" y="34"/>
                  </a:cubicBezTo>
                  <a:lnTo>
                    <a:pt x="1984" y="38"/>
                  </a:lnTo>
                  <a:cubicBezTo>
                    <a:pt x="1985" y="39"/>
                    <a:pt x="1986" y="40"/>
                    <a:pt x="1986" y="41"/>
                  </a:cubicBezTo>
                  <a:cubicBezTo>
                    <a:pt x="1986" y="43"/>
                    <a:pt x="1985" y="44"/>
                    <a:pt x="1983" y="43"/>
                  </a:cubicBezTo>
                  <a:close/>
                  <a:moveTo>
                    <a:pt x="1922" y="36"/>
                  </a:moveTo>
                  <a:lnTo>
                    <a:pt x="1887" y="32"/>
                  </a:lnTo>
                  <a:cubicBezTo>
                    <a:pt x="1885" y="32"/>
                    <a:pt x="1884" y="30"/>
                    <a:pt x="1884" y="29"/>
                  </a:cubicBezTo>
                  <a:cubicBezTo>
                    <a:pt x="1885" y="28"/>
                    <a:pt x="1886" y="27"/>
                    <a:pt x="1887" y="27"/>
                  </a:cubicBezTo>
                  <a:lnTo>
                    <a:pt x="1923" y="31"/>
                  </a:lnTo>
                  <a:cubicBezTo>
                    <a:pt x="1924" y="31"/>
                    <a:pt x="1925" y="33"/>
                    <a:pt x="1925" y="34"/>
                  </a:cubicBezTo>
                  <a:cubicBezTo>
                    <a:pt x="1925" y="35"/>
                    <a:pt x="1924" y="36"/>
                    <a:pt x="1922" y="36"/>
                  </a:cubicBezTo>
                  <a:close/>
                  <a:moveTo>
                    <a:pt x="1861" y="29"/>
                  </a:moveTo>
                  <a:lnTo>
                    <a:pt x="1837" y="26"/>
                  </a:lnTo>
                  <a:lnTo>
                    <a:pt x="1826" y="25"/>
                  </a:lnTo>
                  <a:cubicBezTo>
                    <a:pt x="1824" y="25"/>
                    <a:pt x="1823" y="24"/>
                    <a:pt x="1823" y="23"/>
                  </a:cubicBezTo>
                  <a:cubicBezTo>
                    <a:pt x="1823" y="21"/>
                    <a:pt x="1825" y="20"/>
                    <a:pt x="1826" y="20"/>
                  </a:cubicBezTo>
                  <a:lnTo>
                    <a:pt x="1838" y="21"/>
                  </a:lnTo>
                  <a:lnTo>
                    <a:pt x="1862" y="24"/>
                  </a:lnTo>
                  <a:cubicBezTo>
                    <a:pt x="1863" y="24"/>
                    <a:pt x="1864" y="25"/>
                    <a:pt x="1864" y="27"/>
                  </a:cubicBezTo>
                  <a:cubicBezTo>
                    <a:pt x="1864" y="28"/>
                    <a:pt x="1863" y="29"/>
                    <a:pt x="1861" y="29"/>
                  </a:cubicBezTo>
                  <a:close/>
                  <a:moveTo>
                    <a:pt x="1800" y="24"/>
                  </a:moveTo>
                  <a:lnTo>
                    <a:pt x="1764" y="21"/>
                  </a:lnTo>
                  <a:cubicBezTo>
                    <a:pt x="1763" y="21"/>
                    <a:pt x="1762" y="20"/>
                    <a:pt x="1762" y="18"/>
                  </a:cubicBezTo>
                  <a:cubicBezTo>
                    <a:pt x="1762" y="17"/>
                    <a:pt x="1763" y="16"/>
                    <a:pt x="1765" y="16"/>
                  </a:cubicBezTo>
                  <a:lnTo>
                    <a:pt x="1800" y="18"/>
                  </a:lnTo>
                  <a:cubicBezTo>
                    <a:pt x="1802" y="19"/>
                    <a:pt x="1803" y="20"/>
                    <a:pt x="1803" y="21"/>
                  </a:cubicBezTo>
                  <a:cubicBezTo>
                    <a:pt x="1803" y="23"/>
                    <a:pt x="1802" y="24"/>
                    <a:pt x="1800" y="24"/>
                  </a:cubicBezTo>
                  <a:close/>
                  <a:moveTo>
                    <a:pt x="1739" y="19"/>
                  </a:moveTo>
                  <a:lnTo>
                    <a:pt x="1703" y="17"/>
                  </a:lnTo>
                  <a:cubicBezTo>
                    <a:pt x="1702" y="17"/>
                    <a:pt x="1701" y="16"/>
                    <a:pt x="1701" y="14"/>
                  </a:cubicBezTo>
                  <a:cubicBezTo>
                    <a:pt x="1701" y="13"/>
                    <a:pt x="1702" y="12"/>
                    <a:pt x="1703" y="12"/>
                  </a:cubicBezTo>
                  <a:lnTo>
                    <a:pt x="1739" y="14"/>
                  </a:lnTo>
                  <a:cubicBezTo>
                    <a:pt x="1741" y="14"/>
                    <a:pt x="1742" y="16"/>
                    <a:pt x="1742" y="17"/>
                  </a:cubicBezTo>
                  <a:cubicBezTo>
                    <a:pt x="1741" y="18"/>
                    <a:pt x="1740" y="20"/>
                    <a:pt x="1739" y="19"/>
                  </a:cubicBezTo>
                  <a:close/>
                  <a:moveTo>
                    <a:pt x="1678" y="15"/>
                  </a:moveTo>
                  <a:lnTo>
                    <a:pt x="1642" y="13"/>
                  </a:lnTo>
                  <a:cubicBezTo>
                    <a:pt x="1640" y="13"/>
                    <a:pt x="1639" y="12"/>
                    <a:pt x="1639" y="10"/>
                  </a:cubicBezTo>
                  <a:cubicBezTo>
                    <a:pt x="1639" y="9"/>
                    <a:pt x="1641" y="8"/>
                    <a:pt x="1642" y="8"/>
                  </a:cubicBezTo>
                  <a:lnTo>
                    <a:pt x="1678" y="10"/>
                  </a:lnTo>
                  <a:cubicBezTo>
                    <a:pt x="1679" y="10"/>
                    <a:pt x="1680" y="12"/>
                    <a:pt x="1680" y="13"/>
                  </a:cubicBezTo>
                  <a:cubicBezTo>
                    <a:pt x="1680" y="14"/>
                    <a:pt x="1679" y="15"/>
                    <a:pt x="1678" y="15"/>
                  </a:cubicBezTo>
                  <a:close/>
                  <a:moveTo>
                    <a:pt x="1616" y="11"/>
                  </a:moveTo>
                  <a:lnTo>
                    <a:pt x="1580" y="9"/>
                  </a:lnTo>
                  <a:cubicBezTo>
                    <a:pt x="1579" y="9"/>
                    <a:pt x="1578" y="7"/>
                    <a:pt x="1578" y="6"/>
                  </a:cubicBezTo>
                  <a:cubicBezTo>
                    <a:pt x="1578" y="5"/>
                    <a:pt x="1579" y="4"/>
                    <a:pt x="1581" y="4"/>
                  </a:cubicBezTo>
                  <a:lnTo>
                    <a:pt x="1617" y="6"/>
                  </a:lnTo>
                  <a:cubicBezTo>
                    <a:pt x="1618" y="6"/>
                    <a:pt x="1619" y="7"/>
                    <a:pt x="1619" y="9"/>
                  </a:cubicBezTo>
                  <a:cubicBezTo>
                    <a:pt x="1619" y="10"/>
                    <a:pt x="1618" y="11"/>
                    <a:pt x="1616" y="11"/>
                  </a:cubicBezTo>
                  <a:close/>
                  <a:moveTo>
                    <a:pt x="1555" y="8"/>
                  </a:moveTo>
                  <a:lnTo>
                    <a:pt x="1519" y="7"/>
                  </a:lnTo>
                  <a:cubicBezTo>
                    <a:pt x="1518" y="7"/>
                    <a:pt x="1517" y="6"/>
                    <a:pt x="1517" y="5"/>
                  </a:cubicBezTo>
                  <a:cubicBezTo>
                    <a:pt x="1517" y="3"/>
                    <a:pt x="1518" y="2"/>
                    <a:pt x="1519" y="2"/>
                  </a:cubicBezTo>
                  <a:lnTo>
                    <a:pt x="1555" y="3"/>
                  </a:lnTo>
                  <a:cubicBezTo>
                    <a:pt x="1557" y="3"/>
                    <a:pt x="1558" y="4"/>
                    <a:pt x="1558" y="5"/>
                  </a:cubicBezTo>
                  <a:cubicBezTo>
                    <a:pt x="1558" y="7"/>
                    <a:pt x="1556" y="8"/>
                    <a:pt x="1555" y="8"/>
                  </a:cubicBezTo>
                  <a:close/>
                  <a:moveTo>
                    <a:pt x="1494" y="7"/>
                  </a:moveTo>
                  <a:lnTo>
                    <a:pt x="1458" y="7"/>
                  </a:lnTo>
                  <a:cubicBezTo>
                    <a:pt x="1456" y="7"/>
                    <a:pt x="1455" y="6"/>
                    <a:pt x="1455" y="4"/>
                  </a:cubicBezTo>
                  <a:cubicBezTo>
                    <a:pt x="1455" y="3"/>
                    <a:pt x="1456" y="2"/>
                    <a:pt x="1458" y="2"/>
                  </a:cubicBezTo>
                  <a:lnTo>
                    <a:pt x="1494" y="2"/>
                  </a:lnTo>
                  <a:cubicBezTo>
                    <a:pt x="1495" y="2"/>
                    <a:pt x="1496" y="3"/>
                    <a:pt x="1496" y="5"/>
                  </a:cubicBezTo>
                  <a:cubicBezTo>
                    <a:pt x="1496" y="6"/>
                    <a:pt x="1495" y="7"/>
                    <a:pt x="1494" y="7"/>
                  </a:cubicBezTo>
                  <a:close/>
                  <a:moveTo>
                    <a:pt x="1432" y="6"/>
                  </a:moveTo>
                  <a:lnTo>
                    <a:pt x="1396" y="6"/>
                  </a:lnTo>
                  <a:cubicBezTo>
                    <a:pt x="1395" y="6"/>
                    <a:pt x="1394" y="5"/>
                    <a:pt x="1394" y="4"/>
                  </a:cubicBezTo>
                  <a:cubicBezTo>
                    <a:pt x="1394" y="2"/>
                    <a:pt x="1395" y="1"/>
                    <a:pt x="1396" y="1"/>
                  </a:cubicBezTo>
                  <a:lnTo>
                    <a:pt x="1432" y="1"/>
                  </a:lnTo>
                  <a:cubicBezTo>
                    <a:pt x="1434" y="1"/>
                    <a:pt x="1435" y="3"/>
                    <a:pt x="1435" y="4"/>
                  </a:cubicBezTo>
                  <a:cubicBezTo>
                    <a:pt x="1435" y="5"/>
                    <a:pt x="1434" y="7"/>
                    <a:pt x="1432" y="6"/>
                  </a:cubicBezTo>
                  <a:close/>
                  <a:moveTo>
                    <a:pt x="1371" y="6"/>
                  </a:moveTo>
                  <a:lnTo>
                    <a:pt x="1335" y="5"/>
                  </a:lnTo>
                  <a:cubicBezTo>
                    <a:pt x="1334" y="5"/>
                    <a:pt x="1332" y="4"/>
                    <a:pt x="1332" y="3"/>
                  </a:cubicBezTo>
                  <a:cubicBezTo>
                    <a:pt x="1332" y="1"/>
                    <a:pt x="1334" y="0"/>
                    <a:pt x="1335" y="0"/>
                  </a:cubicBezTo>
                  <a:lnTo>
                    <a:pt x="1371" y="1"/>
                  </a:lnTo>
                  <a:cubicBezTo>
                    <a:pt x="1372" y="1"/>
                    <a:pt x="1373" y="2"/>
                    <a:pt x="1373" y="3"/>
                  </a:cubicBezTo>
                  <a:cubicBezTo>
                    <a:pt x="1373" y="5"/>
                    <a:pt x="1372" y="6"/>
                    <a:pt x="1371" y="6"/>
                  </a:cubicBezTo>
                  <a:close/>
                  <a:moveTo>
                    <a:pt x="1309" y="5"/>
                  </a:moveTo>
                  <a:lnTo>
                    <a:pt x="1301" y="5"/>
                  </a:lnTo>
                  <a:lnTo>
                    <a:pt x="1274" y="6"/>
                  </a:lnTo>
                  <a:cubicBezTo>
                    <a:pt x="1272" y="6"/>
                    <a:pt x="1271" y="5"/>
                    <a:pt x="1271" y="4"/>
                  </a:cubicBezTo>
                  <a:cubicBezTo>
                    <a:pt x="1271" y="2"/>
                    <a:pt x="1272" y="1"/>
                    <a:pt x="1273" y="1"/>
                  </a:cubicBezTo>
                  <a:lnTo>
                    <a:pt x="1302" y="0"/>
                  </a:lnTo>
                  <a:lnTo>
                    <a:pt x="1309" y="0"/>
                  </a:lnTo>
                  <a:cubicBezTo>
                    <a:pt x="1311" y="0"/>
                    <a:pt x="1312" y="1"/>
                    <a:pt x="1312" y="3"/>
                  </a:cubicBezTo>
                  <a:cubicBezTo>
                    <a:pt x="1312" y="4"/>
                    <a:pt x="1311" y="5"/>
                    <a:pt x="1309" y="5"/>
                  </a:cubicBezTo>
                  <a:close/>
                  <a:moveTo>
                    <a:pt x="1248" y="7"/>
                  </a:moveTo>
                  <a:lnTo>
                    <a:pt x="1212" y="9"/>
                  </a:lnTo>
                  <a:cubicBezTo>
                    <a:pt x="1211" y="9"/>
                    <a:pt x="1210" y="8"/>
                    <a:pt x="1210" y="7"/>
                  </a:cubicBezTo>
                  <a:cubicBezTo>
                    <a:pt x="1210" y="5"/>
                    <a:pt x="1211" y="4"/>
                    <a:pt x="1212" y="4"/>
                  </a:cubicBezTo>
                  <a:lnTo>
                    <a:pt x="1248" y="2"/>
                  </a:lnTo>
                  <a:cubicBezTo>
                    <a:pt x="1249" y="2"/>
                    <a:pt x="1250" y="3"/>
                    <a:pt x="1251" y="5"/>
                  </a:cubicBezTo>
                  <a:cubicBezTo>
                    <a:pt x="1251" y="6"/>
                    <a:pt x="1250" y="7"/>
                    <a:pt x="1248" y="7"/>
                  </a:cubicBezTo>
                  <a:close/>
                  <a:moveTo>
                    <a:pt x="1187" y="10"/>
                  </a:moveTo>
                  <a:lnTo>
                    <a:pt x="1151" y="12"/>
                  </a:lnTo>
                  <a:cubicBezTo>
                    <a:pt x="1150" y="12"/>
                    <a:pt x="1148" y="11"/>
                    <a:pt x="1148" y="9"/>
                  </a:cubicBezTo>
                  <a:cubicBezTo>
                    <a:pt x="1148" y="8"/>
                    <a:pt x="1149" y="7"/>
                    <a:pt x="1151" y="7"/>
                  </a:cubicBezTo>
                  <a:lnTo>
                    <a:pt x="1186" y="5"/>
                  </a:lnTo>
                  <a:cubicBezTo>
                    <a:pt x="1188" y="5"/>
                    <a:pt x="1189" y="6"/>
                    <a:pt x="1189" y="7"/>
                  </a:cubicBezTo>
                  <a:cubicBezTo>
                    <a:pt x="1189" y="9"/>
                    <a:pt x="1188" y="10"/>
                    <a:pt x="1187" y="10"/>
                  </a:cubicBezTo>
                  <a:close/>
                  <a:moveTo>
                    <a:pt x="1125" y="13"/>
                  </a:moveTo>
                  <a:lnTo>
                    <a:pt x="1090" y="15"/>
                  </a:lnTo>
                  <a:cubicBezTo>
                    <a:pt x="1088" y="15"/>
                    <a:pt x="1087" y="13"/>
                    <a:pt x="1087" y="12"/>
                  </a:cubicBezTo>
                  <a:cubicBezTo>
                    <a:pt x="1087" y="11"/>
                    <a:pt x="1088" y="9"/>
                    <a:pt x="1089" y="9"/>
                  </a:cubicBezTo>
                  <a:lnTo>
                    <a:pt x="1125" y="8"/>
                  </a:lnTo>
                  <a:cubicBezTo>
                    <a:pt x="1127" y="8"/>
                    <a:pt x="1128" y="9"/>
                    <a:pt x="1128" y="10"/>
                  </a:cubicBezTo>
                  <a:cubicBezTo>
                    <a:pt x="1128" y="12"/>
                    <a:pt x="1127" y="13"/>
                    <a:pt x="1125" y="13"/>
                  </a:cubicBezTo>
                  <a:close/>
                  <a:moveTo>
                    <a:pt x="1064" y="16"/>
                  </a:moveTo>
                  <a:lnTo>
                    <a:pt x="1034" y="17"/>
                  </a:lnTo>
                  <a:lnTo>
                    <a:pt x="1028" y="18"/>
                  </a:lnTo>
                  <a:cubicBezTo>
                    <a:pt x="1027" y="18"/>
                    <a:pt x="1026" y="17"/>
                    <a:pt x="1026" y="15"/>
                  </a:cubicBezTo>
                  <a:cubicBezTo>
                    <a:pt x="1025" y="14"/>
                    <a:pt x="1026" y="13"/>
                    <a:pt x="1028" y="12"/>
                  </a:cubicBezTo>
                  <a:lnTo>
                    <a:pt x="1033" y="12"/>
                  </a:lnTo>
                  <a:lnTo>
                    <a:pt x="1064" y="11"/>
                  </a:lnTo>
                  <a:cubicBezTo>
                    <a:pt x="1065" y="10"/>
                    <a:pt x="1066" y="12"/>
                    <a:pt x="1066" y="13"/>
                  </a:cubicBezTo>
                  <a:cubicBezTo>
                    <a:pt x="1066" y="14"/>
                    <a:pt x="1065" y="16"/>
                    <a:pt x="1064" y="16"/>
                  </a:cubicBezTo>
                  <a:close/>
                  <a:moveTo>
                    <a:pt x="1003" y="20"/>
                  </a:moveTo>
                  <a:lnTo>
                    <a:pt x="967" y="24"/>
                  </a:lnTo>
                  <a:cubicBezTo>
                    <a:pt x="966" y="24"/>
                    <a:pt x="965" y="23"/>
                    <a:pt x="964" y="21"/>
                  </a:cubicBezTo>
                  <a:cubicBezTo>
                    <a:pt x="964" y="20"/>
                    <a:pt x="965" y="19"/>
                    <a:pt x="967" y="19"/>
                  </a:cubicBezTo>
                  <a:lnTo>
                    <a:pt x="1002" y="15"/>
                  </a:lnTo>
                  <a:cubicBezTo>
                    <a:pt x="1004" y="15"/>
                    <a:pt x="1005" y="16"/>
                    <a:pt x="1005" y="17"/>
                  </a:cubicBezTo>
                  <a:cubicBezTo>
                    <a:pt x="1005" y="19"/>
                    <a:pt x="1004" y="20"/>
                    <a:pt x="1003" y="20"/>
                  </a:cubicBezTo>
                  <a:close/>
                  <a:moveTo>
                    <a:pt x="942" y="26"/>
                  </a:moveTo>
                  <a:lnTo>
                    <a:pt x="906" y="30"/>
                  </a:lnTo>
                  <a:cubicBezTo>
                    <a:pt x="905" y="30"/>
                    <a:pt x="903" y="29"/>
                    <a:pt x="903" y="28"/>
                  </a:cubicBezTo>
                  <a:cubicBezTo>
                    <a:pt x="903" y="26"/>
                    <a:pt x="904" y="25"/>
                    <a:pt x="906" y="25"/>
                  </a:cubicBezTo>
                  <a:lnTo>
                    <a:pt x="941" y="21"/>
                  </a:lnTo>
                  <a:cubicBezTo>
                    <a:pt x="943" y="21"/>
                    <a:pt x="944" y="22"/>
                    <a:pt x="944" y="24"/>
                  </a:cubicBezTo>
                  <a:cubicBezTo>
                    <a:pt x="944" y="25"/>
                    <a:pt x="943" y="26"/>
                    <a:pt x="942" y="26"/>
                  </a:cubicBezTo>
                  <a:close/>
                  <a:moveTo>
                    <a:pt x="881" y="32"/>
                  </a:moveTo>
                  <a:lnTo>
                    <a:pt x="845" y="36"/>
                  </a:lnTo>
                  <a:cubicBezTo>
                    <a:pt x="844" y="36"/>
                    <a:pt x="842" y="35"/>
                    <a:pt x="842" y="34"/>
                  </a:cubicBezTo>
                  <a:cubicBezTo>
                    <a:pt x="842" y="32"/>
                    <a:pt x="843" y="31"/>
                    <a:pt x="844" y="31"/>
                  </a:cubicBezTo>
                  <a:lnTo>
                    <a:pt x="880" y="27"/>
                  </a:lnTo>
                  <a:cubicBezTo>
                    <a:pt x="882" y="27"/>
                    <a:pt x="883" y="28"/>
                    <a:pt x="883" y="30"/>
                  </a:cubicBezTo>
                  <a:cubicBezTo>
                    <a:pt x="883" y="31"/>
                    <a:pt x="882" y="32"/>
                    <a:pt x="881" y="32"/>
                  </a:cubicBezTo>
                  <a:close/>
                  <a:moveTo>
                    <a:pt x="820" y="39"/>
                  </a:moveTo>
                  <a:lnTo>
                    <a:pt x="784" y="42"/>
                  </a:lnTo>
                  <a:cubicBezTo>
                    <a:pt x="782" y="42"/>
                    <a:pt x="781" y="41"/>
                    <a:pt x="781" y="40"/>
                  </a:cubicBezTo>
                  <a:cubicBezTo>
                    <a:pt x="781" y="39"/>
                    <a:pt x="782" y="37"/>
                    <a:pt x="783" y="37"/>
                  </a:cubicBezTo>
                  <a:lnTo>
                    <a:pt x="819" y="34"/>
                  </a:lnTo>
                  <a:cubicBezTo>
                    <a:pt x="820" y="33"/>
                    <a:pt x="822" y="34"/>
                    <a:pt x="822" y="36"/>
                  </a:cubicBezTo>
                  <a:cubicBezTo>
                    <a:pt x="822" y="37"/>
                    <a:pt x="821" y="39"/>
                    <a:pt x="820" y="39"/>
                  </a:cubicBezTo>
                  <a:close/>
                  <a:moveTo>
                    <a:pt x="759" y="45"/>
                  </a:moveTo>
                  <a:lnTo>
                    <a:pt x="723" y="51"/>
                  </a:lnTo>
                  <a:cubicBezTo>
                    <a:pt x="722" y="51"/>
                    <a:pt x="720" y="50"/>
                    <a:pt x="720" y="49"/>
                  </a:cubicBezTo>
                  <a:cubicBezTo>
                    <a:pt x="720" y="47"/>
                    <a:pt x="721" y="46"/>
                    <a:pt x="722" y="46"/>
                  </a:cubicBezTo>
                  <a:lnTo>
                    <a:pt x="758" y="40"/>
                  </a:lnTo>
                  <a:cubicBezTo>
                    <a:pt x="759" y="40"/>
                    <a:pt x="760" y="41"/>
                    <a:pt x="761" y="42"/>
                  </a:cubicBezTo>
                  <a:cubicBezTo>
                    <a:pt x="761" y="44"/>
                    <a:pt x="760" y="45"/>
                    <a:pt x="759" y="45"/>
                  </a:cubicBezTo>
                  <a:close/>
                  <a:moveTo>
                    <a:pt x="698" y="55"/>
                  </a:moveTo>
                  <a:lnTo>
                    <a:pt x="662" y="60"/>
                  </a:lnTo>
                  <a:cubicBezTo>
                    <a:pt x="661" y="60"/>
                    <a:pt x="660" y="59"/>
                    <a:pt x="660" y="58"/>
                  </a:cubicBezTo>
                  <a:cubicBezTo>
                    <a:pt x="659" y="57"/>
                    <a:pt x="660" y="55"/>
                    <a:pt x="662" y="55"/>
                  </a:cubicBezTo>
                  <a:lnTo>
                    <a:pt x="697" y="50"/>
                  </a:lnTo>
                  <a:cubicBezTo>
                    <a:pt x="698" y="49"/>
                    <a:pt x="700" y="50"/>
                    <a:pt x="700" y="52"/>
                  </a:cubicBezTo>
                  <a:cubicBezTo>
                    <a:pt x="700" y="53"/>
                    <a:pt x="699" y="54"/>
                    <a:pt x="698" y="55"/>
                  </a:cubicBezTo>
                  <a:close/>
                  <a:moveTo>
                    <a:pt x="637" y="64"/>
                  </a:moveTo>
                  <a:lnTo>
                    <a:pt x="602" y="70"/>
                  </a:lnTo>
                  <a:cubicBezTo>
                    <a:pt x="600" y="70"/>
                    <a:pt x="599" y="69"/>
                    <a:pt x="599" y="67"/>
                  </a:cubicBezTo>
                  <a:cubicBezTo>
                    <a:pt x="599" y="66"/>
                    <a:pt x="600" y="65"/>
                    <a:pt x="601" y="64"/>
                  </a:cubicBezTo>
                  <a:lnTo>
                    <a:pt x="636" y="59"/>
                  </a:lnTo>
                  <a:cubicBezTo>
                    <a:pt x="638" y="59"/>
                    <a:pt x="639" y="60"/>
                    <a:pt x="639" y="61"/>
                  </a:cubicBezTo>
                  <a:cubicBezTo>
                    <a:pt x="640" y="63"/>
                    <a:pt x="639" y="64"/>
                    <a:pt x="637" y="64"/>
                  </a:cubicBezTo>
                  <a:close/>
                  <a:moveTo>
                    <a:pt x="576" y="73"/>
                  </a:moveTo>
                  <a:lnTo>
                    <a:pt x="541" y="79"/>
                  </a:lnTo>
                  <a:cubicBezTo>
                    <a:pt x="540" y="79"/>
                    <a:pt x="538" y="78"/>
                    <a:pt x="538" y="77"/>
                  </a:cubicBezTo>
                  <a:cubicBezTo>
                    <a:pt x="538" y="75"/>
                    <a:pt x="539" y="74"/>
                    <a:pt x="540" y="74"/>
                  </a:cubicBezTo>
                  <a:lnTo>
                    <a:pt x="576" y="68"/>
                  </a:lnTo>
                  <a:cubicBezTo>
                    <a:pt x="577" y="68"/>
                    <a:pt x="578" y="69"/>
                    <a:pt x="579" y="71"/>
                  </a:cubicBezTo>
                  <a:cubicBezTo>
                    <a:pt x="579" y="72"/>
                    <a:pt x="578" y="73"/>
                    <a:pt x="576" y="73"/>
                  </a:cubicBezTo>
                  <a:close/>
                  <a:moveTo>
                    <a:pt x="516" y="83"/>
                  </a:moveTo>
                  <a:lnTo>
                    <a:pt x="502" y="85"/>
                  </a:lnTo>
                  <a:lnTo>
                    <a:pt x="481" y="90"/>
                  </a:lnTo>
                  <a:cubicBezTo>
                    <a:pt x="479" y="90"/>
                    <a:pt x="478" y="89"/>
                    <a:pt x="478" y="88"/>
                  </a:cubicBezTo>
                  <a:cubicBezTo>
                    <a:pt x="477" y="86"/>
                    <a:pt x="478" y="85"/>
                    <a:pt x="480" y="85"/>
                  </a:cubicBezTo>
                  <a:lnTo>
                    <a:pt x="501" y="80"/>
                  </a:lnTo>
                  <a:lnTo>
                    <a:pt x="515" y="78"/>
                  </a:lnTo>
                  <a:cubicBezTo>
                    <a:pt x="516" y="78"/>
                    <a:pt x="518" y="79"/>
                    <a:pt x="518" y="80"/>
                  </a:cubicBezTo>
                  <a:cubicBezTo>
                    <a:pt x="518" y="81"/>
                    <a:pt x="517" y="83"/>
                    <a:pt x="516" y="83"/>
                  </a:cubicBezTo>
                  <a:close/>
                  <a:moveTo>
                    <a:pt x="456" y="95"/>
                  </a:moveTo>
                  <a:lnTo>
                    <a:pt x="421" y="102"/>
                  </a:lnTo>
                  <a:cubicBezTo>
                    <a:pt x="419" y="103"/>
                    <a:pt x="418" y="102"/>
                    <a:pt x="418" y="100"/>
                  </a:cubicBezTo>
                  <a:cubicBezTo>
                    <a:pt x="417" y="99"/>
                    <a:pt x="418" y="98"/>
                    <a:pt x="420" y="97"/>
                  </a:cubicBezTo>
                  <a:lnTo>
                    <a:pt x="455" y="90"/>
                  </a:lnTo>
                  <a:cubicBezTo>
                    <a:pt x="456" y="90"/>
                    <a:pt x="457" y="90"/>
                    <a:pt x="458" y="92"/>
                  </a:cubicBezTo>
                  <a:cubicBezTo>
                    <a:pt x="458" y="93"/>
                    <a:pt x="457" y="95"/>
                    <a:pt x="456" y="95"/>
                  </a:cubicBezTo>
                  <a:close/>
                  <a:moveTo>
                    <a:pt x="396" y="108"/>
                  </a:moveTo>
                  <a:lnTo>
                    <a:pt x="361" y="115"/>
                  </a:lnTo>
                  <a:cubicBezTo>
                    <a:pt x="359" y="116"/>
                    <a:pt x="358" y="115"/>
                    <a:pt x="357" y="113"/>
                  </a:cubicBezTo>
                  <a:cubicBezTo>
                    <a:pt x="357" y="112"/>
                    <a:pt x="358" y="111"/>
                    <a:pt x="359" y="110"/>
                  </a:cubicBezTo>
                  <a:lnTo>
                    <a:pt x="395" y="103"/>
                  </a:lnTo>
                  <a:cubicBezTo>
                    <a:pt x="396" y="102"/>
                    <a:pt x="397" y="103"/>
                    <a:pt x="398" y="105"/>
                  </a:cubicBezTo>
                  <a:cubicBezTo>
                    <a:pt x="398" y="106"/>
                    <a:pt x="397" y="107"/>
                    <a:pt x="396" y="108"/>
                  </a:cubicBezTo>
                  <a:close/>
                  <a:moveTo>
                    <a:pt x="335" y="121"/>
                  </a:moveTo>
                  <a:lnTo>
                    <a:pt x="300" y="128"/>
                  </a:lnTo>
                  <a:cubicBezTo>
                    <a:pt x="299" y="128"/>
                    <a:pt x="298" y="127"/>
                    <a:pt x="297" y="126"/>
                  </a:cubicBezTo>
                  <a:cubicBezTo>
                    <a:pt x="297" y="125"/>
                    <a:pt x="298" y="123"/>
                    <a:pt x="299" y="123"/>
                  </a:cubicBezTo>
                  <a:lnTo>
                    <a:pt x="334" y="116"/>
                  </a:lnTo>
                  <a:cubicBezTo>
                    <a:pt x="336" y="115"/>
                    <a:pt x="337" y="116"/>
                    <a:pt x="337" y="118"/>
                  </a:cubicBezTo>
                  <a:cubicBezTo>
                    <a:pt x="338" y="119"/>
                    <a:pt x="337" y="120"/>
                    <a:pt x="335" y="121"/>
                  </a:cubicBezTo>
                  <a:close/>
                  <a:moveTo>
                    <a:pt x="275" y="133"/>
                  </a:moveTo>
                  <a:lnTo>
                    <a:pt x="240" y="141"/>
                  </a:lnTo>
                  <a:cubicBezTo>
                    <a:pt x="239" y="141"/>
                    <a:pt x="238" y="140"/>
                    <a:pt x="237" y="139"/>
                  </a:cubicBezTo>
                  <a:cubicBezTo>
                    <a:pt x="237" y="138"/>
                    <a:pt x="238" y="136"/>
                    <a:pt x="239" y="136"/>
                  </a:cubicBezTo>
                  <a:lnTo>
                    <a:pt x="274" y="128"/>
                  </a:lnTo>
                  <a:cubicBezTo>
                    <a:pt x="276" y="128"/>
                    <a:pt x="277" y="129"/>
                    <a:pt x="277" y="130"/>
                  </a:cubicBezTo>
                  <a:cubicBezTo>
                    <a:pt x="278" y="132"/>
                    <a:pt x="277" y="133"/>
                    <a:pt x="275" y="133"/>
                  </a:cubicBezTo>
                  <a:close/>
                  <a:moveTo>
                    <a:pt x="216" y="148"/>
                  </a:moveTo>
                  <a:lnTo>
                    <a:pt x="181" y="157"/>
                  </a:lnTo>
                  <a:cubicBezTo>
                    <a:pt x="180" y="157"/>
                    <a:pt x="178" y="157"/>
                    <a:pt x="178" y="155"/>
                  </a:cubicBezTo>
                  <a:cubicBezTo>
                    <a:pt x="178" y="154"/>
                    <a:pt x="179" y="152"/>
                    <a:pt x="180" y="152"/>
                  </a:cubicBezTo>
                  <a:lnTo>
                    <a:pt x="214" y="143"/>
                  </a:lnTo>
                  <a:cubicBezTo>
                    <a:pt x="216" y="142"/>
                    <a:pt x="217" y="143"/>
                    <a:pt x="218" y="144"/>
                  </a:cubicBezTo>
                  <a:cubicBezTo>
                    <a:pt x="218" y="146"/>
                    <a:pt x="217" y="147"/>
                    <a:pt x="216" y="148"/>
                  </a:cubicBezTo>
                  <a:close/>
                  <a:moveTo>
                    <a:pt x="157" y="164"/>
                  </a:moveTo>
                  <a:lnTo>
                    <a:pt x="122" y="173"/>
                  </a:lnTo>
                  <a:cubicBezTo>
                    <a:pt x="121" y="174"/>
                    <a:pt x="119" y="173"/>
                    <a:pt x="119" y="171"/>
                  </a:cubicBezTo>
                  <a:cubicBezTo>
                    <a:pt x="118" y="170"/>
                    <a:pt x="119" y="169"/>
                    <a:pt x="121" y="168"/>
                  </a:cubicBezTo>
                  <a:lnTo>
                    <a:pt x="155" y="159"/>
                  </a:lnTo>
                  <a:cubicBezTo>
                    <a:pt x="157" y="158"/>
                    <a:pt x="158" y="159"/>
                    <a:pt x="158" y="161"/>
                  </a:cubicBezTo>
                  <a:cubicBezTo>
                    <a:pt x="159" y="162"/>
                    <a:pt x="158" y="163"/>
                    <a:pt x="157" y="164"/>
                  </a:cubicBezTo>
                  <a:close/>
                  <a:moveTo>
                    <a:pt x="97" y="180"/>
                  </a:moveTo>
                  <a:lnTo>
                    <a:pt x="63" y="189"/>
                  </a:lnTo>
                  <a:cubicBezTo>
                    <a:pt x="61" y="190"/>
                    <a:pt x="60" y="189"/>
                    <a:pt x="60" y="188"/>
                  </a:cubicBezTo>
                  <a:cubicBezTo>
                    <a:pt x="59" y="186"/>
                    <a:pt x="60" y="185"/>
                    <a:pt x="61" y="184"/>
                  </a:cubicBezTo>
                  <a:lnTo>
                    <a:pt x="96" y="175"/>
                  </a:lnTo>
                  <a:cubicBezTo>
                    <a:pt x="97" y="175"/>
                    <a:pt x="99" y="175"/>
                    <a:pt x="99" y="177"/>
                  </a:cubicBezTo>
                  <a:cubicBezTo>
                    <a:pt x="99" y="178"/>
                    <a:pt x="99" y="180"/>
                    <a:pt x="97" y="180"/>
                  </a:cubicBezTo>
                  <a:close/>
                  <a:moveTo>
                    <a:pt x="38" y="196"/>
                  </a:moveTo>
                  <a:lnTo>
                    <a:pt x="3" y="206"/>
                  </a:lnTo>
                  <a:cubicBezTo>
                    <a:pt x="2" y="206"/>
                    <a:pt x="1" y="205"/>
                    <a:pt x="0" y="204"/>
                  </a:cubicBezTo>
                  <a:cubicBezTo>
                    <a:pt x="0" y="202"/>
                    <a:pt x="1" y="201"/>
                    <a:pt x="2" y="201"/>
                  </a:cubicBezTo>
                  <a:lnTo>
                    <a:pt x="37" y="191"/>
                  </a:lnTo>
                  <a:cubicBezTo>
                    <a:pt x="38" y="191"/>
                    <a:pt x="39" y="192"/>
                    <a:pt x="40" y="193"/>
                  </a:cubicBezTo>
                  <a:cubicBezTo>
                    <a:pt x="40" y="194"/>
                    <a:pt x="39" y="196"/>
                    <a:pt x="38" y="196"/>
                  </a:cubicBezTo>
                  <a:close/>
                </a:path>
              </a:pathLst>
            </a:custGeom>
            <a:solidFill>
              <a:srgbClr val="0000CC"/>
            </a:solidFill>
            <a:ln w="0" cap="flat">
              <a:solidFill>
                <a:srgbClr val="0000C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98">
              <a:extLst>
                <a:ext uri="{FF2B5EF4-FFF2-40B4-BE49-F238E27FC236}">
                  <a16:creationId xmlns:a16="http://schemas.microsoft.com/office/drawing/2014/main" id="{07C8E397-A950-4484-8915-D955085872E7}"/>
                </a:ext>
              </a:extLst>
            </p:cNvPr>
            <p:cNvSpPr>
              <a:spLocks/>
            </p:cNvSpPr>
            <p:nvPr/>
          </p:nvSpPr>
          <p:spPr bwMode="auto">
            <a:xfrm>
              <a:off x="4963" y="2813"/>
              <a:ext cx="58" cy="51"/>
            </a:xfrm>
            <a:custGeom>
              <a:avLst/>
              <a:gdLst>
                <a:gd name="T0" fmla="*/ 58 w 58"/>
                <a:gd name="T1" fmla="*/ 51 h 51"/>
                <a:gd name="T2" fmla="*/ 0 w 58"/>
                <a:gd name="T3" fmla="*/ 41 h 51"/>
                <a:gd name="T4" fmla="*/ 42 w 58"/>
                <a:gd name="T5" fmla="*/ 0 h 51"/>
                <a:gd name="T6" fmla="*/ 58 w 58"/>
                <a:gd name="T7" fmla="*/ 51 h 51"/>
              </a:gdLst>
              <a:ahLst/>
              <a:cxnLst>
                <a:cxn ang="0">
                  <a:pos x="T0" y="T1"/>
                </a:cxn>
                <a:cxn ang="0">
                  <a:pos x="T2" y="T3"/>
                </a:cxn>
                <a:cxn ang="0">
                  <a:pos x="T4" y="T5"/>
                </a:cxn>
                <a:cxn ang="0">
                  <a:pos x="T6" y="T7"/>
                </a:cxn>
              </a:cxnLst>
              <a:rect l="0" t="0" r="r" b="b"/>
              <a:pathLst>
                <a:path w="58" h="51">
                  <a:moveTo>
                    <a:pt x="58" y="51"/>
                  </a:moveTo>
                  <a:lnTo>
                    <a:pt x="0" y="41"/>
                  </a:lnTo>
                  <a:lnTo>
                    <a:pt x="42" y="0"/>
                  </a:lnTo>
                  <a:lnTo>
                    <a:pt x="58" y="51"/>
                  </a:lnTo>
                  <a:close/>
                </a:path>
              </a:pathLst>
            </a:custGeom>
            <a:solidFill>
              <a:srgbClr val="000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99">
              <a:extLst>
                <a:ext uri="{FF2B5EF4-FFF2-40B4-BE49-F238E27FC236}">
                  <a16:creationId xmlns:a16="http://schemas.microsoft.com/office/drawing/2014/main" id="{765B1CEB-3815-4C32-9BD8-A8CCF5A6F395}"/>
                </a:ext>
              </a:extLst>
            </p:cNvPr>
            <p:cNvSpPr>
              <a:spLocks noChangeArrowheads="1"/>
            </p:cNvSpPr>
            <p:nvPr/>
          </p:nvSpPr>
          <p:spPr bwMode="auto">
            <a:xfrm>
              <a:off x="5240" y="2652"/>
              <a:ext cx="405" cy="2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0A3C9BEF-5875-486F-84C2-DEA455A1EB68}"/>
                </a:ext>
              </a:extLst>
            </p:cNvPr>
            <p:cNvSpPr>
              <a:spLocks noEditPoints="1"/>
            </p:cNvSpPr>
            <p:nvPr/>
          </p:nvSpPr>
          <p:spPr bwMode="auto">
            <a:xfrm>
              <a:off x="5244" y="2664"/>
              <a:ext cx="400" cy="50"/>
            </a:xfrm>
            <a:custGeom>
              <a:avLst/>
              <a:gdLst>
                <a:gd name="T0" fmla="*/ 48 w 893"/>
                <a:gd name="T1" fmla="*/ 50 h 110"/>
                <a:gd name="T2" fmla="*/ 0 w 893"/>
                <a:gd name="T3" fmla="*/ 86 h 110"/>
                <a:gd name="T4" fmla="*/ 11 w 893"/>
                <a:gd name="T5" fmla="*/ 40 h 110"/>
                <a:gd name="T6" fmla="*/ 58 w 893"/>
                <a:gd name="T7" fmla="*/ 8 h 110"/>
                <a:gd name="T8" fmla="*/ 104 w 893"/>
                <a:gd name="T9" fmla="*/ 86 h 110"/>
                <a:gd name="T10" fmla="*/ 111 w 893"/>
                <a:gd name="T11" fmla="*/ 53 h 110"/>
                <a:gd name="T12" fmla="*/ 79 w 893"/>
                <a:gd name="T13" fmla="*/ 40 h 110"/>
                <a:gd name="T14" fmla="*/ 109 w 893"/>
                <a:gd name="T15" fmla="*/ 28 h 110"/>
                <a:gd name="T16" fmla="*/ 86 w 893"/>
                <a:gd name="T17" fmla="*/ 71 h 110"/>
                <a:gd name="T18" fmla="*/ 186 w 893"/>
                <a:gd name="T19" fmla="*/ 88 h 110"/>
                <a:gd name="T20" fmla="*/ 161 w 893"/>
                <a:gd name="T21" fmla="*/ 38 h 110"/>
                <a:gd name="T22" fmla="*/ 143 w 893"/>
                <a:gd name="T23" fmla="*/ 86 h 110"/>
                <a:gd name="T24" fmla="*/ 152 w 893"/>
                <a:gd name="T25" fmla="*/ 37 h 110"/>
                <a:gd name="T26" fmla="*/ 254 w 893"/>
                <a:gd name="T27" fmla="*/ 87 h 110"/>
                <a:gd name="T28" fmla="*/ 216 w 893"/>
                <a:gd name="T29" fmla="*/ 86 h 110"/>
                <a:gd name="T30" fmla="*/ 245 w 893"/>
                <a:gd name="T31" fmla="*/ 2 h 110"/>
                <a:gd name="T32" fmla="*/ 245 w 893"/>
                <a:gd name="T33" fmla="*/ 46 h 110"/>
                <a:gd name="T34" fmla="*/ 228 w 893"/>
                <a:gd name="T35" fmla="*/ 80 h 110"/>
                <a:gd name="T36" fmla="*/ 276 w 893"/>
                <a:gd name="T37" fmla="*/ 88 h 110"/>
                <a:gd name="T38" fmla="*/ 278 w 893"/>
                <a:gd name="T39" fmla="*/ 0 h 110"/>
                <a:gd name="T40" fmla="*/ 314 w 893"/>
                <a:gd name="T41" fmla="*/ 74 h 110"/>
                <a:gd name="T42" fmla="*/ 348 w 893"/>
                <a:gd name="T43" fmla="*/ 80 h 110"/>
                <a:gd name="T44" fmla="*/ 306 w 893"/>
                <a:gd name="T45" fmla="*/ 81 h 110"/>
                <a:gd name="T46" fmla="*/ 351 w 893"/>
                <a:gd name="T47" fmla="*/ 53 h 110"/>
                <a:gd name="T48" fmla="*/ 411 w 893"/>
                <a:gd name="T49" fmla="*/ 86 h 110"/>
                <a:gd name="T50" fmla="*/ 400 w 893"/>
                <a:gd name="T51" fmla="*/ 7 h 110"/>
                <a:gd name="T52" fmla="*/ 479 w 893"/>
                <a:gd name="T53" fmla="*/ 86 h 110"/>
                <a:gd name="T54" fmla="*/ 466 w 893"/>
                <a:gd name="T55" fmla="*/ 40 h 110"/>
                <a:gd name="T56" fmla="*/ 433 w 893"/>
                <a:gd name="T57" fmla="*/ 87 h 110"/>
                <a:gd name="T58" fmla="*/ 439 w 893"/>
                <a:gd name="T59" fmla="*/ 28 h 110"/>
                <a:gd name="T60" fmla="*/ 479 w 893"/>
                <a:gd name="T61" fmla="*/ 86 h 110"/>
                <a:gd name="T62" fmla="*/ 514 w 893"/>
                <a:gd name="T63" fmla="*/ 88 h 110"/>
                <a:gd name="T64" fmla="*/ 488 w 893"/>
                <a:gd name="T65" fmla="*/ 28 h 110"/>
                <a:gd name="T66" fmla="*/ 530 w 893"/>
                <a:gd name="T67" fmla="*/ 29 h 110"/>
                <a:gd name="T68" fmla="*/ 606 w 893"/>
                <a:gd name="T69" fmla="*/ 59 h 110"/>
                <a:gd name="T70" fmla="*/ 603 w 893"/>
                <a:gd name="T71" fmla="*/ 76 h 110"/>
                <a:gd name="T72" fmla="*/ 597 w 893"/>
                <a:gd name="T73" fmla="*/ 86 h 110"/>
                <a:gd name="T74" fmla="*/ 582 w 893"/>
                <a:gd name="T75" fmla="*/ 27 h 110"/>
                <a:gd name="T76" fmla="*/ 570 w 893"/>
                <a:gd name="T77" fmla="*/ 40 h 110"/>
                <a:gd name="T78" fmla="*/ 662 w 893"/>
                <a:gd name="T79" fmla="*/ 87 h 110"/>
                <a:gd name="T80" fmla="*/ 633 w 893"/>
                <a:gd name="T81" fmla="*/ 86 h 110"/>
                <a:gd name="T82" fmla="*/ 623 w 893"/>
                <a:gd name="T83" fmla="*/ 29 h 110"/>
                <a:gd name="T84" fmla="*/ 651 w 893"/>
                <a:gd name="T85" fmla="*/ 27 h 110"/>
                <a:gd name="T86" fmla="*/ 711 w 893"/>
                <a:gd name="T87" fmla="*/ 88 h 110"/>
                <a:gd name="T88" fmla="*/ 679 w 893"/>
                <a:gd name="T89" fmla="*/ 32 h 110"/>
                <a:gd name="T90" fmla="*/ 694 w 893"/>
                <a:gd name="T91" fmla="*/ 12 h 110"/>
                <a:gd name="T92" fmla="*/ 716 w 893"/>
                <a:gd name="T93" fmla="*/ 32 h 110"/>
                <a:gd name="T94" fmla="*/ 715 w 893"/>
                <a:gd name="T95" fmla="*/ 78 h 110"/>
                <a:gd name="T96" fmla="*/ 746 w 893"/>
                <a:gd name="T97" fmla="*/ 86 h 110"/>
                <a:gd name="T98" fmla="*/ 785 w 893"/>
                <a:gd name="T99" fmla="*/ 44 h 110"/>
                <a:gd name="T100" fmla="*/ 742 w 893"/>
                <a:gd name="T101" fmla="*/ 57 h 110"/>
                <a:gd name="T102" fmla="*/ 832 w 893"/>
                <a:gd name="T103" fmla="*/ 35 h 110"/>
                <a:gd name="T104" fmla="*/ 813 w 893"/>
                <a:gd name="T105" fmla="*/ 43 h 110"/>
                <a:gd name="T106" fmla="*/ 799 w 893"/>
                <a:gd name="T107" fmla="*/ 86 h 110"/>
                <a:gd name="T108" fmla="*/ 808 w 893"/>
                <a:gd name="T109" fmla="*/ 38 h 110"/>
                <a:gd name="T110" fmla="*/ 832 w 893"/>
                <a:gd name="T111" fmla="*/ 29 h 110"/>
                <a:gd name="T112" fmla="*/ 854 w 893"/>
                <a:gd name="T113" fmla="*/ 107 h 110"/>
                <a:gd name="T114" fmla="*/ 849 w 893"/>
                <a:gd name="T115" fmla="*/ 28 h 110"/>
                <a:gd name="T116" fmla="*/ 892 w 893"/>
                <a:gd name="T117" fmla="*/ 2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3" h="110">
                  <a:moveTo>
                    <a:pt x="58" y="86"/>
                  </a:moveTo>
                  <a:cubicBezTo>
                    <a:pt x="58" y="86"/>
                    <a:pt x="58" y="86"/>
                    <a:pt x="58" y="86"/>
                  </a:cubicBezTo>
                  <a:cubicBezTo>
                    <a:pt x="58" y="87"/>
                    <a:pt x="58" y="87"/>
                    <a:pt x="57" y="87"/>
                  </a:cubicBezTo>
                  <a:cubicBezTo>
                    <a:pt x="57" y="87"/>
                    <a:pt x="56" y="87"/>
                    <a:pt x="55" y="87"/>
                  </a:cubicBezTo>
                  <a:cubicBezTo>
                    <a:pt x="55" y="87"/>
                    <a:pt x="54" y="88"/>
                    <a:pt x="53" y="88"/>
                  </a:cubicBezTo>
                  <a:cubicBezTo>
                    <a:pt x="52" y="88"/>
                    <a:pt x="51" y="87"/>
                    <a:pt x="50" y="87"/>
                  </a:cubicBezTo>
                  <a:cubicBezTo>
                    <a:pt x="50" y="87"/>
                    <a:pt x="49" y="87"/>
                    <a:pt x="49" y="87"/>
                  </a:cubicBezTo>
                  <a:cubicBezTo>
                    <a:pt x="48" y="87"/>
                    <a:pt x="48" y="87"/>
                    <a:pt x="48" y="86"/>
                  </a:cubicBezTo>
                  <a:cubicBezTo>
                    <a:pt x="48" y="86"/>
                    <a:pt x="48" y="86"/>
                    <a:pt x="48" y="86"/>
                  </a:cubicBezTo>
                  <a:lnTo>
                    <a:pt x="48" y="50"/>
                  </a:lnTo>
                  <a:lnTo>
                    <a:pt x="11" y="50"/>
                  </a:lnTo>
                  <a:lnTo>
                    <a:pt x="11" y="86"/>
                  </a:lnTo>
                  <a:cubicBezTo>
                    <a:pt x="11" y="86"/>
                    <a:pt x="11" y="86"/>
                    <a:pt x="10" y="86"/>
                  </a:cubicBezTo>
                  <a:cubicBezTo>
                    <a:pt x="10" y="87"/>
                    <a:pt x="10" y="87"/>
                    <a:pt x="10" y="87"/>
                  </a:cubicBezTo>
                  <a:cubicBezTo>
                    <a:pt x="9" y="87"/>
                    <a:pt x="9" y="87"/>
                    <a:pt x="8" y="87"/>
                  </a:cubicBezTo>
                  <a:cubicBezTo>
                    <a:pt x="7" y="87"/>
                    <a:pt x="6" y="88"/>
                    <a:pt x="5" y="88"/>
                  </a:cubicBezTo>
                  <a:cubicBezTo>
                    <a:pt x="4" y="88"/>
                    <a:pt x="4" y="87"/>
                    <a:pt x="3" y="87"/>
                  </a:cubicBezTo>
                  <a:cubicBezTo>
                    <a:pt x="2" y="87"/>
                    <a:pt x="2" y="87"/>
                    <a:pt x="1" y="87"/>
                  </a:cubicBezTo>
                  <a:cubicBezTo>
                    <a:pt x="1" y="87"/>
                    <a:pt x="0" y="87"/>
                    <a:pt x="0" y="86"/>
                  </a:cubicBezTo>
                  <a:cubicBezTo>
                    <a:pt x="0" y="86"/>
                    <a:pt x="0" y="86"/>
                    <a:pt x="0" y="86"/>
                  </a:cubicBezTo>
                  <a:lnTo>
                    <a:pt x="0" y="8"/>
                  </a:lnTo>
                  <a:cubicBezTo>
                    <a:pt x="0" y="8"/>
                    <a:pt x="0" y="7"/>
                    <a:pt x="0" y="7"/>
                  </a:cubicBezTo>
                  <a:cubicBezTo>
                    <a:pt x="0" y="7"/>
                    <a:pt x="1" y="7"/>
                    <a:pt x="1" y="6"/>
                  </a:cubicBezTo>
                  <a:cubicBezTo>
                    <a:pt x="2" y="6"/>
                    <a:pt x="2" y="6"/>
                    <a:pt x="3" y="6"/>
                  </a:cubicBezTo>
                  <a:cubicBezTo>
                    <a:pt x="4" y="6"/>
                    <a:pt x="4" y="6"/>
                    <a:pt x="5" y="6"/>
                  </a:cubicBezTo>
                  <a:cubicBezTo>
                    <a:pt x="6" y="6"/>
                    <a:pt x="7" y="6"/>
                    <a:pt x="8" y="6"/>
                  </a:cubicBezTo>
                  <a:cubicBezTo>
                    <a:pt x="9" y="6"/>
                    <a:pt x="9" y="6"/>
                    <a:pt x="10" y="6"/>
                  </a:cubicBezTo>
                  <a:cubicBezTo>
                    <a:pt x="10" y="7"/>
                    <a:pt x="10" y="7"/>
                    <a:pt x="10" y="7"/>
                  </a:cubicBezTo>
                  <a:cubicBezTo>
                    <a:pt x="11" y="7"/>
                    <a:pt x="11" y="8"/>
                    <a:pt x="11" y="8"/>
                  </a:cubicBezTo>
                  <a:lnTo>
                    <a:pt x="11" y="40"/>
                  </a:lnTo>
                  <a:lnTo>
                    <a:pt x="48" y="40"/>
                  </a:lnTo>
                  <a:lnTo>
                    <a:pt x="48" y="8"/>
                  </a:lnTo>
                  <a:cubicBezTo>
                    <a:pt x="48" y="8"/>
                    <a:pt x="48" y="7"/>
                    <a:pt x="48" y="7"/>
                  </a:cubicBezTo>
                  <a:cubicBezTo>
                    <a:pt x="48" y="7"/>
                    <a:pt x="48" y="7"/>
                    <a:pt x="49" y="6"/>
                  </a:cubicBezTo>
                  <a:cubicBezTo>
                    <a:pt x="49" y="6"/>
                    <a:pt x="50" y="6"/>
                    <a:pt x="50" y="6"/>
                  </a:cubicBezTo>
                  <a:cubicBezTo>
                    <a:pt x="51" y="6"/>
                    <a:pt x="52" y="6"/>
                    <a:pt x="53" y="6"/>
                  </a:cubicBezTo>
                  <a:cubicBezTo>
                    <a:pt x="54" y="6"/>
                    <a:pt x="55" y="6"/>
                    <a:pt x="55" y="6"/>
                  </a:cubicBezTo>
                  <a:cubicBezTo>
                    <a:pt x="56" y="6"/>
                    <a:pt x="57" y="6"/>
                    <a:pt x="57" y="6"/>
                  </a:cubicBezTo>
                  <a:cubicBezTo>
                    <a:pt x="58" y="7"/>
                    <a:pt x="58" y="7"/>
                    <a:pt x="58" y="7"/>
                  </a:cubicBezTo>
                  <a:cubicBezTo>
                    <a:pt x="58" y="7"/>
                    <a:pt x="58" y="8"/>
                    <a:pt x="58" y="8"/>
                  </a:cubicBezTo>
                  <a:lnTo>
                    <a:pt x="58" y="86"/>
                  </a:lnTo>
                  <a:close/>
                  <a:moveTo>
                    <a:pt x="121" y="86"/>
                  </a:moveTo>
                  <a:cubicBezTo>
                    <a:pt x="121" y="86"/>
                    <a:pt x="121" y="87"/>
                    <a:pt x="121" y="87"/>
                  </a:cubicBezTo>
                  <a:cubicBezTo>
                    <a:pt x="120" y="87"/>
                    <a:pt x="120" y="87"/>
                    <a:pt x="119" y="87"/>
                  </a:cubicBezTo>
                  <a:cubicBezTo>
                    <a:pt x="119" y="87"/>
                    <a:pt x="118" y="88"/>
                    <a:pt x="117" y="88"/>
                  </a:cubicBezTo>
                  <a:cubicBezTo>
                    <a:pt x="116" y="88"/>
                    <a:pt x="115" y="87"/>
                    <a:pt x="114" y="87"/>
                  </a:cubicBezTo>
                  <a:cubicBezTo>
                    <a:pt x="114" y="87"/>
                    <a:pt x="113" y="87"/>
                    <a:pt x="113" y="87"/>
                  </a:cubicBezTo>
                  <a:cubicBezTo>
                    <a:pt x="112" y="87"/>
                    <a:pt x="112" y="86"/>
                    <a:pt x="112" y="86"/>
                  </a:cubicBezTo>
                  <a:lnTo>
                    <a:pt x="112" y="80"/>
                  </a:lnTo>
                  <a:cubicBezTo>
                    <a:pt x="110" y="83"/>
                    <a:pt x="107" y="85"/>
                    <a:pt x="104" y="86"/>
                  </a:cubicBezTo>
                  <a:cubicBezTo>
                    <a:pt x="101" y="88"/>
                    <a:pt x="98" y="88"/>
                    <a:pt x="94" y="88"/>
                  </a:cubicBezTo>
                  <a:cubicBezTo>
                    <a:pt x="92" y="88"/>
                    <a:pt x="89" y="88"/>
                    <a:pt x="86" y="87"/>
                  </a:cubicBezTo>
                  <a:cubicBezTo>
                    <a:pt x="84" y="86"/>
                    <a:pt x="82" y="85"/>
                    <a:pt x="80" y="84"/>
                  </a:cubicBezTo>
                  <a:cubicBezTo>
                    <a:pt x="79" y="82"/>
                    <a:pt x="77" y="81"/>
                    <a:pt x="76" y="78"/>
                  </a:cubicBezTo>
                  <a:cubicBezTo>
                    <a:pt x="75" y="76"/>
                    <a:pt x="75" y="74"/>
                    <a:pt x="75" y="71"/>
                  </a:cubicBezTo>
                  <a:cubicBezTo>
                    <a:pt x="75" y="68"/>
                    <a:pt x="76" y="65"/>
                    <a:pt x="77" y="63"/>
                  </a:cubicBezTo>
                  <a:cubicBezTo>
                    <a:pt x="78" y="61"/>
                    <a:pt x="80" y="59"/>
                    <a:pt x="82" y="57"/>
                  </a:cubicBezTo>
                  <a:cubicBezTo>
                    <a:pt x="85" y="56"/>
                    <a:pt x="88" y="54"/>
                    <a:pt x="91" y="54"/>
                  </a:cubicBezTo>
                  <a:cubicBezTo>
                    <a:pt x="95" y="53"/>
                    <a:pt x="99" y="53"/>
                    <a:pt x="103" y="53"/>
                  </a:cubicBezTo>
                  <a:lnTo>
                    <a:pt x="111" y="53"/>
                  </a:lnTo>
                  <a:lnTo>
                    <a:pt x="111" y="48"/>
                  </a:lnTo>
                  <a:cubicBezTo>
                    <a:pt x="111" y="46"/>
                    <a:pt x="111" y="44"/>
                    <a:pt x="110" y="42"/>
                  </a:cubicBezTo>
                  <a:cubicBezTo>
                    <a:pt x="110" y="41"/>
                    <a:pt x="109" y="39"/>
                    <a:pt x="108" y="38"/>
                  </a:cubicBezTo>
                  <a:cubicBezTo>
                    <a:pt x="107" y="37"/>
                    <a:pt x="106" y="36"/>
                    <a:pt x="104" y="36"/>
                  </a:cubicBezTo>
                  <a:cubicBezTo>
                    <a:pt x="102" y="35"/>
                    <a:pt x="100" y="35"/>
                    <a:pt x="98" y="35"/>
                  </a:cubicBezTo>
                  <a:cubicBezTo>
                    <a:pt x="96" y="35"/>
                    <a:pt x="93" y="35"/>
                    <a:pt x="91" y="36"/>
                  </a:cubicBezTo>
                  <a:cubicBezTo>
                    <a:pt x="89" y="36"/>
                    <a:pt x="87" y="37"/>
                    <a:pt x="86" y="38"/>
                  </a:cubicBezTo>
                  <a:cubicBezTo>
                    <a:pt x="84" y="39"/>
                    <a:pt x="83" y="39"/>
                    <a:pt x="82" y="40"/>
                  </a:cubicBezTo>
                  <a:cubicBezTo>
                    <a:pt x="81" y="40"/>
                    <a:pt x="80" y="41"/>
                    <a:pt x="80" y="41"/>
                  </a:cubicBezTo>
                  <a:cubicBezTo>
                    <a:pt x="79" y="41"/>
                    <a:pt x="79" y="41"/>
                    <a:pt x="79" y="40"/>
                  </a:cubicBezTo>
                  <a:cubicBezTo>
                    <a:pt x="79" y="40"/>
                    <a:pt x="78" y="40"/>
                    <a:pt x="78" y="40"/>
                  </a:cubicBezTo>
                  <a:cubicBezTo>
                    <a:pt x="78" y="39"/>
                    <a:pt x="78" y="39"/>
                    <a:pt x="78" y="38"/>
                  </a:cubicBezTo>
                  <a:cubicBezTo>
                    <a:pt x="78" y="38"/>
                    <a:pt x="78" y="37"/>
                    <a:pt x="78" y="37"/>
                  </a:cubicBezTo>
                  <a:cubicBezTo>
                    <a:pt x="78" y="36"/>
                    <a:pt x="78" y="35"/>
                    <a:pt x="78" y="34"/>
                  </a:cubicBezTo>
                  <a:cubicBezTo>
                    <a:pt x="78" y="34"/>
                    <a:pt x="78" y="33"/>
                    <a:pt x="79" y="33"/>
                  </a:cubicBezTo>
                  <a:cubicBezTo>
                    <a:pt x="80" y="32"/>
                    <a:pt x="81" y="31"/>
                    <a:pt x="82" y="31"/>
                  </a:cubicBezTo>
                  <a:cubicBezTo>
                    <a:pt x="83" y="30"/>
                    <a:pt x="85" y="29"/>
                    <a:pt x="87" y="29"/>
                  </a:cubicBezTo>
                  <a:cubicBezTo>
                    <a:pt x="88" y="28"/>
                    <a:pt x="90" y="28"/>
                    <a:pt x="93" y="27"/>
                  </a:cubicBezTo>
                  <a:cubicBezTo>
                    <a:pt x="95" y="27"/>
                    <a:pt x="97" y="27"/>
                    <a:pt x="99" y="27"/>
                  </a:cubicBezTo>
                  <a:cubicBezTo>
                    <a:pt x="103" y="27"/>
                    <a:pt x="106" y="27"/>
                    <a:pt x="109" y="28"/>
                  </a:cubicBezTo>
                  <a:cubicBezTo>
                    <a:pt x="112" y="29"/>
                    <a:pt x="114" y="30"/>
                    <a:pt x="116" y="32"/>
                  </a:cubicBezTo>
                  <a:cubicBezTo>
                    <a:pt x="118" y="34"/>
                    <a:pt x="119" y="36"/>
                    <a:pt x="120" y="39"/>
                  </a:cubicBezTo>
                  <a:cubicBezTo>
                    <a:pt x="121" y="41"/>
                    <a:pt x="121" y="44"/>
                    <a:pt x="121" y="48"/>
                  </a:cubicBezTo>
                  <a:lnTo>
                    <a:pt x="121" y="86"/>
                  </a:lnTo>
                  <a:close/>
                  <a:moveTo>
                    <a:pt x="111" y="60"/>
                  </a:moveTo>
                  <a:lnTo>
                    <a:pt x="102" y="60"/>
                  </a:lnTo>
                  <a:cubicBezTo>
                    <a:pt x="99" y="60"/>
                    <a:pt x="97" y="60"/>
                    <a:pt x="95" y="61"/>
                  </a:cubicBezTo>
                  <a:cubicBezTo>
                    <a:pt x="93" y="61"/>
                    <a:pt x="91" y="62"/>
                    <a:pt x="90" y="63"/>
                  </a:cubicBezTo>
                  <a:cubicBezTo>
                    <a:pt x="88" y="64"/>
                    <a:pt x="87" y="65"/>
                    <a:pt x="87" y="66"/>
                  </a:cubicBezTo>
                  <a:cubicBezTo>
                    <a:pt x="86" y="68"/>
                    <a:pt x="86" y="69"/>
                    <a:pt x="86" y="71"/>
                  </a:cubicBezTo>
                  <a:cubicBezTo>
                    <a:pt x="86" y="74"/>
                    <a:pt x="86" y="76"/>
                    <a:pt x="88" y="78"/>
                  </a:cubicBezTo>
                  <a:cubicBezTo>
                    <a:pt x="90" y="79"/>
                    <a:pt x="93" y="80"/>
                    <a:pt x="96" y="80"/>
                  </a:cubicBezTo>
                  <a:cubicBezTo>
                    <a:pt x="99" y="80"/>
                    <a:pt x="101" y="80"/>
                    <a:pt x="104" y="78"/>
                  </a:cubicBezTo>
                  <a:cubicBezTo>
                    <a:pt x="106" y="77"/>
                    <a:pt x="108" y="75"/>
                    <a:pt x="111" y="72"/>
                  </a:cubicBezTo>
                  <a:lnTo>
                    <a:pt x="111" y="60"/>
                  </a:lnTo>
                  <a:close/>
                  <a:moveTo>
                    <a:pt x="191" y="86"/>
                  </a:moveTo>
                  <a:cubicBezTo>
                    <a:pt x="191" y="86"/>
                    <a:pt x="191" y="86"/>
                    <a:pt x="191" y="86"/>
                  </a:cubicBezTo>
                  <a:cubicBezTo>
                    <a:pt x="191" y="87"/>
                    <a:pt x="191" y="87"/>
                    <a:pt x="190" y="87"/>
                  </a:cubicBezTo>
                  <a:cubicBezTo>
                    <a:pt x="190" y="87"/>
                    <a:pt x="189" y="87"/>
                    <a:pt x="189" y="87"/>
                  </a:cubicBezTo>
                  <a:cubicBezTo>
                    <a:pt x="188" y="87"/>
                    <a:pt x="187" y="88"/>
                    <a:pt x="186" y="88"/>
                  </a:cubicBezTo>
                  <a:cubicBezTo>
                    <a:pt x="185" y="88"/>
                    <a:pt x="184" y="87"/>
                    <a:pt x="184" y="87"/>
                  </a:cubicBezTo>
                  <a:cubicBezTo>
                    <a:pt x="183" y="87"/>
                    <a:pt x="182" y="87"/>
                    <a:pt x="182" y="87"/>
                  </a:cubicBezTo>
                  <a:cubicBezTo>
                    <a:pt x="182" y="87"/>
                    <a:pt x="181" y="87"/>
                    <a:pt x="181" y="86"/>
                  </a:cubicBezTo>
                  <a:cubicBezTo>
                    <a:pt x="181" y="86"/>
                    <a:pt x="181" y="86"/>
                    <a:pt x="181" y="86"/>
                  </a:cubicBezTo>
                  <a:lnTo>
                    <a:pt x="181" y="53"/>
                  </a:lnTo>
                  <a:cubicBezTo>
                    <a:pt x="181" y="49"/>
                    <a:pt x="181" y="47"/>
                    <a:pt x="180" y="45"/>
                  </a:cubicBezTo>
                  <a:cubicBezTo>
                    <a:pt x="180" y="43"/>
                    <a:pt x="179" y="41"/>
                    <a:pt x="178" y="40"/>
                  </a:cubicBezTo>
                  <a:cubicBezTo>
                    <a:pt x="177" y="38"/>
                    <a:pt x="176" y="37"/>
                    <a:pt x="174" y="37"/>
                  </a:cubicBezTo>
                  <a:cubicBezTo>
                    <a:pt x="173" y="36"/>
                    <a:pt x="171" y="35"/>
                    <a:pt x="169" y="35"/>
                  </a:cubicBezTo>
                  <a:cubicBezTo>
                    <a:pt x="166" y="35"/>
                    <a:pt x="164" y="36"/>
                    <a:pt x="161" y="38"/>
                  </a:cubicBezTo>
                  <a:cubicBezTo>
                    <a:pt x="159" y="40"/>
                    <a:pt x="156" y="43"/>
                    <a:pt x="153" y="46"/>
                  </a:cubicBezTo>
                  <a:lnTo>
                    <a:pt x="153" y="86"/>
                  </a:lnTo>
                  <a:cubicBezTo>
                    <a:pt x="153" y="86"/>
                    <a:pt x="153" y="86"/>
                    <a:pt x="153" y="86"/>
                  </a:cubicBezTo>
                  <a:cubicBezTo>
                    <a:pt x="153" y="87"/>
                    <a:pt x="152" y="87"/>
                    <a:pt x="152" y="87"/>
                  </a:cubicBezTo>
                  <a:cubicBezTo>
                    <a:pt x="152" y="87"/>
                    <a:pt x="151" y="87"/>
                    <a:pt x="150" y="87"/>
                  </a:cubicBezTo>
                  <a:cubicBezTo>
                    <a:pt x="150" y="87"/>
                    <a:pt x="149" y="88"/>
                    <a:pt x="148" y="88"/>
                  </a:cubicBezTo>
                  <a:cubicBezTo>
                    <a:pt x="147" y="88"/>
                    <a:pt x="146" y="87"/>
                    <a:pt x="145" y="87"/>
                  </a:cubicBezTo>
                  <a:cubicBezTo>
                    <a:pt x="145" y="87"/>
                    <a:pt x="144" y="87"/>
                    <a:pt x="144" y="87"/>
                  </a:cubicBezTo>
                  <a:cubicBezTo>
                    <a:pt x="143" y="87"/>
                    <a:pt x="143" y="87"/>
                    <a:pt x="143" y="86"/>
                  </a:cubicBezTo>
                  <a:cubicBezTo>
                    <a:pt x="143" y="86"/>
                    <a:pt x="143" y="86"/>
                    <a:pt x="143" y="86"/>
                  </a:cubicBezTo>
                  <a:lnTo>
                    <a:pt x="143" y="29"/>
                  </a:lnTo>
                  <a:cubicBezTo>
                    <a:pt x="143" y="29"/>
                    <a:pt x="143" y="29"/>
                    <a:pt x="143" y="29"/>
                  </a:cubicBezTo>
                  <a:cubicBezTo>
                    <a:pt x="143" y="28"/>
                    <a:pt x="143" y="28"/>
                    <a:pt x="144" y="28"/>
                  </a:cubicBezTo>
                  <a:cubicBezTo>
                    <a:pt x="144" y="28"/>
                    <a:pt x="145" y="28"/>
                    <a:pt x="145" y="28"/>
                  </a:cubicBezTo>
                  <a:cubicBezTo>
                    <a:pt x="146" y="27"/>
                    <a:pt x="147" y="27"/>
                    <a:pt x="147" y="27"/>
                  </a:cubicBezTo>
                  <a:cubicBezTo>
                    <a:pt x="148" y="27"/>
                    <a:pt x="149" y="27"/>
                    <a:pt x="150" y="28"/>
                  </a:cubicBezTo>
                  <a:cubicBezTo>
                    <a:pt x="150" y="28"/>
                    <a:pt x="151" y="28"/>
                    <a:pt x="151" y="28"/>
                  </a:cubicBezTo>
                  <a:cubicBezTo>
                    <a:pt x="152" y="28"/>
                    <a:pt x="152" y="28"/>
                    <a:pt x="152" y="29"/>
                  </a:cubicBezTo>
                  <a:cubicBezTo>
                    <a:pt x="152" y="29"/>
                    <a:pt x="152" y="29"/>
                    <a:pt x="152" y="29"/>
                  </a:cubicBezTo>
                  <a:lnTo>
                    <a:pt x="152" y="37"/>
                  </a:lnTo>
                  <a:cubicBezTo>
                    <a:pt x="155" y="33"/>
                    <a:pt x="158" y="31"/>
                    <a:pt x="162" y="29"/>
                  </a:cubicBezTo>
                  <a:cubicBezTo>
                    <a:pt x="165" y="27"/>
                    <a:pt x="168" y="27"/>
                    <a:pt x="171" y="27"/>
                  </a:cubicBezTo>
                  <a:cubicBezTo>
                    <a:pt x="175" y="27"/>
                    <a:pt x="178" y="27"/>
                    <a:pt x="181" y="28"/>
                  </a:cubicBezTo>
                  <a:cubicBezTo>
                    <a:pt x="183" y="30"/>
                    <a:pt x="185" y="31"/>
                    <a:pt x="187" y="34"/>
                  </a:cubicBezTo>
                  <a:cubicBezTo>
                    <a:pt x="188" y="36"/>
                    <a:pt x="190" y="38"/>
                    <a:pt x="190" y="41"/>
                  </a:cubicBezTo>
                  <a:cubicBezTo>
                    <a:pt x="191" y="44"/>
                    <a:pt x="191" y="47"/>
                    <a:pt x="191" y="51"/>
                  </a:cubicBezTo>
                  <a:lnTo>
                    <a:pt x="191" y="86"/>
                  </a:lnTo>
                  <a:close/>
                  <a:moveTo>
                    <a:pt x="255" y="86"/>
                  </a:moveTo>
                  <a:cubicBezTo>
                    <a:pt x="255" y="86"/>
                    <a:pt x="255" y="86"/>
                    <a:pt x="255" y="86"/>
                  </a:cubicBezTo>
                  <a:cubicBezTo>
                    <a:pt x="255" y="87"/>
                    <a:pt x="254" y="87"/>
                    <a:pt x="254" y="87"/>
                  </a:cubicBezTo>
                  <a:cubicBezTo>
                    <a:pt x="254" y="87"/>
                    <a:pt x="253" y="87"/>
                    <a:pt x="253" y="87"/>
                  </a:cubicBezTo>
                  <a:cubicBezTo>
                    <a:pt x="252" y="87"/>
                    <a:pt x="251" y="88"/>
                    <a:pt x="250" y="88"/>
                  </a:cubicBezTo>
                  <a:cubicBezTo>
                    <a:pt x="250" y="88"/>
                    <a:pt x="249" y="87"/>
                    <a:pt x="248" y="87"/>
                  </a:cubicBezTo>
                  <a:cubicBezTo>
                    <a:pt x="248" y="87"/>
                    <a:pt x="247" y="87"/>
                    <a:pt x="247" y="87"/>
                  </a:cubicBezTo>
                  <a:cubicBezTo>
                    <a:pt x="246" y="87"/>
                    <a:pt x="246" y="87"/>
                    <a:pt x="246" y="86"/>
                  </a:cubicBezTo>
                  <a:cubicBezTo>
                    <a:pt x="246" y="86"/>
                    <a:pt x="246" y="86"/>
                    <a:pt x="246" y="86"/>
                  </a:cubicBezTo>
                  <a:lnTo>
                    <a:pt x="246" y="78"/>
                  </a:lnTo>
                  <a:cubicBezTo>
                    <a:pt x="243" y="81"/>
                    <a:pt x="240" y="84"/>
                    <a:pt x="237" y="86"/>
                  </a:cubicBezTo>
                  <a:cubicBezTo>
                    <a:pt x="233" y="87"/>
                    <a:pt x="230" y="88"/>
                    <a:pt x="226" y="88"/>
                  </a:cubicBezTo>
                  <a:cubicBezTo>
                    <a:pt x="222" y="88"/>
                    <a:pt x="218" y="88"/>
                    <a:pt x="216" y="86"/>
                  </a:cubicBezTo>
                  <a:cubicBezTo>
                    <a:pt x="213" y="84"/>
                    <a:pt x="210" y="82"/>
                    <a:pt x="208" y="79"/>
                  </a:cubicBezTo>
                  <a:cubicBezTo>
                    <a:pt x="207" y="77"/>
                    <a:pt x="205" y="74"/>
                    <a:pt x="204" y="70"/>
                  </a:cubicBezTo>
                  <a:cubicBezTo>
                    <a:pt x="204" y="66"/>
                    <a:pt x="203" y="62"/>
                    <a:pt x="203" y="58"/>
                  </a:cubicBezTo>
                  <a:cubicBezTo>
                    <a:pt x="203" y="53"/>
                    <a:pt x="204" y="49"/>
                    <a:pt x="205" y="45"/>
                  </a:cubicBezTo>
                  <a:cubicBezTo>
                    <a:pt x="206" y="41"/>
                    <a:pt x="207" y="38"/>
                    <a:pt x="209" y="35"/>
                  </a:cubicBezTo>
                  <a:cubicBezTo>
                    <a:pt x="211" y="32"/>
                    <a:pt x="214" y="30"/>
                    <a:pt x="217" y="29"/>
                  </a:cubicBezTo>
                  <a:cubicBezTo>
                    <a:pt x="220" y="27"/>
                    <a:pt x="224" y="27"/>
                    <a:pt x="227" y="27"/>
                  </a:cubicBezTo>
                  <a:cubicBezTo>
                    <a:pt x="231" y="27"/>
                    <a:pt x="234" y="27"/>
                    <a:pt x="237" y="29"/>
                  </a:cubicBezTo>
                  <a:cubicBezTo>
                    <a:pt x="239" y="30"/>
                    <a:pt x="242" y="32"/>
                    <a:pt x="245" y="35"/>
                  </a:cubicBezTo>
                  <a:lnTo>
                    <a:pt x="245" y="2"/>
                  </a:lnTo>
                  <a:cubicBezTo>
                    <a:pt x="245" y="2"/>
                    <a:pt x="245" y="2"/>
                    <a:pt x="245" y="2"/>
                  </a:cubicBezTo>
                  <a:cubicBezTo>
                    <a:pt x="245" y="1"/>
                    <a:pt x="245" y="1"/>
                    <a:pt x="246" y="1"/>
                  </a:cubicBezTo>
                  <a:cubicBezTo>
                    <a:pt x="246" y="1"/>
                    <a:pt x="247" y="1"/>
                    <a:pt x="247" y="1"/>
                  </a:cubicBezTo>
                  <a:cubicBezTo>
                    <a:pt x="248" y="0"/>
                    <a:pt x="249" y="0"/>
                    <a:pt x="250" y="0"/>
                  </a:cubicBezTo>
                  <a:cubicBezTo>
                    <a:pt x="251" y="0"/>
                    <a:pt x="252" y="0"/>
                    <a:pt x="252" y="1"/>
                  </a:cubicBezTo>
                  <a:cubicBezTo>
                    <a:pt x="253" y="1"/>
                    <a:pt x="253" y="1"/>
                    <a:pt x="254" y="1"/>
                  </a:cubicBezTo>
                  <a:cubicBezTo>
                    <a:pt x="254" y="1"/>
                    <a:pt x="255" y="1"/>
                    <a:pt x="255" y="2"/>
                  </a:cubicBezTo>
                  <a:cubicBezTo>
                    <a:pt x="255" y="2"/>
                    <a:pt x="255" y="2"/>
                    <a:pt x="255" y="2"/>
                  </a:cubicBezTo>
                  <a:lnTo>
                    <a:pt x="255" y="86"/>
                  </a:lnTo>
                  <a:close/>
                  <a:moveTo>
                    <a:pt x="245" y="46"/>
                  </a:moveTo>
                  <a:cubicBezTo>
                    <a:pt x="242" y="43"/>
                    <a:pt x="239" y="40"/>
                    <a:pt x="237" y="38"/>
                  </a:cubicBezTo>
                  <a:cubicBezTo>
                    <a:pt x="234" y="36"/>
                    <a:pt x="231" y="35"/>
                    <a:pt x="228" y="35"/>
                  </a:cubicBezTo>
                  <a:cubicBezTo>
                    <a:pt x="226" y="35"/>
                    <a:pt x="224" y="36"/>
                    <a:pt x="222" y="37"/>
                  </a:cubicBezTo>
                  <a:cubicBezTo>
                    <a:pt x="220" y="39"/>
                    <a:pt x="218" y="40"/>
                    <a:pt x="217" y="42"/>
                  </a:cubicBezTo>
                  <a:cubicBezTo>
                    <a:pt x="216" y="44"/>
                    <a:pt x="215" y="47"/>
                    <a:pt x="215" y="49"/>
                  </a:cubicBezTo>
                  <a:cubicBezTo>
                    <a:pt x="214" y="52"/>
                    <a:pt x="214" y="54"/>
                    <a:pt x="214" y="57"/>
                  </a:cubicBezTo>
                  <a:cubicBezTo>
                    <a:pt x="214" y="60"/>
                    <a:pt x="214" y="63"/>
                    <a:pt x="215" y="65"/>
                  </a:cubicBezTo>
                  <a:cubicBezTo>
                    <a:pt x="215" y="68"/>
                    <a:pt x="216" y="70"/>
                    <a:pt x="217" y="73"/>
                  </a:cubicBezTo>
                  <a:cubicBezTo>
                    <a:pt x="218" y="75"/>
                    <a:pt x="219" y="76"/>
                    <a:pt x="221" y="78"/>
                  </a:cubicBezTo>
                  <a:cubicBezTo>
                    <a:pt x="223" y="79"/>
                    <a:pt x="225" y="80"/>
                    <a:pt x="228" y="80"/>
                  </a:cubicBezTo>
                  <a:cubicBezTo>
                    <a:pt x="229" y="80"/>
                    <a:pt x="231" y="79"/>
                    <a:pt x="232" y="79"/>
                  </a:cubicBezTo>
                  <a:cubicBezTo>
                    <a:pt x="233" y="79"/>
                    <a:pt x="234" y="78"/>
                    <a:pt x="236" y="77"/>
                  </a:cubicBezTo>
                  <a:cubicBezTo>
                    <a:pt x="237" y="76"/>
                    <a:pt x="239" y="75"/>
                    <a:pt x="240" y="74"/>
                  </a:cubicBezTo>
                  <a:cubicBezTo>
                    <a:pt x="241" y="72"/>
                    <a:pt x="243" y="71"/>
                    <a:pt x="245" y="69"/>
                  </a:cubicBezTo>
                  <a:lnTo>
                    <a:pt x="245" y="46"/>
                  </a:lnTo>
                  <a:close/>
                  <a:moveTo>
                    <a:pt x="281" y="86"/>
                  </a:moveTo>
                  <a:cubicBezTo>
                    <a:pt x="281" y="86"/>
                    <a:pt x="281" y="86"/>
                    <a:pt x="281" y="86"/>
                  </a:cubicBezTo>
                  <a:cubicBezTo>
                    <a:pt x="281" y="87"/>
                    <a:pt x="280" y="87"/>
                    <a:pt x="280" y="87"/>
                  </a:cubicBezTo>
                  <a:cubicBezTo>
                    <a:pt x="280" y="87"/>
                    <a:pt x="279" y="87"/>
                    <a:pt x="278" y="87"/>
                  </a:cubicBezTo>
                  <a:cubicBezTo>
                    <a:pt x="278" y="87"/>
                    <a:pt x="277" y="88"/>
                    <a:pt x="276" y="88"/>
                  </a:cubicBezTo>
                  <a:cubicBezTo>
                    <a:pt x="275" y="88"/>
                    <a:pt x="274" y="87"/>
                    <a:pt x="273" y="87"/>
                  </a:cubicBezTo>
                  <a:cubicBezTo>
                    <a:pt x="273" y="87"/>
                    <a:pt x="272" y="87"/>
                    <a:pt x="272" y="87"/>
                  </a:cubicBezTo>
                  <a:cubicBezTo>
                    <a:pt x="271" y="87"/>
                    <a:pt x="271" y="87"/>
                    <a:pt x="271" y="86"/>
                  </a:cubicBezTo>
                  <a:cubicBezTo>
                    <a:pt x="271" y="86"/>
                    <a:pt x="271" y="86"/>
                    <a:pt x="271" y="86"/>
                  </a:cubicBezTo>
                  <a:lnTo>
                    <a:pt x="271" y="2"/>
                  </a:lnTo>
                  <a:cubicBezTo>
                    <a:pt x="271" y="2"/>
                    <a:pt x="271" y="1"/>
                    <a:pt x="271" y="1"/>
                  </a:cubicBezTo>
                  <a:cubicBezTo>
                    <a:pt x="271" y="1"/>
                    <a:pt x="271" y="1"/>
                    <a:pt x="272" y="1"/>
                  </a:cubicBezTo>
                  <a:cubicBezTo>
                    <a:pt x="272" y="0"/>
                    <a:pt x="273" y="0"/>
                    <a:pt x="273" y="0"/>
                  </a:cubicBezTo>
                  <a:cubicBezTo>
                    <a:pt x="274" y="0"/>
                    <a:pt x="275" y="0"/>
                    <a:pt x="276" y="0"/>
                  </a:cubicBezTo>
                  <a:cubicBezTo>
                    <a:pt x="277" y="0"/>
                    <a:pt x="278" y="0"/>
                    <a:pt x="278" y="0"/>
                  </a:cubicBezTo>
                  <a:cubicBezTo>
                    <a:pt x="279" y="0"/>
                    <a:pt x="280" y="0"/>
                    <a:pt x="280" y="1"/>
                  </a:cubicBezTo>
                  <a:cubicBezTo>
                    <a:pt x="280" y="1"/>
                    <a:pt x="281" y="1"/>
                    <a:pt x="281" y="1"/>
                  </a:cubicBezTo>
                  <a:cubicBezTo>
                    <a:pt x="281" y="1"/>
                    <a:pt x="281" y="2"/>
                    <a:pt x="281" y="2"/>
                  </a:cubicBezTo>
                  <a:lnTo>
                    <a:pt x="281" y="86"/>
                  </a:lnTo>
                  <a:close/>
                  <a:moveTo>
                    <a:pt x="351" y="55"/>
                  </a:moveTo>
                  <a:cubicBezTo>
                    <a:pt x="351" y="57"/>
                    <a:pt x="350" y="58"/>
                    <a:pt x="350" y="59"/>
                  </a:cubicBezTo>
                  <a:cubicBezTo>
                    <a:pt x="349" y="59"/>
                    <a:pt x="348" y="60"/>
                    <a:pt x="347" y="60"/>
                  </a:cubicBezTo>
                  <a:lnTo>
                    <a:pt x="310" y="60"/>
                  </a:lnTo>
                  <a:cubicBezTo>
                    <a:pt x="310" y="63"/>
                    <a:pt x="310" y="65"/>
                    <a:pt x="311" y="68"/>
                  </a:cubicBezTo>
                  <a:cubicBezTo>
                    <a:pt x="311" y="70"/>
                    <a:pt x="312" y="73"/>
                    <a:pt x="314" y="74"/>
                  </a:cubicBezTo>
                  <a:cubicBezTo>
                    <a:pt x="315" y="76"/>
                    <a:pt x="317" y="78"/>
                    <a:pt x="320" y="79"/>
                  </a:cubicBezTo>
                  <a:cubicBezTo>
                    <a:pt x="322" y="79"/>
                    <a:pt x="325" y="80"/>
                    <a:pt x="328" y="80"/>
                  </a:cubicBezTo>
                  <a:cubicBezTo>
                    <a:pt x="331" y="80"/>
                    <a:pt x="333" y="80"/>
                    <a:pt x="335" y="79"/>
                  </a:cubicBezTo>
                  <a:cubicBezTo>
                    <a:pt x="337" y="79"/>
                    <a:pt x="339" y="78"/>
                    <a:pt x="341" y="78"/>
                  </a:cubicBezTo>
                  <a:cubicBezTo>
                    <a:pt x="342" y="77"/>
                    <a:pt x="344" y="77"/>
                    <a:pt x="345" y="76"/>
                  </a:cubicBezTo>
                  <a:cubicBezTo>
                    <a:pt x="345" y="76"/>
                    <a:pt x="346" y="76"/>
                    <a:pt x="347" y="76"/>
                  </a:cubicBezTo>
                  <a:cubicBezTo>
                    <a:pt x="347" y="76"/>
                    <a:pt x="347" y="76"/>
                    <a:pt x="348" y="76"/>
                  </a:cubicBezTo>
                  <a:cubicBezTo>
                    <a:pt x="348" y="76"/>
                    <a:pt x="348" y="76"/>
                    <a:pt x="348" y="77"/>
                  </a:cubicBezTo>
                  <a:cubicBezTo>
                    <a:pt x="348" y="77"/>
                    <a:pt x="348" y="77"/>
                    <a:pt x="348" y="78"/>
                  </a:cubicBezTo>
                  <a:cubicBezTo>
                    <a:pt x="348" y="78"/>
                    <a:pt x="348" y="79"/>
                    <a:pt x="348" y="80"/>
                  </a:cubicBezTo>
                  <a:cubicBezTo>
                    <a:pt x="348" y="80"/>
                    <a:pt x="348" y="81"/>
                    <a:pt x="348" y="81"/>
                  </a:cubicBezTo>
                  <a:cubicBezTo>
                    <a:pt x="348" y="82"/>
                    <a:pt x="348" y="82"/>
                    <a:pt x="348" y="82"/>
                  </a:cubicBezTo>
                  <a:cubicBezTo>
                    <a:pt x="348" y="83"/>
                    <a:pt x="348" y="83"/>
                    <a:pt x="348" y="83"/>
                  </a:cubicBezTo>
                  <a:cubicBezTo>
                    <a:pt x="348" y="83"/>
                    <a:pt x="348" y="84"/>
                    <a:pt x="347" y="84"/>
                  </a:cubicBezTo>
                  <a:cubicBezTo>
                    <a:pt x="347" y="84"/>
                    <a:pt x="346" y="84"/>
                    <a:pt x="345" y="85"/>
                  </a:cubicBezTo>
                  <a:cubicBezTo>
                    <a:pt x="344" y="85"/>
                    <a:pt x="343" y="86"/>
                    <a:pt x="341" y="86"/>
                  </a:cubicBezTo>
                  <a:cubicBezTo>
                    <a:pt x="339" y="87"/>
                    <a:pt x="337" y="87"/>
                    <a:pt x="335" y="88"/>
                  </a:cubicBezTo>
                  <a:cubicBezTo>
                    <a:pt x="332" y="88"/>
                    <a:pt x="330" y="88"/>
                    <a:pt x="327" y="88"/>
                  </a:cubicBezTo>
                  <a:cubicBezTo>
                    <a:pt x="323" y="88"/>
                    <a:pt x="319" y="88"/>
                    <a:pt x="315" y="86"/>
                  </a:cubicBezTo>
                  <a:cubicBezTo>
                    <a:pt x="312" y="85"/>
                    <a:pt x="309" y="83"/>
                    <a:pt x="306" y="81"/>
                  </a:cubicBezTo>
                  <a:cubicBezTo>
                    <a:pt x="304" y="78"/>
                    <a:pt x="302" y="75"/>
                    <a:pt x="301" y="71"/>
                  </a:cubicBezTo>
                  <a:cubicBezTo>
                    <a:pt x="300" y="67"/>
                    <a:pt x="299" y="63"/>
                    <a:pt x="299" y="58"/>
                  </a:cubicBezTo>
                  <a:cubicBezTo>
                    <a:pt x="299" y="53"/>
                    <a:pt x="300" y="49"/>
                    <a:pt x="301" y="45"/>
                  </a:cubicBezTo>
                  <a:cubicBezTo>
                    <a:pt x="302" y="41"/>
                    <a:pt x="304" y="38"/>
                    <a:pt x="306" y="35"/>
                  </a:cubicBezTo>
                  <a:cubicBezTo>
                    <a:pt x="309" y="32"/>
                    <a:pt x="312" y="30"/>
                    <a:pt x="315" y="29"/>
                  </a:cubicBezTo>
                  <a:cubicBezTo>
                    <a:pt x="318" y="27"/>
                    <a:pt x="322" y="27"/>
                    <a:pt x="326" y="27"/>
                  </a:cubicBezTo>
                  <a:cubicBezTo>
                    <a:pt x="330" y="27"/>
                    <a:pt x="334" y="27"/>
                    <a:pt x="337" y="29"/>
                  </a:cubicBezTo>
                  <a:cubicBezTo>
                    <a:pt x="340" y="30"/>
                    <a:pt x="343" y="32"/>
                    <a:pt x="345" y="34"/>
                  </a:cubicBezTo>
                  <a:cubicBezTo>
                    <a:pt x="347" y="37"/>
                    <a:pt x="348" y="40"/>
                    <a:pt x="349" y="43"/>
                  </a:cubicBezTo>
                  <a:cubicBezTo>
                    <a:pt x="350" y="46"/>
                    <a:pt x="351" y="49"/>
                    <a:pt x="351" y="53"/>
                  </a:cubicBezTo>
                  <a:lnTo>
                    <a:pt x="351" y="55"/>
                  </a:lnTo>
                  <a:close/>
                  <a:moveTo>
                    <a:pt x="340" y="52"/>
                  </a:moveTo>
                  <a:cubicBezTo>
                    <a:pt x="341" y="47"/>
                    <a:pt x="339" y="42"/>
                    <a:pt x="337" y="39"/>
                  </a:cubicBezTo>
                  <a:cubicBezTo>
                    <a:pt x="334" y="36"/>
                    <a:pt x="331" y="35"/>
                    <a:pt x="326" y="35"/>
                  </a:cubicBezTo>
                  <a:cubicBezTo>
                    <a:pt x="323" y="35"/>
                    <a:pt x="321" y="35"/>
                    <a:pt x="319" y="36"/>
                  </a:cubicBezTo>
                  <a:cubicBezTo>
                    <a:pt x="317" y="37"/>
                    <a:pt x="315" y="38"/>
                    <a:pt x="314" y="40"/>
                  </a:cubicBezTo>
                  <a:cubicBezTo>
                    <a:pt x="313" y="41"/>
                    <a:pt x="312" y="43"/>
                    <a:pt x="311" y="45"/>
                  </a:cubicBezTo>
                  <a:cubicBezTo>
                    <a:pt x="310" y="47"/>
                    <a:pt x="310" y="50"/>
                    <a:pt x="310" y="52"/>
                  </a:cubicBezTo>
                  <a:lnTo>
                    <a:pt x="340" y="52"/>
                  </a:lnTo>
                  <a:close/>
                  <a:moveTo>
                    <a:pt x="411" y="86"/>
                  </a:moveTo>
                  <a:cubicBezTo>
                    <a:pt x="411" y="86"/>
                    <a:pt x="411" y="86"/>
                    <a:pt x="410" y="86"/>
                  </a:cubicBezTo>
                  <a:cubicBezTo>
                    <a:pt x="410" y="87"/>
                    <a:pt x="410" y="87"/>
                    <a:pt x="410" y="87"/>
                  </a:cubicBezTo>
                  <a:cubicBezTo>
                    <a:pt x="409" y="87"/>
                    <a:pt x="409" y="87"/>
                    <a:pt x="408" y="87"/>
                  </a:cubicBezTo>
                  <a:cubicBezTo>
                    <a:pt x="407" y="87"/>
                    <a:pt x="406" y="88"/>
                    <a:pt x="405" y="88"/>
                  </a:cubicBezTo>
                  <a:cubicBezTo>
                    <a:pt x="404" y="88"/>
                    <a:pt x="404" y="87"/>
                    <a:pt x="403" y="87"/>
                  </a:cubicBezTo>
                  <a:cubicBezTo>
                    <a:pt x="402" y="87"/>
                    <a:pt x="402" y="87"/>
                    <a:pt x="401" y="87"/>
                  </a:cubicBezTo>
                  <a:cubicBezTo>
                    <a:pt x="401" y="87"/>
                    <a:pt x="400" y="87"/>
                    <a:pt x="400" y="86"/>
                  </a:cubicBezTo>
                  <a:cubicBezTo>
                    <a:pt x="400" y="86"/>
                    <a:pt x="400" y="86"/>
                    <a:pt x="400" y="86"/>
                  </a:cubicBezTo>
                  <a:lnTo>
                    <a:pt x="400" y="8"/>
                  </a:lnTo>
                  <a:cubicBezTo>
                    <a:pt x="400" y="8"/>
                    <a:pt x="400" y="7"/>
                    <a:pt x="400" y="7"/>
                  </a:cubicBezTo>
                  <a:cubicBezTo>
                    <a:pt x="400" y="7"/>
                    <a:pt x="401" y="7"/>
                    <a:pt x="401" y="6"/>
                  </a:cubicBezTo>
                  <a:cubicBezTo>
                    <a:pt x="402" y="6"/>
                    <a:pt x="402" y="6"/>
                    <a:pt x="403" y="6"/>
                  </a:cubicBezTo>
                  <a:cubicBezTo>
                    <a:pt x="404" y="6"/>
                    <a:pt x="404" y="6"/>
                    <a:pt x="405" y="6"/>
                  </a:cubicBezTo>
                  <a:cubicBezTo>
                    <a:pt x="406" y="6"/>
                    <a:pt x="407" y="6"/>
                    <a:pt x="408" y="6"/>
                  </a:cubicBezTo>
                  <a:cubicBezTo>
                    <a:pt x="409" y="6"/>
                    <a:pt x="409" y="6"/>
                    <a:pt x="410" y="6"/>
                  </a:cubicBezTo>
                  <a:cubicBezTo>
                    <a:pt x="410" y="7"/>
                    <a:pt x="410" y="7"/>
                    <a:pt x="410" y="7"/>
                  </a:cubicBezTo>
                  <a:cubicBezTo>
                    <a:pt x="411" y="7"/>
                    <a:pt x="411" y="8"/>
                    <a:pt x="411" y="8"/>
                  </a:cubicBezTo>
                  <a:lnTo>
                    <a:pt x="411" y="86"/>
                  </a:lnTo>
                  <a:close/>
                  <a:moveTo>
                    <a:pt x="479" y="86"/>
                  </a:moveTo>
                  <a:cubicBezTo>
                    <a:pt x="479" y="86"/>
                    <a:pt x="479" y="86"/>
                    <a:pt x="479" y="86"/>
                  </a:cubicBezTo>
                  <a:cubicBezTo>
                    <a:pt x="479" y="87"/>
                    <a:pt x="479" y="87"/>
                    <a:pt x="478" y="87"/>
                  </a:cubicBezTo>
                  <a:cubicBezTo>
                    <a:pt x="478" y="87"/>
                    <a:pt x="477" y="87"/>
                    <a:pt x="477" y="87"/>
                  </a:cubicBezTo>
                  <a:cubicBezTo>
                    <a:pt x="476" y="87"/>
                    <a:pt x="475" y="88"/>
                    <a:pt x="474" y="88"/>
                  </a:cubicBezTo>
                  <a:cubicBezTo>
                    <a:pt x="473" y="88"/>
                    <a:pt x="472" y="87"/>
                    <a:pt x="472" y="87"/>
                  </a:cubicBezTo>
                  <a:cubicBezTo>
                    <a:pt x="471" y="87"/>
                    <a:pt x="470" y="87"/>
                    <a:pt x="470" y="87"/>
                  </a:cubicBezTo>
                  <a:cubicBezTo>
                    <a:pt x="470" y="87"/>
                    <a:pt x="469" y="87"/>
                    <a:pt x="469" y="86"/>
                  </a:cubicBezTo>
                  <a:cubicBezTo>
                    <a:pt x="469" y="86"/>
                    <a:pt x="469" y="86"/>
                    <a:pt x="469" y="86"/>
                  </a:cubicBezTo>
                  <a:lnTo>
                    <a:pt x="469" y="53"/>
                  </a:lnTo>
                  <a:cubicBezTo>
                    <a:pt x="469" y="49"/>
                    <a:pt x="469" y="47"/>
                    <a:pt x="468" y="45"/>
                  </a:cubicBezTo>
                  <a:cubicBezTo>
                    <a:pt x="468" y="43"/>
                    <a:pt x="467" y="41"/>
                    <a:pt x="466" y="40"/>
                  </a:cubicBezTo>
                  <a:cubicBezTo>
                    <a:pt x="465" y="38"/>
                    <a:pt x="464" y="37"/>
                    <a:pt x="462" y="37"/>
                  </a:cubicBezTo>
                  <a:cubicBezTo>
                    <a:pt x="461" y="36"/>
                    <a:pt x="459" y="35"/>
                    <a:pt x="457" y="35"/>
                  </a:cubicBezTo>
                  <a:cubicBezTo>
                    <a:pt x="454" y="35"/>
                    <a:pt x="452" y="36"/>
                    <a:pt x="449" y="38"/>
                  </a:cubicBezTo>
                  <a:cubicBezTo>
                    <a:pt x="447" y="40"/>
                    <a:pt x="444" y="43"/>
                    <a:pt x="441" y="46"/>
                  </a:cubicBezTo>
                  <a:lnTo>
                    <a:pt x="441" y="86"/>
                  </a:lnTo>
                  <a:cubicBezTo>
                    <a:pt x="441" y="86"/>
                    <a:pt x="441" y="86"/>
                    <a:pt x="441" y="86"/>
                  </a:cubicBezTo>
                  <a:cubicBezTo>
                    <a:pt x="441" y="87"/>
                    <a:pt x="440" y="87"/>
                    <a:pt x="440" y="87"/>
                  </a:cubicBezTo>
                  <a:cubicBezTo>
                    <a:pt x="440" y="87"/>
                    <a:pt x="439" y="87"/>
                    <a:pt x="438" y="87"/>
                  </a:cubicBezTo>
                  <a:cubicBezTo>
                    <a:pt x="438" y="87"/>
                    <a:pt x="437" y="88"/>
                    <a:pt x="436" y="88"/>
                  </a:cubicBezTo>
                  <a:cubicBezTo>
                    <a:pt x="435" y="88"/>
                    <a:pt x="434" y="87"/>
                    <a:pt x="433" y="87"/>
                  </a:cubicBezTo>
                  <a:cubicBezTo>
                    <a:pt x="433" y="87"/>
                    <a:pt x="432" y="87"/>
                    <a:pt x="432" y="87"/>
                  </a:cubicBezTo>
                  <a:cubicBezTo>
                    <a:pt x="431" y="87"/>
                    <a:pt x="431" y="87"/>
                    <a:pt x="431" y="86"/>
                  </a:cubicBezTo>
                  <a:cubicBezTo>
                    <a:pt x="431" y="86"/>
                    <a:pt x="431" y="86"/>
                    <a:pt x="431" y="86"/>
                  </a:cubicBezTo>
                  <a:lnTo>
                    <a:pt x="431" y="29"/>
                  </a:lnTo>
                  <a:cubicBezTo>
                    <a:pt x="431" y="29"/>
                    <a:pt x="431" y="29"/>
                    <a:pt x="431" y="29"/>
                  </a:cubicBezTo>
                  <a:cubicBezTo>
                    <a:pt x="431" y="28"/>
                    <a:pt x="431" y="28"/>
                    <a:pt x="432" y="28"/>
                  </a:cubicBezTo>
                  <a:cubicBezTo>
                    <a:pt x="432" y="28"/>
                    <a:pt x="433" y="28"/>
                    <a:pt x="433" y="28"/>
                  </a:cubicBezTo>
                  <a:cubicBezTo>
                    <a:pt x="434" y="27"/>
                    <a:pt x="435" y="27"/>
                    <a:pt x="435" y="27"/>
                  </a:cubicBezTo>
                  <a:cubicBezTo>
                    <a:pt x="436" y="27"/>
                    <a:pt x="437" y="27"/>
                    <a:pt x="438" y="28"/>
                  </a:cubicBezTo>
                  <a:cubicBezTo>
                    <a:pt x="438" y="28"/>
                    <a:pt x="439" y="28"/>
                    <a:pt x="439" y="28"/>
                  </a:cubicBezTo>
                  <a:cubicBezTo>
                    <a:pt x="440" y="28"/>
                    <a:pt x="440" y="28"/>
                    <a:pt x="440" y="29"/>
                  </a:cubicBezTo>
                  <a:cubicBezTo>
                    <a:pt x="440" y="29"/>
                    <a:pt x="440" y="29"/>
                    <a:pt x="440" y="29"/>
                  </a:cubicBezTo>
                  <a:lnTo>
                    <a:pt x="440" y="37"/>
                  </a:lnTo>
                  <a:cubicBezTo>
                    <a:pt x="443" y="33"/>
                    <a:pt x="446" y="31"/>
                    <a:pt x="450" y="29"/>
                  </a:cubicBezTo>
                  <a:cubicBezTo>
                    <a:pt x="453" y="27"/>
                    <a:pt x="456" y="27"/>
                    <a:pt x="459" y="27"/>
                  </a:cubicBezTo>
                  <a:cubicBezTo>
                    <a:pt x="463" y="27"/>
                    <a:pt x="466" y="27"/>
                    <a:pt x="469" y="28"/>
                  </a:cubicBezTo>
                  <a:cubicBezTo>
                    <a:pt x="471" y="30"/>
                    <a:pt x="473" y="31"/>
                    <a:pt x="475" y="34"/>
                  </a:cubicBezTo>
                  <a:cubicBezTo>
                    <a:pt x="476" y="36"/>
                    <a:pt x="478" y="38"/>
                    <a:pt x="478" y="41"/>
                  </a:cubicBezTo>
                  <a:cubicBezTo>
                    <a:pt x="479" y="44"/>
                    <a:pt x="479" y="47"/>
                    <a:pt x="479" y="51"/>
                  </a:cubicBezTo>
                  <a:lnTo>
                    <a:pt x="479" y="86"/>
                  </a:lnTo>
                  <a:close/>
                  <a:moveTo>
                    <a:pt x="541" y="29"/>
                  </a:moveTo>
                  <a:cubicBezTo>
                    <a:pt x="541" y="29"/>
                    <a:pt x="541" y="30"/>
                    <a:pt x="541" y="30"/>
                  </a:cubicBezTo>
                  <a:cubicBezTo>
                    <a:pt x="541" y="30"/>
                    <a:pt x="541" y="30"/>
                    <a:pt x="541" y="30"/>
                  </a:cubicBezTo>
                  <a:cubicBezTo>
                    <a:pt x="541" y="31"/>
                    <a:pt x="541" y="31"/>
                    <a:pt x="541" y="31"/>
                  </a:cubicBezTo>
                  <a:cubicBezTo>
                    <a:pt x="541" y="31"/>
                    <a:pt x="541" y="32"/>
                    <a:pt x="540" y="32"/>
                  </a:cubicBezTo>
                  <a:lnTo>
                    <a:pt x="521" y="85"/>
                  </a:lnTo>
                  <a:cubicBezTo>
                    <a:pt x="521" y="86"/>
                    <a:pt x="521" y="86"/>
                    <a:pt x="521" y="86"/>
                  </a:cubicBezTo>
                  <a:cubicBezTo>
                    <a:pt x="520" y="87"/>
                    <a:pt x="520" y="87"/>
                    <a:pt x="519" y="87"/>
                  </a:cubicBezTo>
                  <a:cubicBezTo>
                    <a:pt x="519" y="87"/>
                    <a:pt x="518" y="87"/>
                    <a:pt x="517" y="87"/>
                  </a:cubicBezTo>
                  <a:cubicBezTo>
                    <a:pt x="516" y="88"/>
                    <a:pt x="515" y="88"/>
                    <a:pt x="514" y="88"/>
                  </a:cubicBezTo>
                  <a:cubicBezTo>
                    <a:pt x="513" y="88"/>
                    <a:pt x="512" y="87"/>
                    <a:pt x="511" y="87"/>
                  </a:cubicBezTo>
                  <a:cubicBezTo>
                    <a:pt x="510" y="87"/>
                    <a:pt x="510" y="87"/>
                    <a:pt x="509" y="87"/>
                  </a:cubicBezTo>
                  <a:cubicBezTo>
                    <a:pt x="509" y="87"/>
                    <a:pt x="508" y="87"/>
                    <a:pt x="508" y="86"/>
                  </a:cubicBezTo>
                  <a:cubicBezTo>
                    <a:pt x="508" y="86"/>
                    <a:pt x="507" y="86"/>
                    <a:pt x="507" y="85"/>
                  </a:cubicBezTo>
                  <a:lnTo>
                    <a:pt x="488" y="32"/>
                  </a:lnTo>
                  <a:cubicBezTo>
                    <a:pt x="488" y="31"/>
                    <a:pt x="488" y="31"/>
                    <a:pt x="488" y="31"/>
                  </a:cubicBezTo>
                  <a:cubicBezTo>
                    <a:pt x="487" y="30"/>
                    <a:pt x="487" y="30"/>
                    <a:pt x="487" y="30"/>
                  </a:cubicBezTo>
                  <a:cubicBezTo>
                    <a:pt x="487" y="30"/>
                    <a:pt x="487" y="29"/>
                    <a:pt x="487" y="29"/>
                  </a:cubicBezTo>
                  <a:cubicBezTo>
                    <a:pt x="487" y="29"/>
                    <a:pt x="487" y="29"/>
                    <a:pt x="488" y="28"/>
                  </a:cubicBezTo>
                  <a:cubicBezTo>
                    <a:pt x="488" y="28"/>
                    <a:pt x="488" y="28"/>
                    <a:pt x="488" y="28"/>
                  </a:cubicBezTo>
                  <a:cubicBezTo>
                    <a:pt x="489" y="28"/>
                    <a:pt x="489" y="28"/>
                    <a:pt x="490" y="27"/>
                  </a:cubicBezTo>
                  <a:cubicBezTo>
                    <a:pt x="491" y="27"/>
                    <a:pt x="491" y="27"/>
                    <a:pt x="492" y="27"/>
                  </a:cubicBezTo>
                  <a:cubicBezTo>
                    <a:pt x="494" y="27"/>
                    <a:pt x="495" y="27"/>
                    <a:pt x="495" y="28"/>
                  </a:cubicBezTo>
                  <a:cubicBezTo>
                    <a:pt x="496" y="28"/>
                    <a:pt x="497" y="28"/>
                    <a:pt x="497" y="28"/>
                  </a:cubicBezTo>
                  <a:cubicBezTo>
                    <a:pt x="497" y="28"/>
                    <a:pt x="498" y="28"/>
                    <a:pt x="498" y="28"/>
                  </a:cubicBezTo>
                  <a:cubicBezTo>
                    <a:pt x="498" y="29"/>
                    <a:pt x="498" y="29"/>
                    <a:pt x="498" y="29"/>
                  </a:cubicBezTo>
                  <a:lnTo>
                    <a:pt x="514" y="76"/>
                  </a:lnTo>
                  <a:lnTo>
                    <a:pt x="515" y="77"/>
                  </a:lnTo>
                  <a:lnTo>
                    <a:pt x="515" y="76"/>
                  </a:lnTo>
                  <a:lnTo>
                    <a:pt x="530" y="29"/>
                  </a:lnTo>
                  <a:cubicBezTo>
                    <a:pt x="531" y="29"/>
                    <a:pt x="531" y="29"/>
                    <a:pt x="531" y="28"/>
                  </a:cubicBezTo>
                  <a:cubicBezTo>
                    <a:pt x="531" y="28"/>
                    <a:pt x="531" y="28"/>
                    <a:pt x="532" y="28"/>
                  </a:cubicBezTo>
                  <a:cubicBezTo>
                    <a:pt x="532" y="28"/>
                    <a:pt x="533" y="28"/>
                    <a:pt x="533" y="28"/>
                  </a:cubicBezTo>
                  <a:cubicBezTo>
                    <a:pt x="534" y="27"/>
                    <a:pt x="535" y="27"/>
                    <a:pt x="536" y="27"/>
                  </a:cubicBezTo>
                  <a:cubicBezTo>
                    <a:pt x="537" y="27"/>
                    <a:pt x="538" y="27"/>
                    <a:pt x="538" y="27"/>
                  </a:cubicBezTo>
                  <a:cubicBezTo>
                    <a:pt x="539" y="28"/>
                    <a:pt x="540" y="28"/>
                    <a:pt x="540" y="28"/>
                  </a:cubicBezTo>
                  <a:cubicBezTo>
                    <a:pt x="540" y="28"/>
                    <a:pt x="541" y="28"/>
                    <a:pt x="541" y="28"/>
                  </a:cubicBezTo>
                  <a:cubicBezTo>
                    <a:pt x="541" y="29"/>
                    <a:pt x="541" y="29"/>
                    <a:pt x="541" y="29"/>
                  </a:cubicBezTo>
                  <a:close/>
                  <a:moveTo>
                    <a:pt x="607" y="55"/>
                  </a:moveTo>
                  <a:cubicBezTo>
                    <a:pt x="607" y="57"/>
                    <a:pt x="606" y="58"/>
                    <a:pt x="606" y="59"/>
                  </a:cubicBezTo>
                  <a:cubicBezTo>
                    <a:pt x="605" y="59"/>
                    <a:pt x="604" y="60"/>
                    <a:pt x="603" y="60"/>
                  </a:cubicBezTo>
                  <a:lnTo>
                    <a:pt x="566" y="60"/>
                  </a:lnTo>
                  <a:cubicBezTo>
                    <a:pt x="566" y="63"/>
                    <a:pt x="566" y="65"/>
                    <a:pt x="567" y="68"/>
                  </a:cubicBezTo>
                  <a:cubicBezTo>
                    <a:pt x="567" y="70"/>
                    <a:pt x="568" y="73"/>
                    <a:pt x="570" y="74"/>
                  </a:cubicBezTo>
                  <a:cubicBezTo>
                    <a:pt x="571" y="76"/>
                    <a:pt x="573" y="78"/>
                    <a:pt x="576" y="79"/>
                  </a:cubicBezTo>
                  <a:cubicBezTo>
                    <a:pt x="578" y="79"/>
                    <a:pt x="581" y="80"/>
                    <a:pt x="584" y="80"/>
                  </a:cubicBezTo>
                  <a:cubicBezTo>
                    <a:pt x="587" y="80"/>
                    <a:pt x="589" y="80"/>
                    <a:pt x="591" y="79"/>
                  </a:cubicBezTo>
                  <a:cubicBezTo>
                    <a:pt x="593" y="79"/>
                    <a:pt x="595" y="78"/>
                    <a:pt x="597" y="78"/>
                  </a:cubicBezTo>
                  <a:cubicBezTo>
                    <a:pt x="598" y="77"/>
                    <a:pt x="600" y="77"/>
                    <a:pt x="601" y="76"/>
                  </a:cubicBezTo>
                  <a:cubicBezTo>
                    <a:pt x="601" y="76"/>
                    <a:pt x="602" y="76"/>
                    <a:pt x="603" y="76"/>
                  </a:cubicBezTo>
                  <a:cubicBezTo>
                    <a:pt x="603" y="76"/>
                    <a:pt x="603" y="76"/>
                    <a:pt x="604" y="76"/>
                  </a:cubicBezTo>
                  <a:cubicBezTo>
                    <a:pt x="604" y="76"/>
                    <a:pt x="604" y="76"/>
                    <a:pt x="604" y="77"/>
                  </a:cubicBezTo>
                  <a:cubicBezTo>
                    <a:pt x="604" y="77"/>
                    <a:pt x="604" y="77"/>
                    <a:pt x="604" y="78"/>
                  </a:cubicBezTo>
                  <a:cubicBezTo>
                    <a:pt x="604" y="78"/>
                    <a:pt x="604" y="79"/>
                    <a:pt x="604" y="80"/>
                  </a:cubicBezTo>
                  <a:cubicBezTo>
                    <a:pt x="604" y="80"/>
                    <a:pt x="604" y="81"/>
                    <a:pt x="604" y="81"/>
                  </a:cubicBezTo>
                  <a:cubicBezTo>
                    <a:pt x="604" y="82"/>
                    <a:pt x="604" y="82"/>
                    <a:pt x="604" y="82"/>
                  </a:cubicBezTo>
                  <a:cubicBezTo>
                    <a:pt x="604" y="83"/>
                    <a:pt x="604" y="83"/>
                    <a:pt x="604" y="83"/>
                  </a:cubicBezTo>
                  <a:cubicBezTo>
                    <a:pt x="604" y="83"/>
                    <a:pt x="604" y="84"/>
                    <a:pt x="603" y="84"/>
                  </a:cubicBezTo>
                  <a:cubicBezTo>
                    <a:pt x="603" y="84"/>
                    <a:pt x="602" y="84"/>
                    <a:pt x="601" y="85"/>
                  </a:cubicBezTo>
                  <a:cubicBezTo>
                    <a:pt x="600" y="85"/>
                    <a:pt x="599" y="86"/>
                    <a:pt x="597" y="86"/>
                  </a:cubicBezTo>
                  <a:cubicBezTo>
                    <a:pt x="595" y="87"/>
                    <a:pt x="593" y="87"/>
                    <a:pt x="591" y="88"/>
                  </a:cubicBezTo>
                  <a:cubicBezTo>
                    <a:pt x="588" y="88"/>
                    <a:pt x="586" y="88"/>
                    <a:pt x="583" y="88"/>
                  </a:cubicBezTo>
                  <a:cubicBezTo>
                    <a:pt x="579" y="88"/>
                    <a:pt x="575" y="88"/>
                    <a:pt x="571" y="86"/>
                  </a:cubicBezTo>
                  <a:cubicBezTo>
                    <a:pt x="568" y="85"/>
                    <a:pt x="565" y="83"/>
                    <a:pt x="562" y="81"/>
                  </a:cubicBezTo>
                  <a:cubicBezTo>
                    <a:pt x="560" y="78"/>
                    <a:pt x="558" y="75"/>
                    <a:pt x="557" y="71"/>
                  </a:cubicBezTo>
                  <a:cubicBezTo>
                    <a:pt x="556" y="67"/>
                    <a:pt x="555" y="63"/>
                    <a:pt x="555" y="58"/>
                  </a:cubicBezTo>
                  <a:cubicBezTo>
                    <a:pt x="555" y="53"/>
                    <a:pt x="556" y="49"/>
                    <a:pt x="557" y="45"/>
                  </a:cubicBezTo>
                  <a:cubicBezTo>
                    <a:pt x="558" y="41"/>
                    <a:pt x="560" y="38"/>
                    <a:pt x="562" y="35"/>
                  </a:cubicBezTo>
                  <a:cubicBezTo>
                    <a:pt x="565" y="32"/>
                    <a:pt x="568" y="30"/>
                    <a:pt x="571" y="29"/>
                  </a:cubicBezTo>
                  <a:cubicBezTo>
                    <a:pt x="574" y="27"/>
                    <a:pt x="578" y="27"/>
                    <a:pt x="582" y="27"/>
                  </a:cubicBezTo>
                  <a:cubicBezTo>
                    <a:pt x="586" y="27"/>
                    <a:pt x="590" y="27"/>
                    <a:pt x="593" y="29"/>
                  </a:cubicBezTo>
                  <a:cubicBezTo>
                    <a:pt x="596" y="30"/>
                    <a:pt x="599" y="32"/>
                    <a:pt x="601" y="34"/>
                  </a:cubicBezTo>
                  <a:cubicBezTo>
                    <a:pt x="603" y="37"/>
                    <a:pt x="604" y="40"/>
                    <a:pt x="605" y="43"/>
                  </a:cubicBezTo>
                  <a:cubicBezTo>
                    <a:pt x="606" y="46"/>
                    <a:pt x="607" y="49"/>
                    <a:pt x="607" y="53"/>
                  </a:cubicBezTo>
                  <a:lnTo>
                    <a:pt x="607" y="55"/>
                  </a:lnTo>
                  <a:close/>
                  <a:moveTo>
                    <a:pt x="596" y="52"/>
                  </a:moveTo>
                  <a:cubicBezTo>
                    <a:pt x="597" y="47"/>
                    <a:pt x="595" y="42"/>
                    <a:pt x="593" y="39"/>
                  </a:cubicBezTo>
                  <a:cubicBezTo>
                    <a:pt x="590" y="36"/>
                    <a:pt x="587" y="35"/>
                    <a:pt x="582" y="35"/>
                  </a:cubicBezTo>
                  <a:cubicBezTo>
                    <a:pt x="579" y="35"/>
                    <a:pt x="577" y="35"/>
                    <a:pt x="575" y="36"/>
                  </a:cubicBezTo>
                  <a:cubicBezTo>
                    <a:pt x="573" y="37"/>
                    <a:pt x="571" y="38"/>
                    <a:pt x="570" y="40"/>
                  </a:cubicBezTo>
                  <a:cubicBezTo>
                    <a:pt x="569" y="41"/>
                    <a:pt x="568" y="43"/>
                    <a:pt x="567" y="45"/>
                  </a:cubicBezTo>
                  <a:cubicBezTo>
                    <a:pt x="566" y="47"/>
                    <a:pt x="566" y="50"/>
                    <a:pt x="566" y="52"/>
                  </a:cubicBezTo>
                  <a:lnTo>
                    <a:pt x="596" y="52"/>
                  </a:lnTo>
                  <a:close/>
                  <a:moveTo>
                    <a:pt x="671" y="86"/>
                  </a:moveTo>
                  <a:cubicBezTo>
                    <a:pt x="671" y="86"/>
                    <a:pt x="671" y="86"/>
                    <a:pt x="671" y="86"/>
                  </a:cubicBezTo>
                  <a:cubicBezTo>
                    <a:pt x="671" y="87"/>
                    <a:pt x="671" y="87"/>
                    <a:pt x="670" y="87"/>
                  </a:cubicBezTo>
                  <a:cubicBezTo>
                    <a:pt x="670" y="87"/>
                    <a:pt x="669" y="87"/>
                    <a:pt x="669" y="87"/>
                  </a:cubicBezTo>
                  <a:cubicBezTo>
                    <a:pt x="668" y="87"/>
                    <a:pt x="667" y="88"/>
                    <a:pt x="666" y="88"/>
                  </a:cubicBezTo>
                  <a:cubicBezTo>
                    <a:pt x="665" y="88"/>
                    <a:pt x="664" y="87"/>
                    <a:pt x="664" y="87"/>
                  </a:cubicBezTo>
                  <a:cubicBezTo>
                    <a:pt x="663" y="87"/>
                    <a:pt x="662" y="87"/>
                    <a:pt x="662" y="87"/>
                  </a:cubicBezTo>
                  <a:cubicBezTo>
                    <a:pt x="662" y="87"/>
                    <a:pt x="661" y="87"/>
                    <a:pt x="661" y="86"/>
                  </a:cubicBezTo>
                  <a:cubicBezTo>
                    <a:pt x="661" y="86"/>
                    <a:pt x="661" y="86"/>
                    <a:pt x="661" y="86"/>
                  </a:cubicBezTo>
                  <a:lnTo>
                    <a:pt x="661" y="53"/>
                  </a:lnTo>
                  <a:cubicBezTo>
                    <a:pt x="661" y="49"/>
                    <a:pt x="661" y="47"/>
                    <a:pt x="660" y="45"/>
                  </a:cubicBezTo>
                  <a:cubicBezTo>
                    <a:pt x="660" y="43"/>
                    <a:pt x="659" y="41"/>
                    <a:pt x="658" y="40"/>
                  </a:cubicBezTo>
                  <a:cubicBezTo>
                    <a:pt x="657" y="38"/>
                    <a:pt x="656" y="37"/>
                    <a:pt x="654" y="37"/>
                  </a:cubicBezTo>
                  <a:cubicBezTo>
                    <a:pt x="653" y="36"/>
                    <a:pt x="651" y="35"/>
                    <a:pt x="649" y="35"/>
                  </a:cubicBezTo>
                  <a:cubicBezTo>
                    <a:pt x="646" y="35"/>
                    <a:pt x="644" y="36"/>
                    <a:pt x="641" y="38"/>
                  </a:cubicBezTo>
                  <a:cubicBezTo>
                    <a:pt x="639" y="40"/>
                    <a:pt x="636" y="43"/>
                    <a:pt x="633" y="46"/>
                  </a:cubicBezTo>
                  <a:lnTo>
                    <a:pt x="633" y="86"/>
                  </a:lnTo>
                  <a:cubicBezTo>
                    <a:pt x="633" y="86"/>
                    <a:pt x="633" y="86"/>
                    <a:pt x="633" y="86"/>
                  </a:cubicBezTo>
                  <a:cubicBezTo>
                    <a:pt x="633" y="87"/>
                    <a:pt x="632" y="87"/>
                    <a:pt x="632" y="87"/>
                  </a:cubicBezTo>
                  <a:cubicBezTo>
                    <a:pt x="632" y="87"/>
                    <a:pt x="631" y="87"/>
                    <a:pt x="630" y="87"/>
                  </a:cubicBezTo>
                  <a:cubicBezTo>
                    <a:pt x="630" y="87"/>
                    <a:pt x="629" y="88"/>
                    <a:pt x="628" y="88"/>
                  </a:cubicBezTo>
                  <a:cubicBezTo>
                    <a:pt x="627" y="88"/>
                    <a:pt x="626" y="87"/>
                    <a:pt x="625" y="87"/>
                  </a:cubicBezTo>
                  <a:cubicBezTo>
                    <a:pt x="625" y="87"/>
                    <a:pt x="624" y="87"/>
                    <a:pt x="624" y="87"/>
                  </a:cubicBezTo>
                  <a:cubicBezTo>
                    <a:pt x="623" y="87"/>
                    <a:pt x="623" y="87"/>
                    <a:pt x="623" y="86"/>
                  </a:cubicBezTo>
                  <a:cubicBezTo>
                    <a:pt x="623" y="86"/>
                    <a:pt x="623" y="86"/>
                    <a:pt x="623" y="86"/>
                  </a:cubicBezTo>
                  <a:lnTo>
                    <a:pt x="623" y="29"/>
                  </a:lnTo>
                  <a:cubicBezTo>
                    <a:pt x="623" y="29"/>
                    <a:pt x="623" y="29"/>
                    <a:pt x="623" y="29"/>
                  </a:cubicBezTo>
                  <a:cubicBezTo>
                    <a:pt x="623" y="28"/>
                    <a:pt x="623" y="28"/>
                    <a:pt x="624" y="28"/>
                  </a:cubicBezTo>
                  <a:cubicBezTo>
                    <a:pt x="624" y="28"/>
                    <a:pt x="625" y="28"/>
                    <a:pt x="625" y="28"/>
                  </a:cubicBezTo>
                  <a:cubicBezTo>
                    <a:pt x="626" y="27"/>
                    <a:pt x="627" y="27"/>
                    <a:pt x="627" y="27"/>
                  </a:cubicBezTo>
                  <a:cubicBezTo>
                    <a:pt x="628" y="27"/>
                    <a:pt x="629" y="27"/>
                    <a:pt x="630" y="28"/>
                  </a:cubicBezTo>
                  <a:cubicBezTo>
                    <a:pt x="630" y="28"/>
                    <a:pt x="631" y="28"/>
                    <a:pt x="631" y="28"/>
                  </a:cubicBezTo>
                  <a:cubicBezTo>
                    <a:pt x="632" y="28"/>
                    <a:pt x="632" y="28"/>
                    <a:pt x="632" y="29"/>
                  </a:cubicBezTo>
                  <a:cubicBezTo>
                    <a:pt x="632" y="29"/>
                    <a:pt x="632" y="29"/>
                    <a:pt x="632" y="29"/>
                  </a:cubicBezTo>
                  <a:lnTo>
                    <a:pt x="632" y="37"/>
                  </a:lnTo>
                  <a:cubicBezTo>
                    <a:pt x="635" y="33"/>
                    <a:pt x="638" y="31"/>
                    <a:pt x="642" y="29"/>
                  </a:cubicBezTo>
                  <a:cubicBezTo>
                    <a:pt x="645" y="27"/>
                    <a:pt x="648" y="27"/>
                    <a:pt x="651" y="27"/>
                  </a:cubicBezTo>
                  <a:cubicBezTo>
                    <a:pt x="655" y="27"/>
                    <a:pt x="658" y="27"/>
                    <a:pt x="661" y="28"/>
                  </a:cubicBezTo>
                  <a:cubicBezTo>
                    <a:pt x="663" y="30"/>
                    <a:pt x="665" y="31"/>
                    <a:pt x="667" y="34"/>
                  </a:cubicBezTo>
                  <a:cubicBezTo>
                    <a:pt x="668" y="36"/>
                    <a:pt x="670" y="38"/>
                    <a:pt x="670" y="41"/>
                  </a:cubicBezTo>
                  <a:cubicBezTo>
                    <a:pt x="671" y="44"/>
                    <a:pt x="671" y="47"/>
                    <a:pt x="671" y="51"/>
                  </a:cubicBezTo>
                  <a:lnTo>
                    <a:pt x="671" y="86"/>
                  </a:lnTo>
                  <a:close/>
                  <a:moveTo>
                    <a:pt x="716" y="81"/>
                  </a:moveTo>
                  <a:cubicBezTo>
                    <a:pt x="716" y="83"/>
                    <a:pt x="716" y="84"/>
                    <a:pt x="716" y="84"/>
                  </a:cubicBezTo>
                  <a:cubicBezTo>
                    <a:pt x="716" y="85"/>
                    <a:pt x="715" y="86"/>
                    <a:pt x="715" y="86"/>
                  </a:cubicBezTo>
                  <a:cubicBezTo>
                    <a:pt x="715" y="86"/>
                    <a:pt x="714" y="87"/>
                    <a:pt x="714" y="87"/>
                  </a:cubicBezTo>
                  <a:cubicBezTo>
                    <a:pt x="713" y="87"/>
                    <a:pt x="712" y="87"/>
                    <a:pt x="711" y="88"/>
                  </a:cubicBezTo>
                  <a:cubicBezTo>
                    <a:pt x="710" y="88"/>
                    <a:pt x="710" y="88"/>
                    <a:pt x="709" y="88"/>
                  </a:cubicBezTo>
                  <a:cubicBezTo>
                    <a:pt x="708" y="88"/>
                    <a:pt x="707" y="88"/>
                    <a:pt x="706" y="88"/>
                  </a:cubicBezTo>
                  <a:cubicBezTo>
                    <a:pt x="703" y="88"/>
                    <a:pt x="700" y="88"/>
                    <a:pt x="698" y="87"/>
                  </a:cubicBezTo>
                  <a:cubicBezTo>
                    <a:pt x="696" y="86"/>
                    <a:pt x="694" y="85"/>
                    <a:pt x="693" y="84"/>
                  </a:cubicBezTo>
                  <a:cubicBezTo>
                    <a:pt x="692" y="82"/>
                    <a:pt x="691" y="80"/>
                    <a:pt x="690" y="78"/>
                  </a:cubicBezTo>
                  <a:cubicBezTo>
                    <a:pt x="690" y="75"/>
                    <a:pt x="689" y="72"/>
                    <a:pt x="689" y="69"/>
                  </a:cubicBezTo>
                  <a:lnTo>
                    <a:pt x="689" y="36"/>
                  </a:lnTo>
                  <a:lnTo>
                    <a:pt x="681" y="36"/>
                  </a:lnTo>
                  <a:cubicBezTo>
                    <a:pt x="681" y="36"/>
                    <a:pt x="680" y="36"/>
                    <a:pt x="680" y="35"/>
                  </a:cubicBezTo>
                  <a:cubicBezTo>
                    <a:pt x="679" y="35"/>
                    <a:pt x="679" y="34"/>
                    <a:pt x="679" y="32"/>
                  </a:cubicBezTo>
                  <a:cubicBezTo>
                    <a:pt x="679" y="31"/>
                    <a:pt x="679" y="31"/>
                    <a:pt x="679" y="30"/>
                  </a:cubicBezTo>
                  <a:cubicBezTo>
                    <a:pt x="680" y="29"/>
                    <a:pt x="680" y="29"/>
                    <a:pt x="680" y="29"/>
                  </a:cubicBezTo>
                  <a:cubicBezTo>
                    <a:pt x="680" y="28"/>
                    <a:pt x="680" y="28"/>
                    <a:pt x="681" y="28"/>
                  </a:cubicBezTo>
                  <a:cubicBezTo>
                    <a:pt x="681" y="28"/>
                    <a:pt x="681" y="28"/>
                    <a:pt x="681" y="28"/>
                  </a:cubicBezTo>
                  <a:lnTo>
                    <a:pt x="689" y="28"/>
                  </a:lnTo>
                  <a:lnTo>
                    <a:pt x="689" y="14"/>
                  </a:lnTo>
                  <a:cubicBezTo>
                    <a:pt x="689" y="14"/>
                    <a:pt x="689" y="14"/>
                    <a:pt x="689" y="14"/>
                  </a:cubicBezTo>
                  <a:cubicBezTo>
                    <a:pt x="690" y="13"/>
                    <a:pt x="690" y="13"/>
                    <a:pt x="690" y="13"/>
                  </a:cubicBezTo>
                  <a:cubicBezTo>
                    <a:pt x="691" y="13"/>
                    <a:pt x="691" y="13"/>
                    <a:pt x="692" y="12"/>
                  </a:cubicBezTo>
                  <a:cubicBezTo>
                    <a:pt x="693" y="12"/>
                    <a:pt x="693" y="12"/>
                    <a:pt x="694" y="12"/>
                  </a:cubicBezTo>
                  <a:cubicBezTo>
                    <a:pt x="695" y="12"/>
                    <a:pt x="696" y="12"/>
                    <a:pt x="697" y="12"/>
                  </a:cubicBezTo>
                  <a:cubicBezTo>
                    <a:pt x="698" y="13"/>
                    <a:pt x="698" y="13"/>
                    <a:pt x="698" y="13"/>
                  </a:cubicBezTo>
                  <a:cubicBezTo>
                    <a:pt x="699" y="13"/>
                    <a:pt x="699" y="13"/>
                    <a:pt x="699" y="14"/>
                  </a:cubicBezTo>
                  <a:cubicBezTo>
                    <a:pt x="699" y="14"/>
                    <a:pt x="700" y="14"/>
                    <a:pt x="700" y="14"/>
                  </a:cubicBezTo>
                  <a:lnTo>
                    <a:pt x="700" y="28"/>
                  </a:lnTo>
                  <a:lnTo>
                    <a:pt x="714" y="28"/>
                  </a:lnTo>
                  <a:cubicBezTo>
                    <a:pt x="714" y="28"/>
                    <a:pt x="715" y="28"/>
                    <a:pt x="715" y="28"/>
                  </a:cubicBezTo>
                  <a:cubicBezTo>
                    <a:pt x="715" y="28"/>
                    <a:pt x="715" y="28"/>
                    <a:pt x="716" y="29"/>
                  </a:cubicBezTo>
                  <a:cubicBezTo>
                    <a:pt x="716" y="29"/>
                    <a:pt x="716" y="29"/>
                    <a:pt x="716" y="30"/>
                  </a:cubicBezTo>
                  <a:cubicBezTo>
                    <a:pt x="716" y="31"/>
                    <a:pt x="716" y="31"/>
                    <a:pt x="716" y="32"/>
                  </a:cubicBezTo>
                  <a:cubicBezTo>
                    <a:pt x="716" y="34"/>
                    <a:pt x="716" y="35"/>
                    <a:pt x="715" y="35"/>
                  </a:cubicBezTo>
                  <a:cubicBezTo>
                    <a:pt x="715" y="36"/>
                    <a:pt x="715" y="36"/>
                    <a:pt x="714" y="36"/>
                  </a:cubicBezTo>
                  <a:lnTo>
                    <a:pt x="700" y="36"/>
                  </a:lnTo>
                  <a:lnTo>
                    <a:pt x="700" y="68"/>
                  </a:lnTo>
                  <a:cubicBezTo>
                    <a:pt x="700" y="72"/>
                    <a:pt x="700" y="74"/>
                    <a:pt x="701" y="76"/>
                  </a:cubicBezTo>
                  <a:cubicBezTo>
                    <a:pt x="702" y="78"/>
                    <a:pt x="704" y="79"/>
                    <a:pt x="707" y="79"/>
                  </a:cubicBezTo>
                  <a:cubicBezTo>
                    <a:pt x="708" y="79"/>
                    <a:pt x="709" y="79"/>
                    <a:pt x="710" y="79"/>
                  </a:cubicBezTo>
                  <a:cubicBezTo>
                    <a:pt x="711" y="79"/>
                    <a:pt x="711" y="79"/>
                    <a:pt x="712" y="79"/>
                  </a:cubicBezTo>
                  <a:cubicBezTo>
                    <a:pt x="713" y="78"/>
                    <a:pt x="713" y="78"/>
                    <a:pt x="713" y="78"/>
                  </a:cubicBezTo>
                  <a:cubicBezTo>
                    <a:pt x="714" y="78"/>
                    <a:pt x="714" y="78"/>
                    <a:pt x="715" y="78"/>
                  </a:cubicBezTo>
                  <a:cubicBezTo>
                    <a:pt x="715" y="78"/>
                    <a:pt x="715" y="78"/>
                    <a:pt x="715" y="78"/>
                  </a:cubicBezTo>
                  <a:cubicBezTo>
                    <a:pt x="715" y="78"/>
                    <a:pt x="716" y="78"/>
                    <a:pt x="716" y="78"/>
                  </a:cubicBezTo>
                  <a:cubicBezTo>
                    <a:pt x="716" y="79"/>
                    <a:pt x="716" y="79"/>
                    <a:pt x="716" y="80"/>
                  </a:cubicBezTo>
                  <a:cubicBezTo>
                    <a:pt x="716" y="80"/>
                    <a:pt x="716" y="81"/>
                    <a:pt x="716" y="81"/>
                  </a:cubicBezTo>
                  <a:close/>
                  <a:moveTo>
                    <a:pt x="787" y="57"/>
                  </a:moveTo>
                  <a:cubicBezTo>
                    <a:pt x="787" y="61"/>
                    <a:pt x="787" y="66"/>
                    <a:pt x="785" y="70"/>
                  </a:cubicBezTo>
                  <a:cubicBezTo>
                    <a:pt x="784" y="73"/>
                    <a:pt x="782" y="77"/>
                    <a:pt x="780" y="79"/>
                  </a:cubicBezTo>
                  <a:cubicBezTo>
                    <a:pt x="778" y="82"/>
                    <a:pt x="775" y="84"/>
                    <a:pt x="771" y="86"/>
                  </a:cubicBezTo>
                  <a:cubicBezTo>
                    <a:pt x="767" y="88"/>
                    <a:pt x="763" y="88"/>
                    <a:pt x="758" y="88"/>
                  </a:cubicBezTo>
                  <a:cubicBezTo>
                    <a:pt x="754" y="88"/>
                    <a:pt x="750" y="88"/>
                    <a:pt x="746" y="86"/>
                  </a:cubicBezTo>
                  <a:cubicBezTo>
                    <a:pt x="743" y="85"/>
                    <a:pt x="740" y="83"/>
                    <a:pt x="738" y="80"/>
                  </a:cubicBezTo>
                  <a:cubicBezTo>
                    <a:pt x="735" y="78"/>
                    <a:pt x="734" y="74"/>
                    <a:pt x="733" y="71"/>
                  </a:cubicBezTo>
                  <a:cubicBezTo>
                    <a:pt x="731" y="67"/>
                    <a:pt x="731" y="63"/>
                    <a:pt x="731" y="58"/>
                  </a:cubicBezTo>
                  <a:cubicBezTo>
                    <a:pt x="731" y="53"/>
                    <a:pt x="731" y="49"/>
                    <a:pt x="733" y="45"/>
                  </a:cubicBezTo>
                  <a:cubicBezTo>
                    <a:pt x="734" y="41"/>
                    <a:pt x="736" y="38"/>
                    <a:pt x="738" y="35"/>
                  </a:cubicBezTo>
                  <a:cubicBezTo>
                    <a:pt x="740" y="33"/>
                    <a:pt x="743" y="30"/>
                    <a:pt x="747" y="29"/>
                  </a:cubicBezTo>
                  <a:cubicBezTo>
                    <a:pt x="751" y="27"/>
                    <a:pt x="755" y="27"/>
                    <a:pt x="760" y="27"/>
                  </a:cubicBezTo>
                  <a:cubicBezTo>
                    <a:pt x="764" y="27"/>
                    <a:pt x="768" y="27"/>
                    <a:pt x="772" y="29"/>
                  </a:cubicBezTo>
                  <a:cubicBezTo>
                    <a:pt x="775" y="30"/>
                    <a:pt x="778" y="32"/>
                    <a:pt x="780" y="35"/>
                  </a:cubicBezTo>
                  <a:cubicBezTo>
                    <a:pt x="783" y="37"/>
                    <a:pt x="784" y="40"/>
                    <a:pt x="785" y="44"/>
                  </a:cubicBezTo>
                  <a:cubicBezTo>
                    <a:pt x="787" y="48"/>
                    <a:pt x="787" y="52"/>
                    <a:pt x="787" y="57"/>
                  </a:cubicBezTo>
                  <a:close/>
                  <a:moveTo>
                    <a:pt x="776" y="58"/>
                  </a:moveTo>
                  <a:cubicBezTo>
                    <a:pt x="776" y="54"/>
                    <a:pt x="776" y="52"/>
                    <a:pt x="776" y="49"/>
                  </a:cubicBezTo>
                  <a:cubicBezTo>
                    <a:pt x="775" y="46"/>
                    <a:pt x="774" y="44"/>
                    <a:pt x="773" y="42"/>
                  </a:cubicBezTo>
                  <a:cubicBezTo>
                    <a:pt x="771" y="40"/>
                    <a:pt x="770" y="38"/>
                    <a:pt x="767" y="37"/>
                  </a:cubicBezTo>
                  <a:cubicBezTo>
                    <a:pt x="765" y="36"/>
                    <a:pt x="762" y="35"/>
                    <a:pt x="759" y="35"/>
                  </a:cubicBezTo>
                  <a:cubicBezTo>
                    <a:pt x="756" y="35"/>
                    <a:pt x="753" y="36"/>
                    <a:pt x="751" y="37"/>
                  </a:cubicBezTo>
                  <a:cubicBezTo>
                    <a:pt x="749" y="38"/>
                    <a:pt x="747" y="39"/>
                    <a:pt x="746" y="41"/>
                  </a:cubicBezTo>
                  <a:cubicBezTo>
                    <a:pt x="744" y="43"/>
                    <a:pt x="743" y="46"/>
                    <a:pt x="743" y="48"/>
                  </a:cubicBezTo>
                  <a:cubicBezTo>
                    <a:pt x="742" y="51"/>
                    <a:pt x="742" y="54"/>
                    <a:pt x="742" y="57"/>
                  </a:cubicBezTo>
                  <a:cubicBezTo>
                    <a:pt x="742" y="60"/>
                    <a:pt x="742" y="63"/>
                    <a:pt x="742" y="66"/>
                  </a:cubicBezTo>
                  <a:cubicBezTo>
                    <a:pt x="743" y="69"/>
                    <a:pt x="744" y="71"/>
                    <a:pt x="745" y="73"/>
                  </a:cubicBezTo>
                  <a:cubicBezTo>
                    <a:pt x="747" y="75"/>
                    <a:pt x="748" y="77"/>
                    <a:pt x="751" y="78"/>
                  </a:cubicBezTo>
                  <a:cubicBezTo>
                    <a:pt x="753" y="79"/>
                    <a:pt x="756" y="80"/>
                    <a:pt x="759" y="80"/>
                  </a:cubicBezTo>
                  <a:cubicBezTo>
                    <a:pt x="762" y="80"/>
                    <a:pt x="765" y="79"/>
                    <a:pt x="767" y="78"/>
                  </a:cubicBezTo>
                  <a:cubicBezTo>
                    <a:pt x="769" y="77"/>
                    <a:pt x="771" y="75"/>
                    <a:pt x="772" y="73"/>
                  </a:cubicBezTo>
                  <a:cubicBezTo>
                    <a:pt x="774" y="72"/>
                    <a:pt x="775" y="69"/>
                    <a:pt x="775" y="66"/>
                  </a:cubicBezTo>
                  <a:cubicBezTo>
                    <a:pt x="776" y="64"/>
                    <a:pt x="776" y="61"/>
                    <a:pt x="776" y="58"/>
                  </a:cubicBezTo>
                  <a:close/>
                  <a:moveTo>
                    <a:pt x="832" y="33"/>
                  </a:moveTo>
                  <a:cubicBezTo>
                    <a:pt x="832" y="34"/>
                    <a:pt x="832" y="35"/>
                    <a:pt x="832" y="35"/>
                  </a:cubicBezTo>
                  <a:cubicBezTo>
                    <a:pt x="832" y="36"/>
                    <a:pt x="831" y="36"/>
                    <a:pt x="831" y="37"/>
                  </a:cubicBezTo>
                  <a:cubicBezTo>
                    <a:pt x="831" y="37"/>
                    <a:pt x="831" y="37"/>
                    <a:pt x="831" y="38"/>
                  </a:cubicBezTo>
                  <a:cubicBezTo>
                    <a:pt x="831" y="38"/>
                    <a:pt x="830" y="38"/>
                    <a:pt x="830" y="38"/>
                  </a:cubicBezTo>
                  <a:cubicBezTo>
                    <a:pt x="830" y="38"/>
                    <a:pt x="829" y="38"/>
                    <a:pt x="829" y="38"/>
                  </a:cubicBezTo>
                  <a:cubicBezTo>
                    <a:pt x="828" y="37"/>
                    <a:pt x="828" y="37"/>
                    <a:pt x="827" y="37"/>
                  </a:cubicBezTo>
                  <a:cubicBezTo>
                    <a:pt x="827" y="37"/>
                    <a:pt x="826" y="37"/>
                    <a:pt x="825" y="37"/>
                  </a:cubicBezTo>
                  <a:cubicBezTo>
                    <a:pt x="824" y="36"/>
                    <a:pt x="824" y="36"/>
                    <a:pt x="823" y="36"/>
                  </a:cubicBezTo>
                  <a:cubicBezTo>
                    <a:pt x="822" y="36"/>
                    <a:pt x="821" y="36"/>
                    <a:pt x="820" y="37"/>
                  </a:cubicBezTo>
                  <a:cubicBezTo>
                    <a:pt x="819" y="37"/>
                    <a:pt x="818" y="38"/>
                    <a:pt x="817" y="39"/>
                  </a:cubicBezTo>
                  <a:cubicBezTo>
                    <a:pt x="815" y="40"/>
                    <a:pt x="814" y="41"/>
                    <a:pt x="813" y="43"/>
                  </a:cubicBezTo>
                  <a:cubicBezTo>
                    <a:pt x="812" y="44"/>
                    <a:pt x="811" y="46"/>
                    <a:pt x="809" y="49"/>
                  </a:cubicBezTo>
                  <a:lnTo>
                    <a:pt x="809" y="86"/>
                  </a:lnTo>
                  <a:cubicBezTo>
                    <a:pt x="809" y="86"/>
                    <a:pt x="809" y="86"/>
                    <a:pt x="809" y="86"/>
                  </a:cubicBezTo>
                  <a:cubicBezTo>
                    <a:pt x="809" y="87"/>
                    <a:pt x="808" y="87"/>
                    <a:pt x="808" y="87"/>
                  </a:cubicBezTo>
                  <a:cubicBezTo>
                    <a:pt x="808" y="87"/>
                    <a:pt x="807" y="87"/>
                    <a:pt x="806" y="87"/>
                  </a:cubicBezTo>
                  <a:cubicBezTo>
                    <a:pt x="806" y="87"/>
                    <a:pt x="805" y="88"/>
                    <a:pt x="804" y="88"/>
                  </a:cubicBezTo>
                  <a:cubicBezTo>
                    <a:pt x="803" y="88"/>
                    <a:pt x="802" y="87"/>
                    <a:pt x="801" y="87"/>
                  </a:cubicBezTo>
                  <a:cubicBezTo>
                    <a:pt x="801" y="87"/>
                    <a:pt x="800" y="87"/>
                    <a:pt x="800" y="87"/>
                  </a:cubicBezTo>
                  <a:cubicBezTo>
                    <a:pt x="799" y="87"/>
                    <a:pt x="799" y="87"/>
                    <a:pt x="799" y="86"/>
                  </a:cubicBezTo>
                  <a:cubicBezTo>
                    <a:pt x="799" y="86"/>
                    <a:pt x="799" y="86"/>
                    <a:pt x="799" y="86"/>
                  </a:cubicBezTo>
                  <a:lnTo>
                    <a:pt x="799" y="29"/>
                  </a:lnTo>
                  <a:cubicBezTo>
                    <a:pt x="799" y="29"/>
                    <a:pt x="799" y="29"/>
                    <a:pt x="799" y="29"/>
                  </a:cubicBezTo>
                  <a:cubicBezTo>
                    <a:pt x="799" y="28"/>
                    <a:pt x="799" y="28"/>
                    <a:pt x="800" y="28"/>
                  </a:cubicBezTo>
                  <a:cubicBezTo>
                    <a:pt x="800" y="28"/>
                    <a:pt x="801" y="28"/>
                    <a:pt x="801" y="28"/>
                  </a:cubicBezTo>
                  <a:cubicBezTo>
                    <a:pt x="802" y="27"/>
                    <a:pt x="803" y="27"/>
                    <a:pt x="803" y="27"/>
                  </a:cubicBezTo>
                  <a:cubicBezTo>
                    <a:pt x="804" y="27"/>
                    <a:pt x="805" y="27"/>
                    <a:pt x="806" y="28"/>
                  </a:cubicBezTo>
                  <a:cubicBezTo>
                    <a:pt x="806" y="28"/>
                    <a:pt x="807" y="28"/>
                    <a:pt x="807" y="28"/>
                  </a:cubicBezTo>
                  <a:cubicBezTo>
                    <a:pt x="808" y="28"/>
                    <a:pt x="808" y="28"/>
                    <a:pt x="808" y="29"/>
                  </a:cubicBezTo>
                  <a:cubicBezTo>
                    <a:pt x="808" y="29"/>
                    <a:pt x="808" y="29"/>
                    <a:pt x="808" y="29"/>
                  </a:cubicBezTo>
                  <a:lnTo>
                    <a:pt x="808" y="38"/>
                  </a:lnTo>
                  <a:cubicBezTo>
                    <a:pt x="810" y="35"/>
                    <a:pt x="811" y="33"/>
                    <a:pt x="812" y="32"/>
                  </a:cubicBezTo>
                  <a:cubicBezTo>
                    <a:pt x="814" y="31"/>
                    <a:pt x="815" y="30"/>
                    <a:pt x="816" y="29"/>
                  </a:cubicBezTo>
                  <a:cubicBezTo>
                    <a:pt x="818" y="28"/>
                    <a:pt x="819" y="27"/>
                    <a:pt x="820" y="27"/>
                  </a:cubicBezTo>
                  <a:cubicBezTo>
                    <a:pt x="821" y="27"/>
                    <a:pt x="822" y="27"/>
                    <a:pt x="823" y="27"/>
                  </a:cubicBezTo>
                  <a:cubicBezTo>
                    <a:pt x="824" y="27"/>
                    <a:pt x="825" y="27"/>
                    <a:pt x="825" y="27"/>
                  </a:cubicBezTo>
                  <a:cubicBezTo>
                    <a:pt x="826" y="27"/>
                    <a:pt x="827" y="27"/>
                    <a:pt x="827" y="27"/>
                  </a:cubicBezTo>
                  <a:cubicBezTo>
                    <a:pt x="828" y="27"/>
                    <a:pt x="829" y="27"/>
                    <a:pt x="830" y="28"/>
                  </a:cubicBezTo>
                  <a:cubicBezTo>
                    <a:pt x="830" y="28"/>
                    <a:pt x="831" y="28"/>
                    <a:pt x="831" y="28"/>
                  </a:cubicBezTo>
                  <a:cubicBezTo>
                    <a:pt x="831" y="28"/>
                    <a:pt x="831" y="29"/>
                    <a:pt x="831" y="29"/>
                  </a:cubicBezTo>
                  <a:cubicBezTo>
                    <a:pt x="831" y="29"/>
                    <a:pt x="831" y="29"/>
                    <a:pt x="832" y="29"/>
                  </a:cubicBezTo>
                  <a:cubicBezTo>
                    <a:pt x="832" y="30"/>
                    <a:pt x="832" y="30"/>
                    <a:pt x="832" y="31"/>
                  </a:cubicBezTo>
                  <a:cubicBezTo>
                    <a:pt x="832" y="31"/>
                    <a:pt x="832" y="32"/>
                    <a:pt x="832" y="33"/>
                  </a:cubicBezTo>
                  <a:close/>
                  <a:moveTo>
                    <a:pt x="872" y="87"/>
                  </a:moveTo>
                  <a:lnTo>
                    <a:pt x="865" y="108"/>
                  </a:lnTo>
                  <a:cubicBezTo>
                    <a:pt x="865" y="109"/>
                    <a:pt x="864" y="109"/>
                    <a:pt x="863" y="109"/>
                  </a:cubicBezTo>
                  <a:cubicBezTo>
                    <a:pt x="862" y="110"/>
                    <a:pt x="860" y="110"/>
                    <a:pt x="858" y="110"/>
                  </a:cubicBezTo>
                  <a:cubicBezTo>
                    <a:pt x="857" y="110"/>
                    <a:pt x="856" y="110"/>
                    <a:pt x="856" y="110"/>
                  </a:cubicBezTo>
                  <a:cubicBezTo>
                    <a:pt x="855" y="110"/>
                    <a:pt x="855" y="109"/>
                    <a:pt x="854" y="109"/>
                  </a:cubicBezTo>
                  <a:cubicBezTo>
                    <a:pt x="854" y="109"/>
                    <a:pt x="854" y="109"/>
                    <a:pt x="854" y="108"/>
                  </a:cubicBezTo>
                  <a:cubicBezTo>
                    <a:pt x="854" y="108"/>
                    <a:pt x="854" y="107"/>
                    <a:pt x="854" y="107"/>
                  </a:cubicBezTo>
                  <a:lnTo>
                    <a:pt x="862" y="87"/>
                  </a:lnTo>
                  <a:cubicBezTo>
                    <a:pt x="861" y="87"/>
                    <a:pt x="861" y="87"/>
                    <a:pt x="861" y="86"/>
                  </a:cubicBezTo>
                  <a:cubicBezTo>
                    <a:pt x="860" y="86"/>
                    <a:pt x="860" y="86"/>
                    <a:pt x="860" y="85"/>
                  </a:cubicBezTo>
                  <a:lnTo>
                    <a:pt x="840" y="31"/>
                  </a:lnTo>
                  <a:cubicBezTo>
                    <a:pt x="840" y="31"/>
                    <a:pt x="839" y="30"/>
                    <a:pt x="839" y="29"/>
                  </a:cubicBezTo>
                  <a:cubicBezTo>
                    <a:pt x="839" y="29"/>
                    <a:pt x="840" y="28"/>
                    <a:pt x="840" y="28"/>
                  </a:cubicBezTo>
                  <a:cubicBezTo>
                    <a:pt x="840" y="28"/>
                    <a:pt x="841" y="28"/>
                    <a:pt x="841" y="28"/>
                  </a:cubicBezTo>
                  <a:cubicBezTo>
                    <a:pt x="842" y="27"/>
                    <a:pt x="843" y="27"/>
                    <a:pt x="844" y="27"/>
                  </a:cubicBezTo>
                  <a:cubicBezTo>
                    <a:pt x="846" y="27"/>
                    <a:pt x="847" y="27"/>
                    <a:pt x="847" y="28"/>
                  </a:cubicBezTo>
                  <a:cubicBezTo>
                    <a:pt x="848" y="28"/>
                    <a:pt x="849" y="28"/>
                    <a:pt x="849" y="28"/>
                  </a:cubicBezTo>
                  <a:cubicBezTo>
                    <a:pt x="850" y="28"/>
                    <a:pt x="850" y="28"/>
                    <a:pt x="850" y="29"/>
                  </a:cubicBezTo>
                  <a:cubicBezTo>
                    <a:pt x="850" y="29"/>
                    <a:pt x="850" y="29"/>
                    <a:pt x="851" y="30"/>
                  </a:cubicBezTo>
                  <a:lnTo>
                    <a:pt x="867" y="75"/>
                  </a:lnTo>
                  <a:lnTo>
                    <a:pt x="867" y="75"/>
                  </a:lnTo>
                  <a:lnTo>
                    <a:pt x="882" y="30"/>
                  </a:lnTo>
                  <a:cubicBezTo>
                    <a:pt x="883" y="29"/>
                    <a:pt x="883" y="28"/>
                    <a:pt x="883" y="28"/>
                  </a:cubicBezTo>
                  <a:cubicBezTo>
                    <a:pt x="884" y="28"/>
                    <a:pt x="884" y="28"/>
                    <a:pt x="885" y="28"/>
                  </a:cubicBezTo>
                  <a:cubicBezTo>
                    <a:pt x="886" y="27"/>
                    <a:pt x="887" y="27"/>
                    <a:pt x="888" y="27"/>
                  </a:cubicBezTo>
                  <a:cubicBezTo>
                    <a:pt x="889" y="27"/>
                    <a:pt x="890" y="27"/>
                    <a:pt x="891" y="28"/>
                  </a:cubicBezTo>
                  <a:cubicBezTo>
                    <a:pt x="892" y="28"/>
                    <a:pt x="892" y="28"/>
                    <a:pt x="892" y="28"/>
                  </a:cubicBezTo>
                  <a:cubicBezTo>
                    <a:pt x="893" y="28"/>
                    <a:pt x="893" y="29"/>
                    <a:pt x="893" y="29"/>
                  </a:cubicBezTo>
                  <a:cubicBezTo>
                    <a:pt x="893" y="30"/>
                    <a:pt x="893" y="30"/>
                    <a:pt x="893" y="31"/>
                  </a:cubicBezTo>
                  <a:lnTo>
                    <a:pt x="872" y="87"/>
                  </a:ln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101">
              <a:extLst>
                <a:ext uri="{FF2B5EF4-FFF2-40B4-BE49-F238E27FC236}">
                  <a16:creationId xmlns:a16="http://schemas.microsoft.com/office/drawing/2014/main" id="{5B3E633F-F8A4-4CBB-96D3-FA4B3338A5E6}"/>
                </a:ext>
              </a:extLst>
            </p:cNvPr>
            <p:cNvSpPr>
              <a:spLocks noEditPoints="1"/>
            </p:cNvSpPr>
            <p:nvPr/>
          </p:nvSpPr>
          <p:spPr bwMode="auto">
            <a:xfrm>
              <a:off x="5240" y="2733"/>
              <a:ext cx="398" cy="50"/>
            </a:xfrm>
            <a:custGeom>
              <a:avLst/>
              <a:gdLst>
                <a:gd name="T0" fmla="*/ 52 w 888"/>
                <a:gd name="T1" fmla="*/ 66 h 110"/>
                <a:gd name="T2" fmla="*/ 1 w 888"/>
                <a:gd name="T3" fmla="*/ 83 h 110"/>
                <a:gd name="T4" fmla="*/ 70 w 888"/>
                <a:gd name="T5" fmla="*/ 83 h 110"/>
                <a:gd name="T6" fmla="*/ 166 w 888"/>
                <a:gd name="T7" fmla="*/ 87 h 110"/>
                <a:gd name="T8" fmla="*/ 143 w 888"/>
                <a:gd name="T9" fmla="*/ 38 h 110"/>
                <a:gd name="T10" fmla="*/ 124 w 888"/>
                <a:gd name="T11" fmla="*/ 85 h 110"/>
                <a:gd name="T12" fmla="*/ 97 w 888"/>
                <a:gd name="T13" fmla="*/ 87 h 110"/>
                <a:gd name="T14" fmla="*/ 90 w 888"/>
                <a:gd name="T15" fmla="*/ 27 h 110"/>
                <a:gd name="T16" fmla="*/ 127 w 888"/>
                <a:gd name="T17" fmla="*/ 29 h 110"/>
                <a:gd name="T18" fmla="*/ 171 w 888"/>
                <a:gd name="T19" fmla="*/ 50 h 110"/>
                <a:gd name="T20" fmla="*/ 180 w 888"/>
                <a:gd name="T21" fmla="*/ 58 h 110"/>
                <a:gd name="T22" fmla="*/ 225 w 888"/>
                <a:gd name="T23" fmla="*/ 49 h 110"/>
                <a:gd name="T24" fmla="*/ 200 w 888"/>
                <a:gd name="T25" fmla="*/ 77 h 110"/>
                <a:gd name="T26" fmla="*/ 291 w 888"/>
                <a:gd name="T27" fmla="*/ 87 h 110"/>
                <a:gd name="T28" fmla="*/ 249 w 888"/>
                <a:gd name="T29" fmla="*/ 73 h 110"/>
                <a:gd name="T30" fmla="*/ 258 w 888"/>
                <a:gd name="T31" fmla="*/ 29 h 110"/>
                <a:gd name="T32" fmla="*/ 287 w 888"/>
                <a:gd name="T33" fmla="*/ 27 h 110"/>
                <a:gd name="T34" fmla="*/ 359 w 888"/>
                <a:gd name="T35" fmla="*/ 87 h 110"/>
                <a:gd name="T36" fmla="*/ 343 w 888"/>
                <a:gd name="T37" fmla="*/ 36 h 110"/>
                <a:gd name="T38" fmla="*/ 313 w 888"/>
                <a:gd name="T39" fmla="*/ 87 h 110"/>
                <a:gd name="T40" fmla="*/ 321 w 888"/>
                <a:gd name="T41" fmla="*/ 28 h 110"/>
                <a:gd name="T42" fmla="*/ 421 w 888"/>
                <a:gd name="T43" fmla="*/ 81 h 110"/>
                <a:gd name="T44" fmla="*/ 394 w 888"/>
                <a:gd name="T45" fmla="*/ 69 h 110"/>
                <a:gd name="T46" fmla="*/ 394 w 888"/>
                <a:gd name="T47" fmla="*/ 14 h 110"/>
                <a:gd name="T48" fmla="*/ 419 w 888"/>
                <a:gd name="T49" fmla="*/ 27 h 110"/>
                <a:gd name="T50" fmla="*/ 412 w 888"/>
                <a:gd name="T51" fmla="*/ 79 h 110"/>
                <a:gd name="T52" fmla="*/ 511 w 888"/>
                <a:gd name="T53" fmla="*/ 77 h 110"/>
                <a:gd name="T54" fmla="*/ 455 w 888"/>
                <a:gd name="T55" fmla="*/ 65 h 110"/>
                <a:gd name="T56" fmla="*/ 510 w 888"/>
                <a:gd name="T57" fmla="*/ 13 h 110"/>
                <a:gd name="T58" fmla="*/ 496 w 888"/>
                <a:gd name="T59" fmla="*/ 15 h 110"/>
                <a:gd name="T60" fmla="*/ 496 w 888"/>
                <a:gd name="T61" fmla="*/ 77 h 110"/>
                <a:gd name="T62" fmla="*/ 567 w 888"/>
                <a:gd name="T63" fmla="*/ 87 h 110"/>
                <a:gd name="T64" fmla="*/ 551 w 888"/>
                <a:gd name="T65" fmla="*/ 36 h 110"/>
                <a:gd name="T66" fmla="*/ 521 w 888"/>
                <a:gd name="T67" fmla="*/ 87 h 110"/>
                <a:gd name="T68" fmla="*/ 530 w 888"/>
                <a:gd name="T69" fmla="*/ 1 h 110"/>
                <a:gd name="T70" fmla="*/ 642 w 888"/>
                <a:gd name="T71" fmla="*/ 85 h 110"/>
                <a:gd name="T72" fmla="*/ 607 w 888"/>
                <a:gd name="T73" fmla="*/ 87 h 110"/>
                <a:gd name="T74" fmla="*/ 631 w 888"/>
                <a:gd name="T75" fmla="*/ 42 h 110"/>
                <a:gd name="T76" fmla="*/ 599 w 888"/>
                <a:gd name="T77" fmla="*/ 38 h 110"/>
                <a:gd name="T78" fmla="*/ 641 w 888"/>
                <a:gd name="T79" fmla="*/ 38 h 110"/>
                <a:gd name="T80" fmla="*/ 617 w 888"/>
                <a:gd name="T81" fmla="*/ 80 h 110"/>
                <a:gd name="T82" fmla="*/ 687 w 888"/>
                <a:gd name="T83" fmla="*/ 87 h 110"/>
                <a:gd name="T84" fmla="*/ 658 w 888"/>
                <a:gd name="T85" fmla="*/ 85 h 110"/>
                <a:gd name="T86" fmla="*/ 648 w 888"/>
                <a:gd name="T87" fmla="*/ 28 h 110"/>
                <a:gd name="T88" fmla="*/ 676 w 888"/>
                <a:gd name="T89" fmla="*/ 26 h 110"/>
                <a:gd name="T90" fmla="*/ 768 w 888"/>
                <a:gd name="T91" fmla="*/ 41 h 110"/>
                <a:gd name="T92" fmla="*/ 735 w 888"/>
                <a:gd name="T93" fmla="*/ 73 h 110"/>
                <a:gd name="T94" fmla="*/ 747 w 888"/>
                <a:gd name="T95" fmla="*/ 110 h 110"/>
                <a:gd name="T96" fmla="*/ 724 w 888"/>
                <a:gd name="T97" fmla="*/ 71 h 110"/>
                <a:gd name="T98" fmla="*/ 756 w 888"/>
                <a:gd name="T99" fmla="*/ 27 h 110"/>
                <a:gd name="T100" fmla="*/ 735 w 888"/>
                <a:gd name="T101" fmla="*/ 47 h 110"/>
                <a:gd name="T102" fmla="*/ 738 w 888"/>
                <a:gd name="T103" fmla="*/ 83 h 110"/>
                <a:gd name="T104" fmla="*/ 764 w 888"/>
                <a:gd name="T105" fmla="*/ 91 h 110"/>
                <a:gd name="T106" fmla="*/ 814 w 888"/>
                <a:gd name="T107" fmla="*/ 77 h 110"/>
                <a:gd name="T108" fmla="*/ 820 w 888"/>
                <a:gd name="T109" fmla="*/ 83 h 110"/>
                <a:gd name="T110" fmla="*/ 779 w 888"/>
                <a:gd name="T111" fmla="*/ 34 h 110"/>
                <a:gd name="T112" fmla="*/ 799 w 888"/>
                <a:gd name="T113" fmla="*/ 34 h 110"/>
                <a:gd name="T114" fmla="*/ 883 w 888"/>
                <a:gd name="T115" fmla="*/ 87 h 110"/>
                <a:gd name="T116" fmla="*/ 837 w 888"/>
                <a:gd name="T117" fmla="*/ 69 h 110"/>
                <a:gd name="T118" fmla="*/ 879 w 888"/>
                <a:gd name="T119" fmla="*/ 0 h 110"/>
                <a:gd name="T120" fmla="*/ 861 w 888"/>
                <a:gd name="T121" fmla="*/ 35 h 110"/>
                <a:gd name="T122" fmla="*/ 869 w 888"/>
                <a:gd name="T123" fmla="*/ 7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8" h="110">
                  <a:moveTo>
                    <a:pt x="70" y="83"/>
                  </a:moveTo>
                  <a:cubicBezTo>
                    <a:pt x="70" y="84"/>
                    <a:pt x="70" y="85"/>
                    <a:pt x="70" y="85"/>
                  </a:cubicBezTo>
                  <a:cubicBezTo>
                    <a:pt x="70" y="86"/>
                    <a:pt x="70" y="86"/>
                    <a:pt x="70" y="86"/>
                  </a:cubicBezTo>
                  <a:cubicBezTo>
                    <a:pt x="69" y="87"/>
                    <a:pt x="69" y="87"/>
                    <a:pt x="68" y="87"/>
                  </a:cubicBezTo>
                  <a:cubicBezTo>
                    <a:pt x="67" y="87"/>
                    <a:pt x="66" y="87"/>
                    <a:pt x="65" y="87"/>
                  </a:cubicBezTo>
                  <a:cubicBezTo>
                    <a:pt x="64" y="87"/>
                    <a:pt x="63" y="87"/>
                    <a:pt x="62" y="87"/>
                  </a:cubicBezTo>
                  <a:cubicBezTo>
                    <a:pt x="61" y="87"/>
                    <a:pt x="60" y="87"/>
                    <a:pt x="60" y="87"/>
                  </a:cubicBezTo>
                  <a:cubicBezTo>
                    <a:pt x="60" y="87"/>
                    <a:pt x="59" y="86"/>
                    <a:pt x="59" y="86"/>
                  </a:cubicBezTo>
                  <a:cubicBezTo>
                    <a:pt x="59" y="86"/>
                    <a:pt x="59" y="86"/>
                    <a:pt x="59" y="85"/>
                  </a:cubicBezTo>
                  <a:lnTo>
                    <a:pt x="52" y="66"/>
                  </a:lnTo>
                  <a:lnTo>
                    <a:pt x="18" y="66"/>
                  </a:lnTo>
                  <a:lnTo>
                    <a:pt x="11" y="85"/>
                  </a:lnTo>
                  <a:cubicBezTo>
                    <a:pt x="11" y="85"/>
                    <a:pt x="11" y="86"/>
                    <a:pt x="11" y="86"/>
                  </a:cubicBezTo>
                  <a:cubicBezTo>
                    <a:pt x="11" y="86"/>
                    <a:pt x="10" y="86"/>
                    <a:pt x="10" y="87"/>
                  </a:cubicBezTo>
                  <a:cubicBezTo>
                    <a:pt x="10" y="87"/>
                    <a:pt x="9" y="87"/>
                    <a:pt x="8" y="87"/>
                  </a:cubicBezTo>
                  <a:cubicBezTo>
                    <a:pt x="8" y="87"/>
                    <a:pt x="7" y="87"/>
                    <a:pt x="5" y="87"/>
                  </a:cubicBezTo>
                  <a:cubicBezTo>
                    <a:pt x="4" y="87"/>
                    <a:pt x="3" y="87"/>
                    <a:pt x="3" y="87"/>
                  </a:cubicBezTo>
                  <a:cubicBezTo>
                    <a:pt x="2" y="87"/>
                    <a:pt x="1" y="87"/>
                    <a:pt x="1" y="86"/>
                  </a:cubicBezTo>
                  <a:cubicBezTo>
                    <a:pt x="1" y="86"/>
                    <a:pt x="0" y="86"/>
                    <a:pt x="0" y="85"/>
                  </a:cubicBezTo>
                  <a:cubicBezTo>
                    <a:pt x="0" y="85"/>
                    <a:pt x="1" y="84"/>
                    <a:pt x="1" y="83"/>
                  </a:cubicBezTo>
                  <a:lnTo>
                    <a:pt x="28" y="8"/>
                  </a:lnTo>
                  <a:cubicBezTo>
                    <a:pt x="28" y="7"/>
                    <a:pt x="29" y="7"/>
                    <a:pt x="29" y="7"/>
                  </a:cubicBezTo>
                  <a:cubicBezTo>
                    <a:pt x="29" y="6"/>
                    <a:pt x="29" y="6"/>
                    <a:pt x="30" y="6"/>
                  </a:cubicBezTo>
                  <a:cubicBezTo>
                    <a:pt x="30" y="6"/>
                    <a:pt x="31" y="6"/>
                    <a:pt x="32" y="6"/>
                  </a:cubicBezTo>
                  <a:cubicBezTo>
                    <a:pt x="33" y="6"/>
                    <a:pt x="34" y="6"/>
                    <a:pt x="35" y="6"/>
                  </a:cubicBezTo>
                  <a:cubicBezTo>
                    <a:pt x="36" y="6"/>
                    <a:pt x="37" y="6"/>
                    <a:pt x="38" y="6"/>
                  </a:cubicBezTo>
                  <a:cubicBezTo>
                    <a:pt x="39" y="6"/>
                    <a:pt x="40" y="6"/>
                    <a:pt x="40" y="6"/>
                  </a:cubicBezTo>
                  <a:cubicBezTo>
                    <a:pt x="41" y="6"/>
                    <a:pt x="41" y="6"/>
                    <a:pt x="42" y="7"/>
                  </a:cubicBezTo>
                  <a:cubicBezTo>
                    <a:pt x="42" y="7"/>
                    <a:pt x="42" y="7"/>
                    <a:pt x="42" y="8"/>
                  </a:cubicBezTo>
                  <a:lnTo>
                    <a:pt x="70" y="83"/>
                  </a:lnTo>
                  <a:close/>
                  <a:moveTo>
                    <a:pt x="35" y="17"/>
                  </a:moveTo>
                  <a:lnTo>
                    <a:pt x="35" y="17"/>
                  </a:lnTo>
                  <a:lnTo>
                    <a:pt x="21" y="57"/>
                  </a:lnTo>
                  <a:lnTo>
                    <a:pt x="49" y="57"/>
                  </a:lnTo>
                  <a:lnTo>
                    <a:pt x="35" y="17"/>
                  </a:lnTo>
                  <a:close/>
                  <a:moveTo>
                    <a:pt x="171" y="85"/>
                  </a:moveTo>
                  <a:cubicBezTo>
                    <a:pt x="171" y="86"/>
                    <a:pt x="171" y="86"/>
                    <a:pt x="171" y="86"/>
                  </a:cubicBezTo>
                  <a:cubicBezTo>
                    <a:pt x="171" y="86"/>
                    <a:pt x="171" y="86"/>
                    <a:pt x="170" y="87"/>
                  </a:cubicBezTo>
                  <a:cubicBezTo>
                    <a:pt x="170" y="87"/>
                    <a:pt x="169" y="87"/>
                    <a:pt x="169" y="87"/>
                  </a:cubicBezTo>
                  <a:cubicBezTo>
                    <a:pt x="168" y="87"/>
                    <a:pt x="167" y="87"/>
                    <a:pt x="166" y="87"/>
                  </a:cubicBezTo>
                  <a:cubicBezTo>
                    <a:pt x="165" y="87"/>
                    <a:pt x="164" y="87"/>
                    <a:pt x="164" y="87"/>
                  </a:cubicBezTo>
                  <a:cubicBezTo>
                    <a:pt x="163" y="87"/>
                    <a:pt x="162" y="87"/>
                    <a:pt x="162" y="87"/>
                  </a:cubicBezTo>
                  <a:cubicBezTo>
                    <a:pt x="162" y="86"/>
                    <a:pt x="161" y="86"/>
                    <a:pt x="161" y="86"/>
                  </a:cubicBezTo>
                  <a:cubicBezTo>
                    <a:pt x="161" y="86"/>
                    <a:pt x="161" y="86"/>
                    <a:pt x="161" y="85"/>
                  </a:cubicBezTo>
                  <a:lnTo>
                    <a:pt x="161" y="51"/>
                  </a:lnTo>
                  <a:cubicBezTo>
                    <a:pt x="161" y="49"/>
                    <a:pt x="161" y="46"/>
                    <a:pt x="160" y="45"/>
                  </a:cubicBezTo>
                  <a:cubicBezTo>
                    <a:pt x="160" y="43"/>
                    <a:pt x="159" y="41"/>
                    <a:pt x="158" y="39"/>
                  </a:cubicBezTo>
                  <a:cubicBezTo>
                    <a:pt x="157" y="38"/>
                    <a:pt x="156" y="37"/>
                    <a:pt x="155" y="36"/>
                  </a:cubicBezTo>
                  <a:cubicBezTo>
                    <a:pt x="153" y="35"/>
                    <a:pt x="152" y="35"/>
                    <a:pt x="150" y="35"/>
                  </a:cubicBezTo>
                  <a:cubicBezTo>
                    <a:pt x="147" y="35"/>
                    <a:pt x="145" y="36"/>
                    <a:pt x="143" y="38"/>
                  </a:cubicBezTo>
                  <a:cubicBezTo>
                    <a:pt x="140" y="40"/>
                    <a:pt x="138" y="42"/>
                    <a:pt x="135" y="46"/>
                  </a:cubicBezTo>
                  <a:lnTo>
                    <a:pt x="135" y="85"/>
                  </a:lnTo>
                  <a:cubicBezTo>
                    <a:pt x="135" y="86"/>
                    <a:pt x="135" y="86"/>
                    <a:pt x="134" y="86"/>
                  </a:cubicBezTo>
                  <a:cubicBezTo>
                    <a:pt x="134" y="86"/>
                    <a:pt x="134" y="86"/>
                    <a:pt x="134" y="87"/>
                  </a:cubicBezTo>
                  <a:cubicBezTo>
                    <a:pt x="133" y="87"/>
                    <a:pt x="133" y="87"/>
                    <a:pt x="132" y="87"/>
                  </a:cubicBezTo>
                  <a:cubicBezTo>
                    <a:pt x="131" y="87"/>
                    <a:pt x="130" y="87"/>
                    <a:pt x="129" y="87"/>
                  </a:cubicBezTo>
                  <a:cubicBezTo>
                    <a:pt x="129" y="87"/>
                    <a:pt x="128" y="87"/>
                    <a:pt x="127" y="87"/>
                  </a:cubicBezTo>
                  <a:cubicBezTo>
                    <a:pt x="126" y="87"/>
                    <a:pt x="126" y="87"/>
                    <a:pt x="125" y="87"/>
                  </a:cubicBezTo>
                  <a:cubicBezTo>
                    <a:pt x="125" y="86"/>
                    <a:pt x="125" y="86"/>
                    <a:pt x="125" y="86"/>
                  </a:cubicBezTo>
                  <a:cubicBezTo>
                    <a:pt x="124" y="86"/>
                    <a:pt x="124" y="86"/>
                    <a:pt x="124" y="85"/>
                  </a:cubicBezTo>
                  <a:lnTo>
                    <a:pt x="124" y="51"/>
                  </a:lnTo>
                  <a:cubicBezTo>
                    <a:pt x="124" y="49"/>
                    <a:pt x="124" y="46"/>
                    <a:pt x="124" y="45"/>
                  </a:cubicBezTo>
                  <a:cubicBezTo>
                    <a:pt x="123" y="43"/>
                    <a:pt x="123" y="41"/>
                    <a:pt x="122" y="39"/>
                  </a:cubicBezTo>
                  <a:cubicBezTo>
                    <a:pt x="121" y="38"/>
                    <a:pt x="120" y="37"/>
                    <a:pt x="118" y="36"/>
                  </a:cubicBezTo>
                  <a:cubicBezTo>
                    <a:pt x="117" y="35"/>
                    <a:pt x="115" y="35"/>
                    <a:pt x="113" y="35"/>
                  </a:cubicBezTo>
                  <a:cubicBezTo>
                    <a:pt x="111" y="35"/>
                    <a:pt x="108" y="36"/>
                    <a:pt x="106" y="38"/>
                  </a:cubicBezTo>
                  <a:cubicBezTo>
                    <a:pt x="104" y="40"/>
                    <a:pt x="101" y="42"/>
                    <a:pt x="98" y="46"/>
                  </a:cubicBezTo>
                  <a:lnTo>
                    <a:pt x="98" y="85"/>
                  </a:lnTo>
                  <a:cubicBezTo>
                    <a:pt x="98" y="86"/>
                    <a:pt x="98" y="86"/>
                    <a:pt x="98" y="86"/>
                  </a:cubicBezTo>
                  <a:cubicBezTo>
                    <a:pt x="98" y="86"/>
                    <a:pt x="97" y="86"/>
                    <a:pt x="97" y="87"/>
                  </a:cubicBezTo>
                  <a:cubicBezTo>
                    <a:pt x="97" y="87"/>
                    <a:pt x="96" y="87"/>
                    <a:pt x="95" y="87"/>
                  </a:cubicBezTo>
                  <a:cubicBezTo>
                    <a:pt x="95" y="87"/>
                    <a:pt x="94" y="87"/>
                    <a:pt x="93" y="87"/>
                  </a:cubicBezTo>
                  <a:cubicBezTo>
                    <a:pt x="92" y="87"/>
                    <a:pt x="91" y="87"/>
                    <a:pt x="90" y="87"/>
                  </a:cubicBezTo>
                  <a:cubicBezTo>
                    <a:pt x="90" y="87"/>
                    <a:pt x="89" y="87"/>
                    <a:pt x="89" y="87"/>
                  </a:cubicBezTo>
                  <a:cubicBezTo>
                    <a:pt x="88" y="86"/>
                    <a:pt x="88" y="86"/>
                    <a:pt x="88" y="86"/>
                  </a:cubicBezTo>
                  <a:cubicBezTo>
                    <a:pt x="88" y="86"/>
                    <a:pt x="88" y="86"/>
                    <a:pt x="88" y="85"/>
                  </a:cubicBezTo>
                  <a:lnTo>
                    <a:pt x="88" y="29"/>
                  </a:lnTo>
                  <a:cubicBezTo>
                    <a:pt x="88" y="29"/>
                    <a:pt x="88" y="28"/>
                    <a:pt x="88" y="28"/>
                  </a:cubicBezTo>
                  <a:cubicBezTo>
                    <a:pt x="88" y="28"/>
                    <a:pt x="88" y="28"/>
                    <a:pt x="89" y="27"/>
                  </a:cubicBezTo>
                  <a:cubicBezTo>
                    <a:pt x="89" y="27"/>
                    <a:pt x="90" y="27"/>
                    <a:pt x="90" y="27"/>
                  </a:cubicBezTo>
                  <a:cubicBezTo>
                    <a:pt x="91" y="27"/>
                    <a:pt x="92" y="27"/>
                    <a:pt x="92" y="27"/>
                  </a:cubicBezTo>
                  <a:cubicBezTo>
                    <a:pt x="93" y="27"/>
                    <a:pt x="94" y="27"/>
                    <a:pt x="95" y="27"/>
                  </a:cubicBezTo>
                  <a:cubicBezTo>
                    <a:pt x="95" y="27"/>
                    <a:pt x="96" y="27"/>
                    <a:pt x="96" y="27"/>
                  </a:cubicBezTo>
                  <a:cubicBezTo>
                    <a:pt x="97" y="28"/>
                    <a:pt x="97" y="28"/>
                    <a:pt x="97" y="28"/>
                  </a:cubicBezTo>
                  <a:cubicBezTo>
                    <a:pt x="97" y="28"/>
                    <a:pt x="97" y="29"/>
                    <a:pt x="97" y="29"/>
                  </a:cubicBezTo>
                  <a:lnTo>
                    <a:pt x="97" y="36"/>
                  </a:lnTo>
                  <a:cubicBezTo>
                    <a:pt x="100" y="33"/>
                    <a:pt x="103" y="30"/>
                    <a:pt x="106" y="29"/>
                  </a:cubicBezTo>
                  <a:cubicBezTo>
                    <a:pt x="109" y="27"/>
                    <a:pt x="112" y="26"/>
                    <a:pt x="115" y="26"/>
                  </a:cubicBezTo>
                  <a:cubicBezTo>
                    <a:pt x="118" y="26"/>
                    <a:pt x="120" y="26"/>
                    <a:pt x="122" y="27"/>
                  </a:cubicBezTo>
                  <a:cubicBezTo>
                    <a:pt x="124" y="27"/>
                    <a:pt x="125" y="28"/>
                    <a:pt x="127" y="29"/>
                  </a:cubicBezTo>
                  <a:cubicBezTo>
                    <a:pt x="128" y="30"/>
                    <a:pt x="129" y="31"/>
                    <a:pt x="130" y="33"/>
                  </a:cubicBezTo>
                  <a:cubicBezTo>
                    <a:pt x="131" y="34"/>
                    <a:pt x="132" y="36"/>
                    <a:pt x="133" y="37"/>
                  </a:cubicBezTo>
                  <a:cubicBezTo>
                    <a:pt x="135" y="35"/>
                    <a:pt x="136" y="33"/>
                    <a:pt x="138" y="32"/>
                  </a:cubicBezTo>
                  <a:cubicBezTo>
                    <a:pt x="140" y="31"/>
                    <a:pt x="141" y="30"/>
                    <a:pt x="143" y="29"/>
                  </a:cubicBezTo>
                  <a:cubicBezTo>
                    <a:pt x="144" y="28"/>
                    <a:pt x="146" y="27"/>
                    <a:pt x="147" y="27"/>
                  </a:cubicBezTo>
                  <a:cubicBezTo>
                    <a:pt x="149" y="26"/>
                    <a:pt x="150" y="26"/>
                    <a:pt x="152" y="26"/>
                  </a:cubicBezTo>
                  <a:cubicBezTo>
                    <a:pt x="156" y="26"/>
                    <a:pt x="159" y="27"/>
                    <a:pt x="161" y="28"/>
                  </a:cubicBezTo>
                  <a:cubicBezTo>
                    <a:pt x="164" y="29"/>
                    <a:pt x="166" y="31"/>
                    <a:pt x="167" y="33"/>
                  </a:cubicBezTo>
                  <a:cubicBezTo>
                    <a:pt x="169" y="35"/>
                    <a:pt x="170" y="38"/>
                    <a:pt x="170" y="41"/>
                  </a:cubicBezTo>
                  <a:cubicBezTo>
                    <a:pt x="171" y="43"/>
                    <a:pt x="171" y="46"/>
                    <a:pt x="171" y="50"/>
                  </a:cubicBezTo>
                  <a:lnTo>
                    <a:pt x="171" y="85"/>
                  </a:lnTo>
                  <a:close/>
                  <a:moveTo>
                    <a:pt x="236" y="56"/>
                  </a:moveTo>
                  <a:cubicBezTo>
                    <a:pt x="236" y="61"/>
                    <a:pt x="236" y="65"/>
                    <a:pt x="234" y="69"/>
                  </a:cubicBezTo>
                  <a:cubicBezTo>
                    <a:pt x="233" y="73"/>
                    <a:pt x="231" y="76"/>
                    <a:pt x="229" y="79"/>
                  </a:cubicBezTo>
                  <a:cubicBezTo>
                    <a:pt x="227" y="82"/>
                    <a:pt x="224" y="84"/>
                    <a:pt x="220" y="86"/>
                  </a:cubicBezTo>
                  <a:cubicBezTo>
                    <a:pt x="216" y="87"/>
                    <a:pt x="212" y="88"/>
                    <a:pt x="207" y="88"/>
                  </a:cubicBezTo>
                  <a:cubicBezTo>
                    <a:pt x="203" y="88"/>
                    <a:pt x="199" y="87"/>
                    <a:pt x="195" y="86"/>
                  </a:cubicBezTo>
                  <a:cubicBezTo>
                    <a:pt x="192" y="85"/>
                    <a:pt x="189" y="83"/>
                    <a:pt x="187" y="80"/>
                  </a:cubicBezTo>
                  <a:cubicBezTo>
                    <a:pt x="184" y="77"/>
                    <a:pt x="183" y="74"/>
                    <a:pt x="182" y="70"/>
                  </a:cubicBezTo>
                  <a:cubicBezTo>
                    <a:pt x="180" y="67"/>
                    <a:pt x="180" y="62"/>
                    <a:pt x="180" y="58"/>
                  </a:cubicBezTo>
                  <a:cubicBezTo>
                    <a:pt x="180" y="53"/>
                    <a:pt x="180" y="49"/>
                    <a:pt x="182" y="45"/>
                  </a:cubicBezTo>
                  <a:cubicBezTo>
                    <a:pt x="183" y="41"/>
                    <a:pt x="185" y="38"/>
                    <a:pt x="187" y="35"/>
                  </a:cubicBezTo>
                  <a:cubicBezTo>
                    <a:pt x="189" y="32"/>
                    <a:pt x="192" y="30"/>
                    <a:pt x="196" y="28"/>
                  </a:cubicBezTo>
                  <a:cubicBezTo>
                    <a:pt x="200" y="27"/>
                    <a:pt x="204" y="26"/>
                    <a:pt x="209" y="26"/>
                  </a:cubicBezTo>
                  <a:cubicBezTo>
                    <a:pt x="213" y="26"/>
                    <a:pt x="217" y="27"/>
                    <a:pt x="221" y="28"/>
                  </a:cubicBezTo>
                  <a:cubicBezTo>
                    <a:pt x="224" y="30"/>
                    <a:pt x="227" y="32"/>
                    <a:pt x="229" y="34"/>
                  </a:cubicBezTo>
                  <a:cubicBezTo>
                    <a:pt x="232" y="37"/>
                    <a:pt x="233" y="40"/>
                    <a:pt x="234" y="44"/>
                  </a:cubicBezTo>
                  <a:cubicBezTo>
                    <a:pt x="236" y="48"/>
                    <a:pt x="236" y="52"/>
                    <a:pt x="236" y="56"/>
                  </a:cubicBezTo>
                  <a:close/>
                  <a:moveTo>
                    <a:pt x="225" y="57"/>
                  </a:moveTo>
                  <a:cubicBezTo>
                    <a:pt x="225" y="54"/>
                    <a:pt x="225" y="51"/>
                    <a:pt x="225" y="49"/>
                  </a:cubicBezTo>
                  <a:cubicBezTo>
                    <a:pt x="224" y="46"/>
                    <a:pt x="223" y="43"/>
                    <a:pt x="222" y="41"/>
                  </a:cubicBezTo>
                  <a:cubicBezTo>
                    <a:pt x="220" y="39"/>
                    <a:pt x="219" y="38"/>
                    <a:pt x="216" y="37"/>
                  </a:cubicBezTo>
                  <a:cubicBezTo>
                    <a:pt x="214" y="35"/>
                    <a:pt x="211" y="35"/>
                    <a:pt x="208" y="35"/>
                  </a:cubicBezTo>
                  <a:cubicBezTo>
                    <a:pt x="205" y="35"/>
                    <a:pt x="202" y="35"/>
                    <a:pt x="200" y="36"/>
                  </a:cubicBezTo>
                  <a:cubicBezTo>
                    <a:pt x="198" y="37"/>
                    <a:pt x="196" y="39"/>
                    <a:pt x="195" y="41"/>
                  </a:cubicBezTo>
                  <a:cubicBezTo>
                    <a:pt x="193" y="43"/>
                    <a:pt x="192" y="45"/>
                    <a:pt x="192" y="48"/>
                  </a:cubicBezTo>
                  <a:cubicBezTo>
                    <a:pt x="191" y="51"/>
                    <a:pt x="191" y="54"/>
                    <a:pt x="191" y="57"/>
                  </a:cubicBezTo>
                  <a:cubicBezTo>
                    <a:pt x="191" y="60"/>
                    <a:pt x="191" y="63"/>
                    <a:pt x="191" y="66"/>
                  </a:cubicBezTo>
                  <a:cubicBezTo>
                    <a:pt x="192" y="68"/>
                    <a:pt x="193" y="71"/>
                    <a:pt x="194" y="73"/>
                  </a:cubicBezTo>
                  <a:cubicBezTo>
                    <a:pt x="196" y="75"/>
                    <a:pt x="197" y="76"/>
                    <a:pt x="200" y="77"/>
                  </a:cubicBezTo>
                  <a:cubicBezTo>
                    <a:pt x="202" y="79"/>
                    <a:pt x="205" y="79"/>
                    <a:pt x="208" y="79"/>
                  </a:cubicBezTo>
                  <a:cubicBezTo>
                    <a:pt x="211" y="79"/>
                    <a:pt x="214" y="79"/>
                    <a:pt x="216" y="78"/>
                  </a:cubicBezTo>
                  <a:cubicBezTo>
                    <a:pt x="218" y="77"/>
                    <a:pt x="220" y="75"/>
                    <a:pt x="221" y="73"/>
                  </a:cubicBezTo>
                  <a:cubicBezTo>
                    <a:pt x="223" y="71"/>
                    <a:pt x="224" y="69"/>
                    <a:pt x="224" y="66"/>
                  </a:cubicBezTo>
                  <a:cubicBezTo>
                    <a:pt x="225" y="63"/>
                    <a:pt x="225" y="60"/>
                    <a:pt x="225" y="57"/>
                  </a:cubicBezTo>
                  <a:close/>
                  <a:moveTo>
                    <a:pt x="296" y="85"/>
                  </a:moveTo>
                  <a:cubicBezTo>
                    <a:pt x="296" y="86"/>
                    <a:pt x="296" y="86"/>
                    <a:pt x="296" y="86"/>
                  </a:cubicBezTo>
                  <a:cubicBezTo>
                    <a:pt x="296" y="86"/>
                    <a:pt x="295" y="86"/>
                    <a:pt x="295" y="87"/>
                  </a:cubicBezTo>
                  <a:cubicBezTo>
                    <a:pt x="295" y="87"/>
                    <a:pt x="294" y="87"/>
                    <a:pt x="294" y="87"/>
                  </a:cubicBezTo>
                  <a:cubicBezTo>
                    <a:pt x="293" y="87"/>
                    <a:pt x="292" y="87"/>
                    <a:pt x="291" y="87"/>
                  </a:cubicBezTo>
                  <a:cubicBezTo>
                    <a:pt x="290" y="87"/>
                    <a:pt x="290" y="87"/>
                    <a:pt x="289" y="87"/>
                  </a:cubicBezTo>
                  <a:cubicBezTo>
                    <a:pt x="288" y="87"/>
                    <a:pt x="288" y="87"/>
                    <a:pt x="288" y="87"/>
                  </a:cubicBezTo>
                  <a:cubicBezTo>
                    <a:pt x="287" y="86"/>
                    <a:pt x="287" y="86"/>
                    <a:pt x="287" y="86"/>
                  </a:cubicBezTo>
                  <a:cubicBezTo>
                    <a:pt x="287" y="86"/>
                    <a:pt x="287" y="86"/>
                    <a:pt x="287" y="85"/>
                  </a:cubicBezTo>
                  <a:lnTo>
                    <a:pt x="287" y="78"/>
                  </a:lnTo>
                  <a:cubicBezTo>
                    <a:pt x="283" y="81"/>
                    <a:pt x="280" y="84"/>
                    <a:pt x="277" y="86"/>
                  </a:cubicBezTo>
                  <a:cubicBezTo>
                    <a:pt x="274" y="87"/>
                    <a:pt x="271" y="88"/>
                    <a:pt x="268" y="88"/>
                  </a:cubicBezTo>
                  <a:cubicBezTo>
                    <a:pt x="264" y="88"/>
                    <a:pt x="261" y="87"/>
                    <a:pt x="258" y="86"/>
                  </a:cubicBezTo>
                  <a:cubicBezTo>
                    <a:pt x="256" y="85"/>
                    <a:pt x="254" y="83"/>
                    <a:pt x="252" y="81"/>
                  </a:cubicBezTo>
                  <a:cubicBezTo>
                    <a:pt x="250" y="79"/>
                    <a:pt x="249" y="76"/>
                    <a:pt x="249" y="73"/>
                  </a:cubicBezTo>
                  <a:cubicBezTo>
                    <a:pt x="248" y="71"/>
                    <a:pt x="247" y="67"/>
                    <a:pt x="247" y="63"/>
                  </a:cubicBezTo>
                  <a:lnTo>
                    <a:pt x="247" y="29"/>
                  </a:lnTo>
                  <a:cubicBezTo>
                    <a:pt x="247" y="29"/>
                    <a:pt x="248" y="28"/>
                    <a:pt x="248" y="28"/>
                  </a:cubicBezTo>
                  <a:cubicBezTo>
                    <a:pt x="248" y="28"/>
                    <a:pt x="248" y="28"/>
                    <a:pt x="249" y="27"/>
                  </a:cubicBezTo>
                  <a:cubicBezTo>
                    <a:pt x="249" y="27"/>
                    <a:pt x="250" y="27"/>
                    <a:pt x="250" y="27"/>
                  </a:cubicBezTo>
                  <a:cubicBezTo>
                    <a:pt x="251" y="27"/>
                    <a:pt x="252" y="27"/>
                    <a:pt x="253" y="27"/>
                  </a:cubicBezTo>
                  <a:cubicBezTo>
                    <a:pt x="254" y="27"/>
                    <a:pt x="255" y="27"/>
                    <a:pt x="255" y="27"/>
                  </a:cubicBezTo>
                  <a:cubicBezTo>
                    <a:pt x="256" y="27"/>
                    <a:pt x="256" y="27"/>
                    <a:pt x="257" y="27"/>
                  </a:cubicBezTo>
                  <a:cubicBezTo>
                    <a:pt x="257" y="28"/>
                    <a:pt x="257" y="28"/>
                    <a:pt x="258" y="28"/>
                  </a:cubicBezTo>
                  <a:cubicBezTo>
                    <a:pt x="258" y="28"/>
                    <a:pt x="258" y="29"/>
                    <a:pt x="258" y="29"/>
                  </a:cubicBezTo>
                  <a:lnTo>
                    <a:pt x="258" y="62"/>
                  </a:lnTo>
                  <a:cubicBezTo>
                    <a:pt x="258" y="65"/>
                    <a:pt x="258" y="68"/>
                    <a:pt x="259" y="70"/>
                  </a:cubicBezTo>
                  <a:cubicBezTo>
                    <a:pt x="259" y="72"/>
                    <a:pt x="260" y="73"/>
                    <a:pt x="261" y="75"/>
                  </a:cubicBezTo>
                  <a:cubicBezTo>
                    <a:pt x="262" y="76"/>
                    <a:pt x="263" y="77"/>
                    <a:pt x="264" y="78"/>
                  </a:cubicBezTo>
                  <a:cubicBezTo>
                    <a:pt x="266" y="79"/>
                    <a:pt x="268" y="79"/>
                    <a:pt x="270" y="79"/>
                  </a:cubicBezTo>
                  <a:cubicBezTo>
                    <a:pt x="272" y="79"/>
                    <a:pt x="275" y="78"/>
                    <a:pt x="277" y="76"/>
                  </a:cubicBezTo>
                  <a:cubicBezTo>
                    <a:pt x="280" y="74"/>
                    <a:pt x="283" y="72"/>
                    <a:pt x="286" y="68"/>
                  </a:cubicBezTo>
                  <a:lnTo>
                    <a:pt x="286" y="29"/>
                  </a:lnTo>
                  <a:cubicBezTo>
                    <a:pt x="286" y="29"/>
                    <a:pt x="286" y="28"/>
                    <a:pt x="286" y="28"/>
                  </a:cubicBezTo>
                  <a:cubicBezTo>
                    <a:pt x="286" y="28"/>
                    <a:pt x="286" y="28"/>
                    <a:pt x="287" y="27"/>
                  </a:cubicBezTo>
                  <a:cubicBezTo>
                    <a:pt x="287" y="27"/>
                    <a:pt x="288" y="27"/>
                    <a:pt x="288" y="27"/>
                  </a:cubicBezTo>
                  <a:cubicBezTo>
                    <a:pt x="289" y="27"/>
                    <a:pt x="290" y="27"/>
                    <a:pt x="291" y="27"/>
                  </a:cubicBezTo>
                  <a:cubicBezTo>
                    <a:pt x="292" y="27"/>
                    <a:pt x="293" y="27"/>
                    <a:pt x="293" y="27"/>
                  </a:cubicBezTo>
                  <a:cubicBezTo>
                    <a:pt x="294" y="27"/>
                    <a:pt x="294" y="27"/>
                    <a:pt x="295" y="27"/>
                  </a:cubicBezTo>
                  <a:cubicBezTo>
                    <a:pt x="295" y="28"/>
                    <a:pt x="296" y="28"/>
                    <a:pt x="296" y="28"/>
                  </a:cubicBezTo>
                  <a:cubicBezTo>
                    <a:pt x="296" y="28"/>
                    <a:pt x="296" y="29"/>
                    <a:pt x="296" y="29"/>
                  </a:cubicBezTo>
                  <a:lnTo>
                    <a:pt x="296" y="85"/>
                  </a:lnTo>
                  <a:close/>
                  <a:moveTo>
                    <a:pt x="360" y="85"/>
                  </a:moveTo>
                  <a:cubicBezTo>
                    <a:pt x="360" y="86"/>
                    <a:pt x="360" y="86"/>
                    <a:pt x="360" y="86"/>
                  </a:cubicBezTo>
                  <a:cubicBezTo>
                    <a:pt x="360" y="86"/>
                    <a:pt x="360" y="86"/>
                    <a:pt x="359" y="87"/>
                  </a:cubicBezTo>
                  <a:cubicBezTo>
                    <a:pt x="359" y="87"/>
                    <a:pt x="358" y="87"/>
                    <a:pt x="358" y="87"/>
                  </a:cubicBezTo>
                  <a:cubicBezTo>
                    <a:pt x="357" y="87"/>
                    <a:pt x="356" y="87"/>
                    <a:pt x="355" y="87"/>
                  </a:cubicBezTo>
                  <a:cubicBezTo>
                    <a:pt x="354" y="87"/>
                    <a:pt x="353" y="87"/>
                    <a:pt x="353" y="87"/>
                  </a:cubicBezTo>
                  <a:cubicBezTo>
                    <a:pt x="352" y="87"/>
                    <a:pt x="351" y="87"/>
                    <a:pt x="351" y="87"/>
                  </a:cubicBezTo>
                  <a:cubicBezTo>
                    <a:pt x="351" y="86"/>
                    <a:pt x="350" y="86"/>
                    <a:pt x="350" y="86"/>
                  </a:cubicBezTo>
                  <a:cubicBezTo>
                    <a:pt x="350" y="86"/>
                    <a:pt x="350" y="86"/>
                    <a:pt x="350" y="85"/>
                  </a:cubicBezTo>
                  <a:lnTo>
                    <a:pt x="350" y="52"/>
                  </a:lnTo>
                  <a:cubicBezTo>
                    <a:pt x="350" y="49"/>
                    <a:pt x="350" y="46"/>
                    <a:pt x="349" y="45"/>
                  </a:cubicBezTo>
                  <a:cubicBezTo>
                    <a:pt x="349" y="43"/>
                    <a:pt x="348" y="41"/>
                    <a:pt x="347" y="39"/>
                  </a:cubicBezTo>
                  <a:cubicBezTo>
                    <a:pt x="346" y="38"/>
                    <a:pt x="345" y="37"/>
                    <a:pt x="343" y="36"/>
                  </a:cubicBezTo>
                  <a:cubicBezTo>
                    <a:pt x="342" y="35"/>
                    <a:pt x="340" y="35"/>
                    <a:pt x="338" y="35"/>
                  </a:cubicBezTo>
                  <a:cubicBezTo>
                    <a:pt x="335" y="35"/>
                    <a:pt x="333" y="36"/>
                    <a:pt x="330" y="38"/>
                  </a:cubicBezTo>
                  <a:cubicBezTo>
                    <a:pt x="328" y="40"/>
                    <a:pt x="325" y="42"/>
                    <a:pt x="322" y="46"/>
                  </a:cubicBezTo>
                  <a:lnTo>
                    <a:pt x="322" y="85"/>
                  </a:lnTo>
                  <a:cubicBezTo>
                    <a:pt x="322" y="86"/>
                    <a:pt x="322" y="86"/>
                    <a:pt x="322" y="86"/>
                  </a:cubicBezTo>
                  <a:cubicBezTo>
                    <a:pt x="322" y="86"/>
                    <a:pt x="321" y="86"/>
                    <a:pt x="321" y="87"/>
                  </a:cubicBezTo>
                  <a:cubicBezTo>
                    <a:pt x="321" y="87"/>
                    <a:pt x="320" y="87"/>
                    <a:pt x="319" y="87"/>
                  </a:cubicBezTo>
                  <a:cubicBezTo>
                    <a:pt x="319" y="87"/>
                    <a:pt x="318" y="87"/>
                    <a:pt x="317" y="87"/>
                  </a:cubicBezTo>
                  <a:cubicBezTo>
                    <a:pt x="316" y="87"/>
                    <a:pt x="315" y="87"/>
                    <a:pt x="314" y="87"/>
                  </a:cubicBezTo>
                  <a:cubicBezTo>
                    <a:pt x="314" y="87"/>
                    <a:pt x="313" y="87"/>
                    <a:pt x="313" y="87"/>
                  </a:cubicBezTo>
                  <a:cubicBezTo>
                    <a:pt x="312" y="86"/>
                    <a:pt x="312" y="86"/>
                    <a:pt x="312" y="86"/>
                  </a:cubicBezTo>
                  <a:cubicBezTo>
                    <a:pt x="312" y="86"/>
                    <a:pt x="312" y="86"/>
                    <a:pt x="312" y="85"/>
                  </a:cubicBezTo>
                  <a:lnTo>
                    <a:pt x="312" y="29"/>
                  </a:lnTo>
                  <a:cubicBezTo>
                    <a:pt x="312" y="29"/>
                    <a:pt x="312" y="28"/>
                    <a:pt x="312" y="28"/>
                  </a:cubicBezTo>
                  <a:cubicBezTo>
                    <a:pt x="312" y="28"/>
                    <a:pt x="312" y="28"/>
                    <a:pt x="313" y="27"/>
                  </a:cubicBezTo>
                  <a:cubicBezTo>
                    <a:pt x="313" y="27"/>
                    <a:pt x="314" y="27"/>
                    <a:pt x="314" y="27"/>
                  </a:cubicBezTo>
                  <a:cubicBezTo>
                    <a:pt x="315" y="27"/>
                    <a:pt x="316" y="27"/>
                    <a:pt x="316" y="27"/>
                  </a:cubicBezTo>
                  <a:cubicBezTo>
                    <a:pt x="317" y="27"/>
                    <a:pt x="318" y="27"/>
                    <a:pt x="319" y="27"/>
                  </a:cubicBezTo>
                  <a:cubicBezTo>
                    <a:pt x="319" y="27"/>
                    <a:pt x="320" y="27"/>
                    <a:pt x="320" y="27"/>
                  </a:cubicBezTo>
                  <a:cubicBezTo>
                    <a:pt x="321" y="28"/>
                    <a:pt x="321" y="28"/>
                    <a:pt x="321" y="28"/>
                  </a:cubicBezTo>
                  <a:cubicBezTo>
                    <a:pt x="321" y="28"/>
                    <a:pt x="321" y="29"/>
                    <a:pt x="321" y="29"/>
                  </a:cubicBezTo>
                  <a:lnTo>
                    <a:pt x="321" y="36"/>
                  </a:lnTo>
                  <a:cubicBezTo>
                    <a:pt x="324" y="33"/>
                    <a:pt x="327" y="30"/>
                    <a:pt x="331" y="29"/>
                  </a:cubicBezTo>
                  <a:cubicBezTo>
                    <a:pt x="334" y="27"/>
                    <a:pt x="337" y="26"/>
                    <a:pt x="340" y="26"/>
                  </a:cubicBezTo>
                  <a:cubicBezTo>
                    <a:pt x="344" y="26"/>
                    <a:pt x="347" y="27"/>
                    <a:pt x="350" y="28"/>
                  </a:cubicBezTo>
                  <a:cubicBezTo>
                    <a:pt x="352" y="29"/>
                    <a:pt x="354" y="31"/>
                    <a:pt x="356" y="33"/>
                  </a:cubicBezTo>
                  <a:cubicBezTo>
                    <a:pt x="357" y="35"/>
                    <a:pt x="359" y="38"/>
                    <a:pt x="359" y="41"/>
                  </a:cubicBezTo>
                  <a:cubicBezTo>
                    <a:pt x="360" y="43"/>
                    <a:pt x="360" y="47"/>
                    <a:pt x="360" y="51"/>
                  </a:cubicBezTo>
                  <a:lnTo>
                    <a:pt x="360" y="85"/>
                  </a:lnTo>
                  <a:close/>
                  <a:moveTo>
                    <a:pt x="421" y="81"/>
                  </a:moveTo>
                  <a:cubicBezTo>
                    <a:pt x="421" y="82"/>
                    <a:pt x="421" y="83"/>
                    <a:pt x="421" y="84"/>
                  </a:cubicBezTo>
                  <a:cubicBezTo>
                    <a:pt x="421" y="85"/>
                    <a:pt x="420" y="85"/>
                    <a:pt x="420" y="86"/>
                  </a:cubicBezTo>
                  <a:cubicBezTo>
                    <a:pt x="420" y="86"/>
                    <a:pt x="419" y="86"/>
                    <a:pt x="419" y="86"/>
                  </a:cubicBezTo>
                  <a:cubicBezTo>
                    <a:pt x="418" y="87"/>
                    <a:pt x="417" y="87"/>
                    <a:pt x="416" y="87"/>
                  </a:cubicBezTo>
                  <a:cubicBezTo>
                    <a:pt x="415" y="87"/>
                    <a:pt x="415" y="88"/>
                    <a:pt x="414" y="88"/>
                  </a:cubicBezTo>
                  <a:cubicBezTo>
                    <a:pt x="413" y="88"/>
                    <a:pt x="412" y="88"/>
                    <a:pt x="411" y="88"/>
                  </a:cubicBezTo>
                  <a:cubicBezTo>
                    <a:pt x="408" y="88"/>
                    <a:pt x="405" y="87"/>
                    <a:pt x="403" y="87"/>
                  </a:cubicBezTo>
                  <a:cubicBezTo>
                    <a:pt x="401" y="86"/>
                    <a:pt x="399" y="85"/>
                    <a:pt x="398" y="83"/>
                  </a:cubicBezTo>
                  <a:cubicBezTo>
                    <a:pt x="397" y="82"/>
                    <a:pt x="396" y="80"/>
                    <a:pt x="395" y="77"/>
                  </a:cubicBezTo>
                  <a:cubicBezTo>
                    <a:pt x="395" y="75"/>
                    <a:pt x="394" y="72"/>
                    <a:pt x="394" y="69"/>
                  </a:cubicBezTo>
                  <a:lnTo>
                    <a:pt x="394" y="36"/>
                  </a:lnTo>
                  <a:lnTo>
                    <a:pt x="386" y="36"/>
                  </a:lnTo>
                  <a:cubicBezTo>
                    <a:pt x="386" y="36"/>
                    <a:pt x="385" y="36"/>
                    <a:pt x="385" y="35"/>
                  </a:cubicBezTo>
                  <a:cubicBezTo>
                    <a:pt x="384" y="34"/>
                    <a:pt x="384" y="33"/>
                    <a:pt x="384" y="32"/>
                  </a:cubicBezTo>
                  <a:cubicBezTo>
                    <a:pt x="384" y="31"/>
                    <a:pt x="384" y="30"/>
                    <a:pt x="384" y="30"/>
                  </a:cubicBezTo>
                  <a:cubicBezTo>
                    <a:pt x="385" y="29"/>
                    <a:pt x="385" y="29"/>
                    <a:pt x="385" y="28"/>
                  </a:cubicBezTo>
                  <a:cubicBezTo>
                    <a:pt x="385" y="28"/>
                    <a:pt x="385" y="28"/>
                    <a:pt x="386" y="28"/>
                  </a:cubicBezTo>
                  <a:cubicBezTo>
                    <a:pt x="386" y="27"/>
                    <a:pt x="386" y="27"/>
                    <a:pt x="386" y="27"/>
                  </a:cubicBezTo>
                  <a:lnTo>
                    <a:pt x="394" y="27"/>
                  </a:lnTo>
                  <a:lnTo>
                    <a:pt x="394" y="14"/>
                  </a:lnTo>
                  <a:cubicBezTo>
                    <a:pt x="394" y="14"/>
                    <a:pt x="394" y="13"/>
                    <a:pt x="394" y="13"/>
                  </a:cubicBezTo>
                  <a:cubicBezTo>
                    <a:pt x="395" y="13"/>
                    <a:pt x="395" y="13"/>
                    <a:pt x="395" y="12"/>
                  </a:cubicBezTo>
                  <a:cubicBezTo>
                    <a:pt x="396" y="12"/>
                    <a:pt x="396" y="12"/>
                    <a:pt x="397" y="12"/>
                  </a:cubicBezTo>
                  <a:cubicBezTo>
                    <a:pt x="398" y="12"/>
                    <a:pt x="398" y="12"/>
                    <a:pt x="399" y="12"/>
                  </a:cubicBezTo>
                  <a:cubicBezTo>
                    <a:pt x="400" y="12"/>
                    <a:pt x="401" y="12"/>
                    <a:pt x="402" y="12"/>
                  </a:cubicBezTo>
                  <a:cubicBezTo>
                    <a:pt x="403" y="12"/>
                    <a:pt x="403" y="12"/>
                    <a:pt x="403" y="12"/>
                  </a:cubicBezTo>
                  <a:cubicBezTo>
                    <a:pt x="404" y="13"/>
                    <a:pt x="404" y="13"/>
                    <a:pt x="404" y="13"/>
                  </a:cubicBezTo>
                  <a:cubicBezTo>
                    <a:pt x="404" y="13"/>
                    <a:pt x="405" y="14"/>
                    <a:pt x="405" y="14"/>
                  </a:cubicBezTo>
                  <a:lnTo>
                    <a:pt x="405" y="27"/>
                  </a:lnTo>
                  <a:lnTo>
                    <a:pt x="419" y="27"/>
                  </a:lnTo>
                  <a:cubicBezTo>
                    <a:pt x="419" y="27"/>
                    <a:pt x="420" y="27"/>
                    <a:pt x="420" y="28"/>
                  </a:cubicBezTo>
                  <a:cubicBezTo>
                    <a:pt x="420" y="28"/>
                    <a:pt x="420" y="28"/>
                    <a:pt x="421" y="28"/>
                  </a:cubicBezTo>
                  <a:cubicBezTo>
                    <a:pt x="421" y="29"/>
                    <a:pt x="421" y="29"/>
                    <a:pt x="421" y="30"/>
                  </a:cubicBezTo>
                  <a:cubicBezTo>
                    <a:pt x="421" y="30"/>
                    <a:pt x="421" y="31"/>
                    <a:pt x="421" y="32"/>
                  </a:cubicBezTo>
                  <a:cubicBezTo>
                    <a:pt x="421" y="33"/>
                    <a:pt x="421" y="34"/>
                    <a:pt x="420" y="35"/>
                  </a:cubicBezTo>
                  <a:cubicBezTo>
                    <a:pt x="420" y="36"/>
                    <a:pt x="420" y="36"/>
                    <a:pt x="419" y="36"/>
                  </a:cubicBezTo>
                  <a:lnTo>
                    <a:pt x="405" y="36"/>
                  </a:lnTo>
                  <a:lnTo>
                    <a:pt x="405" y="67"/>
                  </a:lnTo>
                  <a:cubicBezTo>
                    <a:pt x="405" y="71"/>
                    <a:pt x="405" y="74"/>
                    <a:pt x="406" y="76"/>
                  </a:cubicBezTo>
                  <a:cubicBezTo>
                    <a:pt x="407" y="78"/>
                    <a:pt x="409" y="79"/>
                    <a:pt x="412" y="79"/>
                  </a:cubicBezTo>
                  <a:cubicBezTo>
                    <a:pt x="413" y="79"/>
                    <a:pt x="414" y="79"/>
                    <a:pt x="415" y="79"/>
                  </a:cubicBezTo>
                  <a:cubicBezTo>
                    <a:pt x="416" y="79"/>
                    <a:pt x="416" y="78"/>
                    <a:pt x="417" y="78"/>
                  </a:cubicBezTo>
                  <a:cubicBezTo>
                    <a:pt x="418" y="78"/>
                    <a:pt x="418" y="78"/>
                    <a:pt x="418" y="78"/>
                  </a:cubicBezTo>
                  <a:cubicBezTo>
                    <a:pt x="419" y="77"/>
                    <a:pt x="419" y="77"/>
                    <a:pt x="420" y="77"/>
                  </a:cubicBezTo>
                  <a:cubicBezTo>
                    <a:pt x="420" y="77"/>
                    <a:pt x="420" y="77"/>
                    <a:pt x="420" y="77"/>
                  </a:cubicBezTo>
                  <a:cubicBezTo>
                    <a:pt x="420" y="78"/>
                    <a:pt x="421" y="78"/>
                    <a:pt x="421" y="78"/>
                  </a:cubicBezTo>
                  <a:cubicBezTo>
                    <a:pt x="421" y="78"/>
                    <a:pt x="421" y="79"/>
                    <a:pt x="421" y="79"/>
                  </a:cubicBezTo>
                  <a:cubicBezTo>
                    <a:pt x="421" y="80"/>
                    <a:pt x="421" y="80"/>
                    <a:pt x="421" y="81"/>
                  </a:cubicBezTo>
                  <a:close/>
                  <a:moveTo>
                    <a:pt x="511" y="75"/>
                  </a:moveTo>
                  <a:cubicBezTo>
                    <a:pt x="511" y="76"/>
                    <a:pt x="511" y="77"/>
                    <a:pt x="511" y="77"/>
                  </a:cubicBezTo>
                  <a:cubicBezTo>
                    <a:pt x="511" y="78"/>
                    <a:pt x="511" y="78"/>
                    <a:pt x="511" y="78"/>
                  </a:cubicBezTo>
                  <a:cubicBezTo>
                    <a:pt x="511" y="79"/>
                    <a:pt x="510" y="79"/>
                    <a:pt x="510" y="79"/>
                  </a:cubicBezTo>
                  <a:cubicBezTo>
                    <a:pt x="510" y="80"/>
                    <a:pt x="510" y="80"/>
                    <a:pt x="509" y="80"/>
                  </a:cubicBezTo>
                  <a:cubicBezTo>
                    <a:pt x="509" y="81"/>
                    <a:pt x="508" y="82"/>
                    <a:pt x="507" y="82"/>
                  </a:cubicBezTo>
                  <a:cubicBezTo>
                    <a:pt x="505" y="83"/>
                    <a:pt x="504" y="84"/>
                    <a:pt x="502" y="85"/>
                  </a:cubicBezTo>
                  <a:cubicBezTo>
                    <a:pt x="500" y="86"/>
                    <a:pt x="498" y="86"/>
                    <a:pt x="495" y="87"/>
                  </a:cubicBezTo>
                  <a:cubicBezTo>
                    <a:pt x="492" y="87"/>
                    <a:pt x="490" y="88"/>
                    <a:pt x="487" y="88"/>
                  </a:cubicBezTo>
                  <a:cubicBezTo>
                    <a:pt x="481" y="88"/>
                    <a:pt x="477" y="87"/>
                    <a:pt x="472" y="85"/>
                  </a:cubicBezTo>
                  <a:cubicBezTo>
                    <a:pt x="468" y="83"/>
                    <a:pt x="465" y="81"/>
                    <a:pt x="462" y="77"/>
                  </a:cubicBezTo>
                  <a:cubicBezTo>
                    <a:pt x="459" y="74"/>
                    <a:pt x="456" y="70"/>
                    <a:pt x="455" y="65"/>
                  </a:cubicBezTo>
                  <a:cubicBezTo>
                    <a:pt x="453" y="60"/>
                    <a:pt x="452" y="54"/>
                    <a:pt x="452" y="47"/>
                  </a:cubicBezTo>
                  <a:cubicBezTo>
                    <a:pt x="452" y="41"/>
                    <a:pt x="453" y="35"/>
                    <a:pt x="455" y="29"/>
                  </a:cubicBezTo>
                  <a:cubicBezTo>
                    <a:pt x="457" y="24"/>
                    <a:pt x="459" y="20"/>
                    <a:pt x="462" y="16"/>
                  </a:cubicBezTo>
                  <a:cubicBezTo>
                    <a:pt x="465" y="12"/>
                    <a:pt x="469" y="10"/>
                    <a:pt x="473" y="8"/>
                  </a:cubicBezTo>
                  <a:cubicBezTo>
                    <a:pt x="478" y="6"/>
                    <a:pt x="483" y="5"/>
                    <a:pt x="488" y="5"/>
                  </a:cubicBezTo>
                  <a:cubicBezTo>
                    <a:pt x="490" y="5"/>
                    <a:pt x="492" y="5"/>
                    <a:pt x="495" y="6"/>
                  </a:cubicBezTo>
                  <a:cubicBezTo>
                    <a:pt x="497" y="6"/>
                    <a:pt x="499" y="7"/>
                    <a:pt x="501" y="7"/>
                  </a:cubicBezTo>
                  <a:cubicBezTo>
                    <a:pt x="503" y="8"/>
                    <a:pt x="504" y="9"/>
                    <a:pt x="506" y="10"/>
                  </a:cubicBezTo>
                  <a:cubicBezTo>
                    <a:pt x="507" y="10"/>
                    <a:pt x="508" y="11"/>
                    <a:pt x="509" y="12"/>
                  </a:cubicBezTo>
                  <a:cubicBezTo>
                    <a:pt x="509" y="12"/>
                    <a:pt x="510" y="13"/>
                    <a:pt x="510" y="13"/>
                  </a:cubicBezTo>
                  <a:cubicBezTo>
                    <a:pt x="510" y="13"/>
                    <a:pt x="510" y="14"/>
                    <a:pt x="510" y="14"/>
                  </a:cubicBezTo>
                  <a:cubicBezTo>
                    <a:pt x="510" y="14"/>
                    <a:pt x="511" y="15"/>
                    <a:pt x="511" y="15"/>
                  </a:cubicBezTo>
                  <a:cubicBezTo>
                    <a:pt x="511" y="16"/>
                    <a:pt x="511" y="17"/>
                    <a:pt x="511" y="17"/>
                  </a:cubicBezTo>
                  <a:cubicBezTo>
                    <a:pt x="511" y="18"/>
                    <a:pt x="511" y="19"/>
                    <a:pt x="511" y="19"/>
                  </a:cubicBezTo>
                  <a:cubicBezTo>
                    <a:pt x="510" y="20"/>
                    <a:pt x="510" y="21"/>
                    <a:pt x="510" y="21"/>
                  </a:cubicBezTo>
                  <a:cubicBezTo>
                    <a:pt x="510" y="21"/>
                    <a:pt x="510" y="22"/>
                    <a:pt x="510" y="22"/>
                  </a:cubicBezTo>
                  <a:cubicBezTo>
                    <a:pt x="509" y="22"/>
                    <a:pt x="509" y="22"/>
                    <a:pt x="509" y="22"/>
                  </a:cubicBezTo>
                  <a:cubicBezTo>
                    <a:pt x="508" y="22"/>
                    <a:pt x="507" y="22"/>
                    <a:pt x="506" y="21"/>
                  </a:cubicBezTo>
                  <a:cubicBezTo>
                    <a:pt x="505" y="20"/>
                    <a:pt x="504" y="19"/>
                    <a:pt x="502" y="18"/>
                  </a:cubicBezTo>
                  <a:cubicBezTo>
                    <a:pt x="501" y="17"/>
                    <a:pt x="499" y="16"/>
                    <a:pt x="496" y="15"/>
                  </a:cubicBezTo>
                  <a:cubicBezTo>
                    <a:pt x="494" y="15"/>
                    <a:pt x="491" y="14"/>
                    <a:pt x="488" y="14"/>
                  </a:cubicBezTo>
                  <a:cubicBezTo>
                    <a:pt x="484" y="14"/>
                    <a:pt x="481" y="15"/>
                    <a:pt x="478" y="16"/>
                  </a:cubicBezTo>
                  <a:cubicBezTo>
                    <a:pt x="475" y="18"/>
                    <a:pt x="472" y="20"/>
                    <a:pt x="470" y="23"/>
                  </a:cubicBezTo>
                  <a:cubicBezTo>
                    <a:pt x="468" y="26"/>
                    <a:pt x="467" y="29"/>
                    <a:pt x="465" y="33"/>
                  </a:cubicBezTo>
                  <a:cubicBezTo>
                    <a:pt x="464" y="37"/>
                    <a:pt x="464" y="42"/>
                    <a:pt x="464" y="47"/>
                  </a:cubicBezTo>
                  <a:cubicBezTo>
                    <a:pt x="464" y="52"/>
                    <a:pt x="464" y="56"/>
                    <a:pt x="465" y="60"/>
                  </a:cubicBezTo>
                  <a:cubicBezTo>
                    <a:pt x="466" y="64"/>
                    <a:pt x="468" y="68"/>
                    <a:pt x="470" y="70"/>
                  </a:cubicBezTo>
                  <a:cubicBezTo>
                    <a:pt x="472" y="73"/>
                    <a:pt x="475" y="75"/>
                    <a:pt x="478" y="76"/>
                  </a:cubicBezTo>
                  <a:cubicBezTo>
                    <a:pt x="481" y="78"/>
                    <a:pt x="484" y="78"/>
                    <a:pt x="488" y="78"/>
                  </a:cubicBezTo>
                  <a:cubicBezTo>
                    <a:pt x="491" y="78"/>
                    <a:pt x="494" y="78"/>
                    <a:pt x="496" y="77"/>
                  </a:cubicBezTo>
                  <a:cubicBezTo>
                    <a:pt x="499" y="76"/>
                    <a:pt x="501" y="75"/>
                    <a:pt x="503" y="74"/>
                  </a:cubicBezTo>
                  <a:cubicBezTo>
                    <a:pt x="504" y="73"/>
                    <a:pt x="506" y="73"/>
                    <a:pt x="507" y="72"/>
                  </a:cubicBezTo>
                  <a:cubicBezTo>
                    <a:pt x="508" y="71"/>
                    <a:pt x="509" y="71"/>
                    <a:pt x="509" y="71"/>
                  </a:cubicBezTo>
                  <a:cubicBezTo>
                    <a:pt x="510" y="71"/>
                    <a:pt x="510" y="71"/>
                    <a:pt x="510" y="71"/>
                  </a:cubicBezTo>
                  <a:cubicBezTo>
                    <a:pt x="510" y="71"/>
                    <a:pt x="510" y="71"/>
                    <a:pt x="511" y="71"/>
                  </a:cubicBezTo>
                  <a:cubicBezTo>
                    <a:pt x="511" y="72"/>
                    <a:pt x="511" y="72"/>
                    <a:pt x="511" y="73"/>
                  </a:cubicBezTo>
                  <a:cubicBezTo>
                    <a:pt x="511" y="74"/>
                    <a:pt x="511" y="74"/>
                    <a:pt x="511" y="75"/>
                  </a:cubicBezTo>
                  <a:close/>
                  <a:moveTo>
                    <a:pt x="568" y="85"/>
                  </a:moveTo>
                  <a:cubicBezTo>
                    <a:pt x="568" y="86"/>
                    <a:pt x="568" y="86"/>
                    <a:pt x="568" y="86"/>
                  </a:cubicBezTo>
                  <a:cubicBezTo>
                    <a:pt x="568" y="86"/>
                    <a:pt x="568" y="86"/>
                    <a:pt x="567" y="87"/>
                  </a:cubicBezTo>
                  <a:cubicBezTo>
                    <a:pt x="567" y="87"/>
                    <a:pt x="566" y="87"/>
                    <a:pt x="566" y="87"/>
                  </a:cubicBezTo>
                  <a:cubicBezTo>
                    <a:pt x="565" y="87"/>
                    <a:pt x="564" y="87"/>
                    <a:pt x="563" y="87"/>
                  </a:cubicBezTo>
                  <a:cubicBezTo>
                    <a:pt x="562" y="87"/>
                    <a:pt x="561" y="87"/>
                    <a:pt x="561" y="87"/>
                  </a:cubicBezTo>
                  <a:cubicBezTo>
                    <a:pt x="560" y="87"/>
                    <a:pt x="559" y="87"/>
                    <a:pt x="559" y="87"/>
                  </a:cubicBezTo>
                  <a:cubicBezTo>
                    <a:pt x="559" y="86"/>
                    <a:pt x="558" y="86"/>
                    <a:pt x="558" y="86"/>
                  </a:cubicBezTo>
                  <a:cubicBezTo>
                    <a:pt x="558" y="86"/>
                    <a:pt x="558" y="86"/>
                    <a:pt x="558" y="85"/>
                  </a:cubicBezTo>
                  <a:lnTo>
                    <a:pt x="558" y="52"/>
                  </a:lnTo>
                  <a:cubicBezTo>
                    <a:pt x="558" y="49"/>
                    <a:pt x="558" y="46"/>
                    <a:pt x="557" y="45"/>
                  </a:cubicBezTo>
                  <a:cubicBezTo>
                    <a:pt x="557" y="43"/>
                    <a:pt x="556" y="41"/>
                    <a:pt x="555" y="39"/>
                  </a:cubicBezTo>
                  <a:cubicBezTo>
                    <a:pt x="554" y="38"/>
                    <a:pt x="553" y="37"/>
                    <a:pt x="551" y="36"/>
                  </a:cubicBezTo>
                  <a:cubicBezTo>
                    <a:pt x="550" y="35"/>
                    <a:pt x="548" y="35"/>
                    <a:pt x="546" y="35"/>
                  </a:cubicBezTo>
                  <a:cubicBezTo>
                    <a:pt x="543" y="35"/>
                    <a:pt x="541" y="36"/>
                    <a:pt x="538" y="38"/>
                  </a:cubicBezTo>
                  <a:cubicBezTo>
                    <a:pt x="536" y="40"/>
                    <a:pt x="533" y="42"/>
                    <a:pt x="530" y="46"/>
                  </a:cubicBezTo>
                  <a:lnTo>
                    <a:pt x="530" y="85"/>
                  </a:lnTo>
                  <a:cubicBezTo>
                    <a:pt x="530" y="86"/>
                    <a:pt x="530" y="86"/>
                    <a:pt x="530" y="86"/>
                  </a:cubicBezTo>
                  <a:cubicBezTo>
                    <a:pt x="530" y="86"/>
                    <a:pt x="529" y="86"/>
                    <a:pt x="529" y="87"/>
                  </a:cubicBezTo>
                  <a:cubicBezTo>
                    <a:pt x="529" y="87"/>
                    <a:pt x="528" y="87"/>
                    <a:pt x="527" y="87"/>
                  </a:cubicBezTo>
                  <a:cubicBezTo>
                    <a:pt x="527" y="87"/>
                    <a:pt x="526" y="87"/>
                    <a:pt x="525" y="87"/>
                  </a:cubicBezTo>
                  <a:cubicBezTo>
                    <a:pt x="524" y="87"/>
                    <a:pt x="523" y="87"/>
                    <a:pt x="522" y="87"/>
                  </a:cubicBezTo>
                  <a:cubicBezTo>
                    <a:pt x="522" y="87"/>
                    <a:pt x="521" y="87"/>
                    <a:pt x="521" y="87"/>
                  </a:cubicBezTo>
                  <a:cubicBezTo>
                    <a:pt x="520" y="86"/>
                    <a:pt x="520" y="86"/>
                    <a:pt x="520" y="86"/>
                  </a:cubicBezTo>
                  <a:cubicBezTo>
                    <a:pt x="520" y="86"/>
                    <a:pt x="520" y="86"/>
                    <a:pt x="520" y="85"/>
                  </a:cubicBezTo>
                  <a:lnTo>
                    <a:pt x="520" y="2"/>
                  </a:lnTo>
                  <a:cubicBezTo>
                    <a:pt x="520" y="1"/>
                    <a:pt x="520" y="1"/>
                    <a:pt x="520" y="1"/>
                  </a:cubicBezTo>
                  <a:cubicBezTo>
                    <a:pt x="520" y="1"/>
                    <a:pt x="520" y="0"/>
                    <a:pt x="521" y="0"/>
                  </a:cubicBezTo>
                  <a:cubicBezTo>
                    <a:pt x="521" y="0"/>
                    <a:pt x="522" y="0"/>
                    <a:pt x="522" y="0"/>
                  </a:cubicBezTo>
                  <a:cubicBezTo>
                    <a:pt x="523" y="0"/>
                    <a:pt x="524" y="0"/>
                    <a:pt x="525" y="0"/>
                  </a:cubicBezTo>
                  <a:cubicBezTo>
                    <a:pt x="526" y="0"/>
                    <a:pt x="527" y="0"/>
                    <a:pt x="527" y="0"/>
                  </a:cubicBezTo>
                  <a:cubicBezTo>
                    <a:pt x="528" y="0"/>
                    <a:pt x="529" y="0"/>
                    <a:pt x="529" y="0"/>
                  </a:cubicBezTo>
                  <a:cubicBezTo>
                    <a:pt x="529" y="0"/>
                    <a:pt x="530" y="1"/>
                    <a:pt x="530" y="1"/>
                  </a:cubicBezTo>
                  <a:cubicBezTo>
                    <a:pt x="530" y="1"/>
                    <a:pt x="530" y="1"/>
                    <a:pt x="530" y="2"/>
                  </a:cubicBezTo>
                  <a:lnTo>
                    <a:pt x="530" y="35"/>
                  </a:lnTo>
                  <a:cubicBezTo>
                    <a:pt x="533" y="32"/>
                    <a:pt x="536" y="30"/>
                    <a:pt x="539" y="28"/>
                  </a:cubicBezTo>
                  <a:cubicBezTo>
                    <a:pt x="542" y="27"/>
                    <a:pt x="545" y="26"/>
                    <a:pt x="548" y="26"/>
                  </a:cubicBezTo>
                  <a:cubicBezTo>
                    <a:pt x="552" y="26"/>
                    <a:pt x="555" y="27"/>
                    <a:pt x="558" y="28"/>
                  </a:cubicBezTo>
                  <a:cubicBezTo>
                    <a:pt x="560" y="29"/>
                    <a:pt x="562" y="31"/>
                    <a:pt x="564" y="33"/>
                  </a:cubicBezTo>
                  <a:cubicBezTo>
                    <a:pt x="565" y="35"/>
                    <a:pt x="567" y="38"/>
                    <a:pt x="567" y="41"/>
                  </a:cubicBezTo>
                  <a:cubicBezTo>
                    <a:pt x="568" y="43"/>
                    <a:pt x="568" y="47"/>
                    <a:pt x="568" y="51"/>
                  </a:cubicBezTo>
                  <a:lnTo>
                    <a:pt x="568" y="85"/>
                  </a:lnTo>
                  <a:close/>
                  <a:moveTo>
                    <a:pt x="642" y="85"/>
                  </a:moveTo>
                  <a:cubicBezTo>
                    <a:pt x="642" y="86"/>
                    <a:pt x="642" y="86"/>
                    <a:pt x="642" y="86"/>
                  </a:cubicBezTo>
                  <a:cubicBezTo>
                    <a:pt x="641" y="87"/>
                    <a:pt x="641" y="87"/>
                    <a:pt x="640" y="87"/>
                  </a:cubicBezTo>
                  <a:cubicBezTo>
                    <a:pt x="640" y="87"/>
                    <a:pt x="639" y="87"/>
                    <a:pt x="638" y="87"/>
                  </a:cubicBezTo>
                  <a:cubicBezTo>
                    <a:pt x="637" y="87"/>
                    <a:pt x="636" y="87"/>
                    <a:pt x="635" y="87"/>
                  </a:cubicBezTo>
                  <a:cubicBezTo>
                    <a:pt x="635" y="87"/>
                    <a:pt x="634" y="87"/>
                    <a:pt x="634" y="86"/>
                  </a:cubicBezTo>
                  <a:cubicBezTo>
                    <a:pt x="633" y="86"/>
                    <a:pt x="633" y="86"/>
                    <a:pt x="633" y="85"/>
                  </a:cubicBezTo>
                  <a:lnTo>
                    <a:pt x="633" y="80"/>
                  </a:lnTo>
                  <a:cubicBezTo>
                    <a:pt x="631" y="82"/>
                    <a:pt x="628" y="84"/>
                    <a:pt x="625" y="86"/>
                  </a:cubicBezTo>
                  <a:cubicBezTo>
                    <a:pt x="622" y="87"/>
                    <a:pt x="619" y="88"/>
                    <a:pt x="615" y="88"/>
                  </a:cubicBezTo>
                  <a:cubicBezTo>
                    <a:pt x="613" y="88"/>
                    <a:pt x="610" y="88"/>
                    <a:pt x="607" y="87"/>
                  </a:cubicBezTo>
                  <a:cubicBezTo>
                    <a:pt x="605" y="86"/>
                    <a:pt x="603" y="85"/>
                    <a:pt x="601" y="83"/>
                  </a:cubicBezTo>
                  <a:cubicBezTo>
                    <a:pt x="600" y="82"/>
                    <a:pt x="598" y="80"/>
                    <a:pt x="597" y="78"/>
                  </a:cubicBezTo>
                  <a:cubicBezTo>
                    <a:pt x="596" y="76"/>
                    <a:pt x="596" y="74"/>
                    <a:pt x="596" y="71"/>
                  </a:cubicBezTo>
                  <a:cubicBezTo>
                    <a:pt x="596" y="68"/>
                    <a:pt x="597" y="65"/>
                    <a:pt x="598" y="63"/>
                  </a:cubicBezTo>
                  <a:cubicBezTo>
                    <a:pt x="599" y="60"/>
                    <a:pt x="601" y="58"/>
                    <a:pt x="603" y="57"/>
                  </a:cubicBezTo>
                  <a:cubicBezTo>
                    <a:pt x="606" y="55"/>
                    <a:pt x="609" y="54"/>
                    <a:pt x="612" y="53"/>
                  </a:cubicBezTo>
                  <a:cubicBezTo>
                    <a:pt x="616" y="53"/>
                    <a:pt x="620" y="52"/>
                    <a:pt x="624" y="52"/>
                  </a:cubicBezTo>
                  <a:lnTo>
                    <a:pt x="632" y="52"/>
                  </a:lnTo>
                  <a:lnTo>
                    <a:pt x="632" y="48"/>
                  </a:lnTo>
                  <a:cubicBezTo>
                    <a:pt x="632" y="46"/>
                    <a:pt x="632" y="44"/>
                    <a:pt x="631" y="42"/>
                  </a:cubicBezTo>
                  <a:cubicBezTo>
                    <a:pt x="631" y="40"/>
                    <a:pt x="630" y="39"/>
                    <a:pt x="629" y="38"/>
                  </a:cubicBezTo>
                  <a:cubicBezTo>
                    <a:pt x="628" y="37"/>
                    <a:pt x="627" y="36"/>
                    <a:pt x="625" y="35"/>
                  </a:cubicBezTo>
                  <a:cubicBezTo>
                    <a:pt x="623" y="35"/>
                    <a:pt x="621" y="35"/>
                    <a:pt x="619" y="35"/>
                  </a:cubicBezTo>
                  <a:cubicBezTo>
                    <a:pt x="617" y="35"/>
                    <a:pt x="614" y="35"/>
                    <a:pt x="612" y="35"/>
                  </a:cubicBezTo>
                  <a:cubicBezTo>
                    <a:pt x="610" y="36"/>
                    <a:pt x="608" y="37"/>
                    <a:pt x="607" y="37"/>
                  </a:cubicBezTo>
                  <a:cubicBezTo>
                    <a:pt x="605" y="38"/>
                    <a:pt x="604" y="39"/>
                    <a:pt x="603" y="39"/>
                  </a:cubicBezTo>
                  <a:cubicBezTo>
                    <a:pt x="602" y="40"/>
                    <a:pt x="601" y="40"/>
                    <a:pt x="601" y="40"/>
                  </a:cubicBezTo>
                  <a:cubicBezTo>
                    <a:pt x="600" y="40"/>
                    <a:pt x="600" y="40"/>
                    <a:pt x="600" y="40"/>
                  </a:cubicBezTo>
                  <a:cubicBezTo>
                    <a:pt x="600" y="40"/>
                    <a:pt x="599" y="40"/>
                    <a:pt x="599" y="39"/>
                  </a:cubicBezTo>
                  <a:cubicBezTo>
                    <a:pt x="599" y="39"/>
                    <a:pt x="599" y="39"/>
                    <a:pt x="599" y="38"/>
                  </a:cubicBezTo>
                  <a:cubicBezTo>
                    <a:pt x="599" y="38"/>
                    <a:pt x="599" y="37"/>
                    <a:pt x="599" y="36"/>
                  </a:cubicBezTo>
                  <a:cubicBezTo>
                    <a:pt x="599" y="35"/>
                    <a:pt x="599" y="34"/>
                    <a:pt x="599" y="34"/>
                  </a:cubicBezTo>
                  <a:cubicBezTo>
                    <a:pt x="599" y="33"/>
                    <a:pt x="599" y="33"/>
                    <a:pt x="600" y="32"/>
                  </a:cubicBezTo>
                  <a:cubicBezTo>
                    <a:pt x="601" y="32"/>
                    <a:pt x="602" y="31"/>
                    <a:pt x="603" y="30"/>
                  </a:cubicBezTo>
                  <a:cubicBezTo>
                    <a:pt x="604" y="30"/>
                    <a:pt x="606" y="29"/>
                    <a:pt x="608" y="28"/>
                  </a:cubicBezTo>
                  <a:cubicBezTo>
                    <a:pt x="609" y="28"/>
                    <a:pt x="611" y="27"/>
                    <a:pt x="614" y="27"/>
                  </a:cubicBezTo>
                  <a:cubicBezTo>
                    <a:pt x="616" y="26"/>
                    <a:pt x="618" y="26"/>
                    <a:pt x="620" y="26"/>
                  </a:cubicBezTo>
                  <a:cubicBezTo>
                    <a:pt x="624" y="26"/>
                    <a:pt x="627" y="27"/>
                    <a:pt x="630" y="28"/>
                  </a:cubicBezTo>
                  <a:cubicBezTo>
                    <a:pt x="633" y="28"/>
                    <a:pt x="635" y="30"/>
                    <a:pt x="637" y="32"/>
                  </a:cubicBezTo>
                  <a:cubicBezTo>
                    <a:pt x="639" y="33"/>
                    <a:pt x="640" y="36"/>
                    <a:pt x="641" y="38"/>
                  </a:cubicBezTo>
                  <a:cubicBezTo>
                    <a:pt x="642" y="41"/>
                    <a:pt x="642" y="44"/>
                    <a:pt x="642" y="47"/>
                  </a:cubicBezTo>
                  <a:lnTo>
                    <a:pt x="642" y="85"/>
                  </a:lnTo>
                  <a:close/>
                  <a:moveTo>
                    <a:pt x="632" y="60"/>
                  </a:moveTo>
                  <a:lnTo>
                    <a:pt x="623" y="60"/>
                  </a:lnTo>
                  <a:cubicBezTo>
                    <a:pt x="620" y="60"/>
                    <a:pt x="618" y="60"/>
                    <a:pt x="616" y="60"/>
                  </a:cubicBezTo>
                  <a:cubicBezTo>
                    <a:pt x="614" y="61"/>
                    <a:pt x="612" y="61"/>
                    <a:pt x="611" y="62"/>
                  </a:cubicBezTo>
                  <a:cubicBezTo>
                    <a:pt x="609" y="63"/>
                    <a:pt x="608" y="64"/>
                    <a:pt x="608" y="66"/>
                  </a:cubicBezTo>
                  <a:cubicBezTo>
                    <a:pt x="607" y="67"/>
                    <a:pt x="607" y="69"/>
                    <a:pt x="607" y="70"/>
                  </a:cubicBezTo>
                  <a:cubicBezTo>
                    <a:pt x="607" y="73"/>
                    <a:pt x="607" y="76"/>
                    <a:pt x="609" y="77"/>
                  </a:cubicBezTo>
                  <a:cubicBezTo>
                    <a:pt x="611" y="79"/>
                    <a:pt x="614" y="80"/>
                    <a:pt x="617" y="80"/>
                  </a:cubicBezTo>
                  <a:cubicBezTo>
                    <a:pt x="620" y="80"/>
                    <a:pt x="622" y="79"/>
                    <a:pt x="625" y="78"/>
                  </a:cubicBezTo>
                  <a:cubicBezTo>
                    <a:pt x="627" y="76"/>
                    <a:pt x="629" y="74"/>
                    <a:pt x="632" y="72"/>
                  </a:cubicBezTo>
                  <a:lnTo>
                    <a:pt x="632" y="60"/>
                  </a:lnTo>
                  <a:close/>
                  <a:moveTo>
                    <a:pt x="696" y="85"/>
                  </a:moveTo>
                  <a:cubicBezTo>
                    <a:pt x="696" y="86"/>
                    <a:pt x="696" y="86"/>
                    <a:pt x="696" y="86"/>
                  </a:cubicBezTo>
                  <a:cubicBezTo>
                    <a:pt x="696" y="86"/>
                    <a:pt x="696" y="86"/>
                    <a:pt x="695" y="87"/>
                  </a:cubicBezTo>
                  <a:cubicBezTo>
                    <a:pt x="695" y="87"/>
                    <a:pt x="694" y="87"/>
                    <a:pt x="694" y="87"/>
                  </a:cubicBezTo>
                  <a:cubicBezTo>
                    <a:pt x="693" y="87"/>
                    <a:pt x="692" y="87"/>
                    <a:pt x="691" y="87"/>
                  </a:cubicBezTo>
                  <a:cubicBezTo>
                    <a:pt x="690" y="87"/>
                    <a:pt x="689" y="87"/>
                    <a:pt x="689" y="87"/>
                  </a:cubicBezTo>
                  <a:cubicBezTo>
                    <a:pt x="688" y="87"/>
                    <a:pt x="687" y="87"/>
                    <a:pt x="687" y="87"/>
                  </a:cubicBezTo>
                  <a:cubicBezTo>
                    <a:pt x="687" y="86"/>
                    <a:pt x="686" y="86"/>
                    <a:pt x="686" y="86"/>
                  </a:cubicBezTo>
                  <a:cubicBezTo>
                    <a:pt x="686" y="86"/>
                    <a:pt x="686" y="86"/>
                    <a:pt x="686" y="85"/>
                  </a:cubicBezTo>
                  <a:lnTo>
                    <a:pt x="686" y="52"/>
                  </a:lnTo>
                  <a:cubicBezTo>
                    <a:pt x="686" y="49"/>
                    <a:pt x="686" y="46"/>
                    <a:pt x="685" y="45"/>
                  </a:cubicBezTo>
                  <a:cubicBezTo>
                    <a:pt x="685" y="43"/>
                    <a:pt x="684" y="41"/>
                    <a:pt x="683" y="39"/>
                  </a:cubicBezTo>
                  <a:cubicBezTo>
                    <a:pt x="682" y="38"/>
                    <a:pt x="681" y="37"/>
                    <a:pt x="679" y="36"/>
                  </a:cubicBezTo>
                  <a:cubicBezTo>
                    <a:pt x="678" y="35"/>
                    <a:pt x="676" y="35"/>
                    <a:pt x="674" y="35"/>
                  </a:cubicBezTo>
                  <a:cubicBezTo>
                    <a:pt x="671" y="35"/>
                    <a:pt x="669" y="36"/>
                    <a:pt x="666" y="38"/>
                  </a:cubicBezTo>
                  <a:cubicBezTo>
                    <a:pt x="664" y="40"/>
                    <a:pt x="661" y="42"/>
                    <a:pt x="658" y="46"/>
                  </a:cubicBezTo>
                  <a:lnTo>
                    <a:pt x="658" y="85"/>
                  </a:lnTo>
                  <a:cubicBezTo>
                    <a:pt x="658" y="86"/>
                    <a:pt x="658" y="86"/>
                    <a:pt x="658" y="86"/>
                  </a:cubicBezTo>
                  <a:cubicBezTo>
                    <a:pt x="658" y="86"/>
                    <a:pt x="657" y="86"/>
                    <a:pt x="657" y="87"/>
                  </a:cubicBezTo>
                  <a:cubicBezTo>
                    <a:pt x="657" y="87"/>
                    <a:pt x="656" y="87"/>
                    <a:pt x="655" y="87"/>
                  </a:cubicBezTo>
                  <a:cubicBezTo>
                    <a:pt x="655" y="87"/>
                    <a:pt x="654" y="87"/>
                    <a:pt x="653" y="87"/>
                  </a:cubicBezTo>
                  <a:cubicBezTo>
                    <a:pt x="652" y="87"/>
                    <a:pt x="651" y="87"/>
                    <a:pt x="650" y="87"/>
                  </a:cubicBezTo>
                  <a:cubicBezTo>
                    <a:pt x="650" y="87"/>
                    <a:pt x="649" y="87"/>
                    <a:pt x="649" y="87"/>
                  </a:cubicBezTo>
                  <a:cubicBezTo>
                    <a:pt x="648" y="86"/>
                    <a:pt x="648" y="86"/>
                    <a:pt x="648" y="86"/>
                  </a:cubicBezTo>
                  <a:cubicBezTo>
                    <a:pt x="648" y="86"/>
                    <a:pt x="648" y="86"/>
                    <a:pt x="648" y="85"/>
                  </a:cubicBezTo>
                  <a:lnTo>
                    <a:pt x="648" y="29"/>
                  </a:lnTo>
                  <a:cubicBezTo>
                    <a:pt x="648" y="29"/>
                    <a:pt x="648" y="28"/>
                    <a:pt x="648" y="28"/>
                  </a:cubicBezTo>
                  <a:cubicBezTo>
                    <a:pt x="648" y="28"/>
                    <a:pt x="648" y="28"/>
                    <a:pt x="649" y="27"/>
                  </a:cubicBezTo>
                  <a:cubicBezTo>
                    <a:pt x="649" y="27"/>
                    <a:pt x="650" y="27"/>
                    <a:pt x="650" y="27"/>
                  </a:cubicBezTo>
                  <a:cubicBezTo>
                    <a:pt x="651" y="27"/>
                    <a:pt x="652" y="27"/>
                    <a:pt x="652" y="27"/>
                  </a:cubicBezTo>
                  <a:cubicBezTo>
                    <a:pt x="653" y="27"/>
                    <a:pt x="654" y="27"/>
                    <a:pt x="655" y="27"/>
                  </a:cubicBezTo>
                  <a:cubicBezTo>
                    <a:pt x="655" y="27"/>
                    <a:pt x="656" y="27"/>
                    <a:pt x="656" y="27"/>
                  </a:cubicBezTo>
                  <a:cubicBezTo>
                    <a:pt x="657" y="28"/>
                    <a:pt x="657" y="28"/>
                    <a:pt x="657" y="28"/>
                  </a:cubicBezTo>
                  <a:cubicBezTo>
                    <a:pt x="657" y="28"/>
                    <a:pt x="657" y="29"/>
                    <a:pt x="657" y="29"/>
                  </a:cubicBezTo>
                  <a:lnTo>
                    <a:pt x="657" y="36"/>
                  </a:lnTo>
                  <a:cubicBezTo>
                    <a:pt x="660" y="33"/>
                    <a:pt x="663" y="30"/>
                    <a:pt x="667" y="29"/>
                  </a:cubicBezTo>
                  <a:cubicBezTo>
                    <a:pt x="670" y="27"/>
                    <a:pt x="673" y="26"/>
                    <a:pt x="676" y="26"/>
                  </a:cubicBezTo>
                  <a:cubicBezTo>
                    <a:pt x="680" y="26"/>
                    <a:pt x="683" y="27"/>
                    <a:pt x="686" y="28"/>
                  </a:cubicBezTo>
                  <a:cubicBezTo>
                    <a:pt x="688" y="29"/>
                    <a:pt x="690" y="31"/>
                    <a:pt x="692" y="33"/>
                  </a:cubicBezTo>
                  <a:cubicBezTo>
                    <a:pt x="693" y="35"/>
                    <a:pt x="695" y="38"/>
                    <a:pt x="695" y="41"/>
                  </a:cubicBezTo>
                  <a:cubicBezTo>
                    <a:pt x="696" y="43"/>
                    <a:pt x="696" y="47"/>
                    <a:pt x="696" y="51"/>
                  </a:cubicBezTo>
                  <a:lnTo>
                    <a:pt x="696" y="85"/>
                  </a:lnTo>
                  <a:close/>
                  <a:moveTo>
                    <a:pt x="775" y="32"/>
                  </a:moveTo>
                  <a:cubicBezTo>
                    <a:pt x="775" y="33"/>
                    <a:pt x="775" y="34"/>
                    <a:pt x="774" y="35"/>
                  </a:cubicBezTo>
                  <a:cubicBezTo>
                    <a:pt x="774" y="35"/>
                    <a:pt x="773" y="36"/>
                    <a:pt x="773" y="36"/>
                  </a:cubicBezTo>
                  <a:lnTo>
                    <a:pt x="765" y="36"/>
                  </a:lnTo>
                  <a:cubicBezTo>
                    <a:pt x="766" y="37"/>
                    <a:pt x="767" y="39"/>
                    <a:pt x="768" y="41"/>
                  </a:cubicBezTo>
                  <a:cubicBezTo>
                    <a:pt x="768" y="42"/>
                    <a:pt x="769" y="44"/>
                    <a:pt x="769" y="46"/>
                  </a:cubicBezTo>
                  <a:cubicBezTo>
                    <a:pt x="769" y="50"/>
                    <a:pt x="768" y="52"/>
                    <a:pt x="767" y="55"/>
                  </a:cubicBezTo>
                  <a:cubicBezTo>
                    <a:pt x="766" y="57"/>
                    <a:pt x="764" y="60"/>
                    <a:pt x="763" y="61"/>
                  </a:cubicBezTo>
                  <a:cubicBezTo>
                    <a:pt x="761" y="63"/>
                    <a:pt x="758" y="64"/>
                    <a:pt x="756" y="65"/>
                  </a:cubicBezTo>
                  <a:cubicBezTo>
                    <a:pt x="753" y="66"/>
                    <a:pt x="750" y="67"/>
                    <a:pt x="747" y="67"/>
                  </a:cubicBezTo>
                  <a:cubicBezTo>
                    <a:pt x="744" y="67"/>
                    <a:pt x="742" y="66"/>
                    <a:pt x="740" y="66"/>
                  </a:cubicBezTo>
                  <a:cubicBezTo>
                    <a:pt x="738" y="65"/>
                    <a:pt x="737" y="64"/>
                    <a:pt x="735" y="63"/>
                  </a:cubicBezTo>
                  <a:cubicBezTo>
                    <a:pt x="735" y="64"/>
                    <a:pt x="734" y="65"/>
                    <a:pt x="734" y="66"/>
                  </a:cubicBezTo>
                  <a:cubicBezTo>
                    <a:pt x="733" y="67"/>
                    <a:pt x="733" y="68"/>
                    <a:pt x="733" y="69"/>
                  </a:cubicBezTo>
                  <a:cubicBezTo>
                    <a:pt x="733" y="71"/>
                    <a:pt x="734" y="72"/>
                    <a:pt x="735" y="73"/>
                  </a:cubicBezTo>
                  <a:cubicBezTo>
                    <a:pt x="736" y="74"/>
                    <a:pt x="738" y="74"/>
                    <a:pt x="740" y="74"/>
                  </a:cubicBezTo>
                  <a:lnTo>
                    <a:pt x="755" y="75"/>
                  </a:lnTo>
                  <a:cubicBezTo>
                    <a:pt x="758" y="75"/>
                    <a:pt x="760" y="76"/>
                    <a:pt x="763" y="76"/>
                  </a:cubicBezTo>
                  <a:cubicBezTo>
                    <a:pt x="765" y="77"/>
                    <a:pt x="767" y="78"/>
                    <a:pt x="769" y="79"/>
                  </a:cubicBezTo>
                  <a:cubicBezTo>
                    <a:pt x="770" y="80"/>
                    <a:pt x="772" y="82"/>
                    <a:pt x="773" y="84"/>
                  </a:cubicBezTo>
                  <a:cubicBezTo>
                    <a:pt x="774" y="86"/>
                    <a:pt x="774" y="88"/>
                    <a:pt x="774" y="90"/>
                  </a:cubicBezTo>
                  <a:cubicBezTo>
                    <a:pt x="774" y="93"/>
                    <a:pt x="774" y="95"/>
                    <a:pt x="773" y="98"/>
                  </a:cubicBezTo>
                  <a:cubicBezTo>
                    <a:pt x="771" y="100"/>
                    <a:pt x="770" y="102"/>
                    <a:pt x="768" y="104"/>
                  </a:cubicBezTo>
                  <a:cubicBezTo>
                    <a:pt x="765" y="106"/>
                    <a:pt x="763" y="107"/>
                    <a:pt x="759" y="108"/>
                  </a:cubicBezTo>
                  <a:cubicBezTo>
                    <a:pt x="756" y="109"/>
                    <a:pt x="752" y="110"/>
                    <a:pt x="747" y="110"/>
                  </a:cubicBezTo>
                  <a:cubicBezTo>
                    <a:pt x="742" y="110"/>
                    <a:pt x="738" y="109"/>
                    <a:pt x="735" y="108"/>
                  </a:cubicBezTo>
                  <a:cubicBezTo>
                    <a:pt x="732" y="108"/>
                    <a:pt x="729" y="107"/>
                    <a:pt x="727" y="105"/>
                  </a:cubicBezTo>
                  <a:cubicBezTo>
                    <a:pt x="725" y="104"/>
                    <a:pt x="724" y="102"/>
                    <a:pt x="723" y="100"/>
                  </a:cubicBezTo>
                  <a:cubicBezTo>
                    <a:pt x="722" y="99"/>
                    <a:pt x="722" y="97"/>
                    <a:pt x="722" y="94"/>
                  </a:cubicBezTo>
                  <a:cubicBezTo>
                    <a:pt x="722" y="93"/>
                    <a:pt x="722" y="92"/>
                    <a:pt x="722" y="90"/>
                  </a:cubicBezTo>
                  <a:cubicBezTo>
                    <a:pt x="722" y="89"/>
                    <a:pt x="723" y="88"/>
                    <a:pt x="724" y="87"/>
                  </a:cubicBezTo>
                  <a:cubicBezTo>
                    <a:pt x="724" y="86"/>
                    <a:pt x="725" y="84"/>
                    <a:pt x="726" y="83"/>
                  </a:cubicBezTo>
                  <a:cubicBezTo>
                    <a:pt x="727" y="82"/>
                    <a:pt x="728" y="81"/>
                    <a:pt x="730" y="80"/>
                  </a:cubicBezTo>
                  <a:cubicBezTo>
                    <a:pt x="728" y="79"/>
                    <a:pt x="726" y="78"/>
                    <a:pt x="725" y="76"/>
                  </a:cubicBezTo>
                  <a:cubicBezTo>
                    <a:pt x="724" y="75"/>
                    <a:pt x="724" y="73"/>
                    <a:pt x="724" y="71"/>
                  </a:cubicBezTo>
                  <a:cubicBezTo>
                    <a:pt x="724" y="69"/>
                    <a:pt x="724" y="66"/>
                    <a:pt x="725" y="64"/>
                  </a:cubicBezTo>
                  <a:cubicBezTo>
                    <a:pt x="726" y="62"/>
                    <a:pt x="728" y="61"/>
                    <a:pt x="729" y="59"/>
                  </a:cubicBezTo>
                  <a:cubicBezTo>
                    <a:pt x="728" y="57"/>
                    <a:pt x="727" y="56"/>
                    <a:pt x="726" y="54"/>
                  </a:cubicBezTo>
                  <a:cubicBezTo>
                    <a:pt x="725" y="52"/>
                    <a:pt x="725" y="50"/>
                    <a:pt x="725" y="47"/>
                  </a:cubicBezTo>
                  <a:cubicBezTo>
                    <a:pt x="725" y="44"/>
                    <a:pt x="725" y="41"/>
                    <a:pt x="727" y="38"/>
                  </a:cubicBezTo>
                  <a:cubicBezTo>
                    <a:pt x="728" y="36"/>
                    <a:pt x="729" y="33"/>
                    <a:pt x="731" y="32"/>
                  </a:cubicBezTo>
                  <a:cubicBezTo>
                    <a:pt x="733" y="30"/>
                    <a:pt x="735" y="29"/>
                    <a:pt x="738" y="28"/>
                  </a:cubicBezTo>
                  <a:cubicBezTo>
                    <a:pt x="741" y="27"/>
                    <a:pt x="744" y="26"/>
                    <a:pt x="747" y="26"/>
                  </a:cubicBezTo>
                  <a:cubicBezTo>
                    <a:pt x="748" y="26"/>
                    <a:pt x="750" y="26"/>
                    <a:pt x="752" y="27"/>
                  </a:cubicBezTo>
                  <a:cubicBezTo>
                    <a:pt x="753" y="27"/>
                    <a:pt x="754" y="27"/>
                    <a:pt x="756" y="27"/>
                  </a:cubicBezTo>
                  <a:lnTo>
                    <a:pt x="773" y="27"/>
                  </a:lnTo>
                  <a:cubicBezTo>
                    <a:pt x="773" y="27"/>
                    <a:pt x="774" y="28"/>
                    <a:pt x="774" y="28"/>
                  </a:cubicBezTo>
                  <a:cubicBezTo>
                    <a:pt x="775" y="29"/>
                    <a:pt x="775" y="30"/>
                    <a:pt x="775" y="32"/>
                  </a:cubicBezTo>
                  <a:close/>
                  <a:moveTo>
                    <a:pt x="759" y="46"/>
                  </a:moveTo>
                  <a:cubicBezTo>
                    <a:pt x="759" y="42"/>
                    <a:pt x="758" y="40"/>
                    <a:pt x="756" y="37"/>
                  </a:cubicBezTo>
                  <a:cubicBezTo>
                    <a:pt x="753" y="35"/>
                    <a:pt x="750" y="34"/>
                    <a:pt x="747" y="34"/>
                  </a:cubicBezTo>
                  <a:cubicBezTo>
                    <a:pt x="745" y="34"/>
                    <a:pt x="743" y="34"/>
                    <a:pt x="741" y="35"/>
                  </a:cubicBezTo>
                  <a:cubicBezTo>
                    <a:pt x="740" y="36"/>
                    <a:pt x="739" y="37"/>
                    <a:pt x="738" y="38"/>
                  </a:cubicBezTo>
                  <a:cubicBezTo>
                    <a:pt x="737" y="39"/>
                    <a:pt x="736" y="40"/>
                    <a:pt x="735" y="42"/>
                  </a:cubicBezTo>
                  <a:cubicBezTo>
                    <a:pt x="735" y="43"/>
                    <a:pt x="735" y="45"/>
                    <a:pt x="735" y="47"/>
                  </a:cubicBezTo>
                  <a:cubicBezTo>
                    <a:pt x="735" y="50"/>
                    <a:pt x="736" y="53"/>
                    <a:pt x="738" y="55"/>
                  </a:cubicBezTo>
                  <a:cubicBezTo>
                    <a:pt x="740" y="58"/>
                    <a:pt x="743" y="59"/>
                    <a:pt x="747" y="59"/>
                  </a:cubicBezTo>
                  <a:cubicBezTo>
                    <a:pt x="749" y="59"/>
                    <a:pt x="751" y="58"/>
                    <a:pt x="752" y="58"/>
                  </a:cubicBezTo>
                  <a:cubicBezTo>
                    <a:pt x="754" y="57"/>
                    <a:pt x="755" y="56"/>
                    <a:pt x="756" y="55"/>
                  </a:cubicBezTo>
                  <a:cubicBezTo>
                    <a:pt x="757" y="54"/>
                    <a:pt x="757" y="53"/>
                    <a:pt x="758" y="51"/>
                  </a:cubicBezTo>
                  <a:cubicBezTo>
                    <a:pt x="758" y="50"/>
                    <a:pt x="759" y="48"/>
                    <a:pt x="759" y="46"/>
                  </a:cubicBezTo>
                  <a:close/>
                  <a:moveTo>
                    <a:pt x="764" y="91"/>
                  </a:moveTo>
                  <a:cubicBezTo>
                    <a:pt x="764" y="88"/>
                    <a:pt x="763" y="87"/>
                    <a:pt x="761" y="85"/>
                  </a:cubicBezTo>
                  <a:cubicBezTo>
                    <a:pt x="759" y="84"/>
                    <a:pt x="756" y="83"/>
                    <a:pt x="753" y="83"/>
                  </a:cubicBezTo>
                  <a:lnTo>
                    <a:pt x="738" y="83"/>
                  </a:lnTo>
                  <a:cubicBezTo>
                    <a:pt x="737" y="84"/>
                    <a:pt x="736" y="85"/>
                    <a:pt x="735" y="86"/>
                  </a:cubicBezTo>
                  <a:cubicBezTo>
                    <a:pt x="734" y="87"/>
                    <a:pt x="733" y="88"/>
                    <a:pt x="733" y="88"/>
                  </a:cubicBezTo>
                  <a:cubicBezTo>
                    <a:pt x="732" y="89"/>
                    <a:pt x="732" y="90"/>
                    <a:pt x="732" y="91"/>
                  </a:cubicBezTo>
                  <a:cubicBezTo>
                    <a:pt x="732" y="92"/>
                    <a:pt x="732" y="93"/>
                    <a:pt x="732" y="93"/>
                  </a:cubicBezTo>
                  <a:cubicBezTo>
                    <a:pt x="732" y="96"/>
                    <a:pt x="733" y="98"/>
                    <a:pt x="736" y="100"/>
                  </a:cubicBezTo>
                  <a:cubicBezTo>
                    <a:pt x="739" y="101"/>
                    <a:pt x="742" y="102"/>
                    <a:pt x="747" y="102"/>
                  </a:cubicBezTo>
                  <a:cubicBezTo>
                    <a:pt x="750" y="102"/>
                    <a:pt x="753" y="101"/>
                    <a:pt x="755" y="101"/>
                  </a:cubicBezTo>
                  <a:cubicBezTo>
                    <a:pt x="757" y="100"/>
                    <a:pt x="759" y="99"/>
                    <a:pt x="760" y="98"/>
                  </a:cubicBezTo>
                  <a:cubicBezTo>
                    <a:pt x="762" y="97"/>
                    <a:pt x="762" y="96"/>
                    <a:pt x="763" y="95"/>
                  </a:cubicBezTo>
                  <a:cubicBezTo>
                    <a:pt x="764" y="94"/>
                    <a:pt x="764" y="92"/>
                    <a:pt x="764" y="91"/>
                  </a:cubicBezTo>
                  <a:close/>
                  <a:moveTo>
                    <a:pt x="824" y="55"/>
                  </a:moveTo>
                  <a:cubicBezTo>
                    <a:pt x="824" y="56"/>
                    <a:pt x="823" y="57"/>
                    <a:pt x="823" y="58"/>
                  </a:cubicBezTo>
                  <a:cubicBezTo>
                    <a:pt x="822" y="59"/>
                    <a:pt x="821" y="59"/>
                    <a:pt x="820" y="59"/>
                  </a:cubicBezTo>
                  <a:lnTo>
                    <a:pt x="783" y="59"/>
                  </a:lnTo>
                  <a:cubicBezTo>
                    <a:pt x="783" y="62"/>
                    <a:pt x="783" y="65"/>
                    <a:pt x="784" y="68"/>
                  </a:cubicBezTo>
                  <a:cubicBezTo>
                    <a:pt x="784" y="70"/>
                    <a:pt x="785" y="72"/>
                    <a:pt x="787" y="74"/>
                  </a:cubicBezTo>
                  <a:cubicBezTo>
                    <a:pt x="788" y="76"/>
                    <a:pt x="790" y="77"/>
                    <a:pt x="793" y="78"/>
                  </a:cubicBezTo>
                  <a:cubicBezTo>
                    <a:pt x="795" y="79"/>
                    <a:pt x="798" y="80"/>
                    <a:pt x="801" y="80"/>
                  </a:cubicBezTo>
                  <a:cubicBezTo>
                    <a:pt x="804" y="80"/>
                    <a:pt x="806" y="79"/>
                    <a:pt x="808" y="79"/>
                  </a:cubicBezTo>
                  <a:cubicBezTo>
                    <a:pt x="810" y="78"/>
                    <a:pt x="812" y="78"/>
                    <a:pt x="814" y="77"/>
                  </a:cubicBezTo>
                  <a:cubicBezTo>
                    <a:pt x="815" y="77"/>
                    <a:pt x="817" y="76"/>
                    <a:pt x="818" y="76"/>
                  </a:cubicBezTo>
                  <a:cubicBezTo>
                    <a:pt x="818" y="76"/>
                    <a:pt x="819" y="75"/>
                    <a:pt x="820" y="75"/>
                  </a:cubicBezTo>
                  <a:cubicBezTo>
                    <a:pt x="820" y="75"/>
                    <a:pt x="820" y="75"/>
                    <a:pt x="821" y="76"/>
                  </a:cubicBezTo>
                  <a:cubicBezTo>
                    <a:pt x="821" y="76"/>
                    <a:pt x="821" y="76"/>
                    <a:pt x="821" y="76"/>
                  </a:cubicBezTo>
                  <a:cubicBezTo>
                    <a:pt x="821" y="76"/>
                    <a:pt x="821" y="77"/>
                    <a:pt x="821" y="77"/>
                  </a:cubicBezTo>
                  <a:cubicBezTo>
                    <a:pt x="821" y="78"/>
                    <a:pt x="821" y="79"/>
                    <a:pt x="821" y="79"/>
                  </a:cubicBezTo>
                  <a:cubicBezTo>
                    <a:pt x="821" y="80"/>
                    <a:pt x="821" y="80"/>
                    <a:pt x="821" y="81"/>
                  </a:cubicBezTo>
                  <a:cubicBezTo>
                    <a:pt x="821" y="81"/>
                    <a:pt x="821" y="81"/>
                    <a:pt x="821" y="82"/>
                  </a:cubicBezTo>
                  <a:cubicBezTo>
                    <a:pt x="821" y="82"/>
                    <a:pt x="821" y="82"/>
                    <a:pt x="821" y="83"/>
                  </a:cubicBezTo>
                  <a:cubicBezTo>
                    <a:pt x="821" y="83"/>
                    <a:pt x="821" y="83"/>
                    <a:pt x="820" y="83"/>
                  </a:cubicBezTo>
                  <a:cubicBezTo>
                    <a:pt x="820" y="84"/>
                    <a:pt x="819" y="84"/>
                    <a:pt x="818" y="84"/>
                  </a:cubicBezTo>
                  <a:cubicBezTo>
                    <a:pt x="817" y="85"/>
                    <a:pt x="816" y="86"/>
                    <a:pt x="814" y="86"/>
                  </a:cubicBezTo>
                  <a:cubicBezTo>
                    <a:pt x="812" y="87"/>
                    <a:pt x="810" y="87"/>
                    <a:pt x="808" y="87"/>
                  </a:cubicBezTo>
                  <a:cubicBezTo>
                    <a:pt x="805" y="88"/>
                    <a:pt x="803" y="88"/>
                    <a:pt x="800" y="88"/>
                  </a:cubicBezTo>
                  <a:cubicBezTo>
                    <a:pt x="796" y="88"/>
                    <a:pt x="792" y="87"/>
                    <a:pt x="788" y="86"/>
                  </a:cubicBezTo>
                  <a:cubicBezTo>
                    <a:pt x="785" y="85"/>
                    <a:pt x="782" y="83"/>
                    <a:pt x="779" y="80"/>
                  </a:cubicBezTo>
                  <a:cubicBezTo>
                    <a:pt x="777" y="78"/>
                    <a:pt x="775" y="75"/>
                    <a:pt x="774" y="71"/>
                  </a:cubicBezTo>
                  <a:cubicBezTo>
                    <a:pt x="773" y="67"/>
                    <a:pt x="772" y="62"/>
                    <a:pt x="772" y="57"/>
                  </a:cubicBezTo>
                  <a:cubicBezTo>
                    <a:pt x="772" y="52"/>
                    <a:pt x="773" y="48"/>
                    <a:pt x="774" y="44"/>
                  </a:cubicBezTo>
                  <a:cubicBezTo>
                    <a:pt x="775" y="40"/>
                    <a:pt x="777" y="37"/>
                    <a:pt x="779" y="34"/>
                  </a:cubicBezTo>
                  <a:cubicBezTo>
                    <a:pt x="782" y="32"/>
                    <a:pt x="785" y="30"/>
                    <a:pt x="788" y="28"/>
                  </a:cubicBezTo>
                  <a:cubicBezTo>
                    <a:pt x="791" y="27"/>
                    <a:pt x="795" y="26"/>
                    <a:pt x="799" y="26"/>
                  </a:cubicBezTo>
                  <a:cubicBezTo>
                    <a:pt x="803" y="26"/>
                    <a:pt x="807" y="27"/>
                    <a:pt x="810" y="28"/>
                  </a:cubicBezTo>
                  <a:cubicBezTo>
                    <a:pt x="813" y="30"/>
                    <a:pt x="816" y="32"/>
                    <a:pt x="818" y="34"/>
                  </a:cubicBezTo>
                  <a:cubicBezTo>
                    <a:pt x="820" y="36"/>
                    <a:pt x="821" y="39"/>
                    <a:pt x="822" y="42"/>
                  </a:cubicBezTo>
                  <a:cubicBezTo>
                    <a:pt x="823" y="46"/>
                    <a:pt x="824" y="49"/>
                    <a:pt x="824" y="53"/>
                  </a:cubicBezTo>
                  <a:lnTo>
                    <a:pt x="824" y="55"/>
                  </a:lnTo>
                  <a:close/>
                  <a:moveTo>
                    <a:pt x="813" y="52"/>
                  </a:moveTo>
                  <a:cubicBezTo>
                    <a:pt x="814" y="46"/>
                    <a:pt x="812" y="42"/>
                    <a:pt x="810" y="39"/>
                  </a:cubicBezTo>
                  <a:cubicBezTo>
                    <a:pt x="807" y="36"/>
                    <a:pt x="804" y="34"/>
                    <a:pt x="799" y="34"/>
                  </a:cubicBezTo>
                  <a:cubicBezTo>
                    <a:pt x="796" y="34"/>
                    <a:pt x="794" y="35"/>
                    <a:pt x="792" y="36"/>
                  </a:cubicBezTo>
                  <a:cubicBezTo>
                    <a:pt x="790" y="37"/>
                    <a:pt x="788" y="38"/>
                    <a:pt x="787" y="39"/>
                  </a:cubicBezTo>
                  <a:cubicBezTo>
                    <a:pt x="786" y="41"/>
                    <a:pt x="785" y="43"/>
                    <a:pt x="784" y="45"/>
                  </a:cubicBezTo>
                  <a:cubicBezTo>
                    <a:pt x="783" y="47"/>
                    <a:pt x="783" y="49"/>
                    <a:pt x="783" y="52"/>
                  </a:cubicBezTo>
                  <a:lnTo>
                    <a:pt x="813" y="52"/>
                  </a:lnTo>
                  <a:close/>
                  <a:moveTo>
                    <a:pt x="888" y="85"/>
                  </a:moveTo>
                  <a:cubicBezTo>
                    <a:pt x="888" y="86"/>
                    <a:pt x="888" y="86"/>
                    <a:pt x="888" y="86"/>
                  </a:cubicBezTo>
                  <a:cubicBezTo>
                    <a:pt x="888" y="86"/>
                    <a:pt x="887" y="87"/>
                    <a:pt x="887" y="87"/>
                  </a:cubicBezTo>
                  <a:cubicBezTo>
                    <a:pt x="887" y="87"/>
                    <a:pt x="886" y="87"/>
                    <a:pt x="886" y="87"/>
                  </a:cubicBezTo>
                  <a:cubicBezTo>
                    <a:pt x="885" y="87"/>
                    <a:pt x="884" y="87"/>
                    <a:pt x="883" y="87"/>
                  </a:cubicBezTo>
                  <a:cubicBezTo>
                    <a:pt x="883" y="87"/>
                    <a:pt x="882" y="87"/>
                    <a:pt x="881" y="87"/>
                  </a:cubicBezTo>
                  <a:cubicBezTo>
                    <a:pt x="881" y="87"/>
                    <a:pt x="880" y="87"/>
                    <a:pt x="880" y="87"/>
                  </a:cubicBezTo>
                  <a:cubicBezTo>
                    <a:pt x="879" y="87"/>
                    <a:pt x="879" y="86"/>
                    <a:pt x="879" y="86"/>
                  </a:cubicBezTo>
                  <a:cubicBezTo>
                    <a:pt x="879" y="86"/>
                    <a:pt x="879" y="86"/>
                    <a:pt x="879" y="85"/>
                  </a:cubicBezTo>
                  <a:lnTo>
                    <a:pt x="879" y="78"/>
                  </a:lnTo>
                  <a:cubicBezTo>
                    <a:pt x="876" y="81"/>
                    <a:pt x="873" y="83"/>
                    <a:pt x="870" y="85"/>
                  </a:cubicBezTo>
                  <a:cubicBezTo>
                    <a:pt x="866" y="87"/>
                    <a:pt x="863" y="88"/>
                    <a:pt x="859" y="88"/>
                  </a:cubicBezTo>
                  <a:cubicBezTo>
                    <a:pt x="855" y="88"/>
                    <a:pt x="851" y="87"/>
                    <a:pt x="849" y="86"/>
                  </a:cubicBezTo>
                  <a:cubicBezTo>
                    <a:pt x="846" y="84"/>
                    <a:pt x="843" y="82"/>
                    <a:pt x="841" y="79"/>
                  </a:cubicBezTo>
                  <a:cubicBezTo>
                    <a:pt x="840" y="76"/>
                    <a:pt x="838" y="73"/>
                    <a:pt x="837" y="69"/>
                  </a:cubicBezTo>
                  <a:cubicBezTo>
                    <a:pt x="837" y="66"/>
                    <a:pt x="836" y="62"/>
                    <a:pt x="836" y="58"/>
                  </a:cubicBezTo>
                  <a:cubicBezTo>
                    <a:pt x="836" y="53"/>
                    <a:pt x="837" y="49"/>
                    <a:pt x="838" y="45"/>
                  </a:cubicBezTo>
                  <a:cubicBezTo>
                    <a:pt x="839" y="41"/>
                    <a:pt x="840" y="37"/>
                    <a:pt x="842" y="35"/>
                  </a:cubicBezTo>
                  <a:cubicBezTo>
                    <a:pt x="844" y="32"/>
                    <a:pt x="847" y="30"/>
                    <a:pt x="850" y="28"/>
                  </a:cubicBezTo>
                  <a:cubicBezTo>
                    <a:pt x="853" y="27"/>
                    <a:pt x="857" y="26"/>
                    <a:pt x="860" y="26"/>
                  </a:cubicBezTo>
                  <a:cubicBezTo>
                    <a:pt x="864" y="26"/>
                    <a:pt x="867" y="27"/>
                    <a:pt x="870" y="28"/>
                  </a:cubicBezTo>
                  <a:cubicBezTo>
                    <a:pt x="872" y="30"/>
                    <a:pt x="875" y="32"/>
                    <a:pt x="878" y="35"/>
                  </a:cubicBezTo>
                  <a:lnTo>
                    <a:pt x="878" y="2"/>
                  </a:lnTo>
                  <a:cubicBezTo>
                    <a:pt x="878" y="2"/>
                    <a:pt x="878" y="1"/>
                    <a:pt x="878" y="1"/>
                  </a:cubicBezTo>
                  <a:cubicBezTo>
                    <a:pt x="878" y="1"/>
                    <a:pt x="878" y="1"/>
                    <a:pt x="879" y="0"/>
                  </a:cubicBezTo>
                  <a:cubicBezTo>
                    <a:pt x="879" y="0"/>
                    <a:pt x="880" y="0"/>
                    <a:pt x="880" y="0"/>
                  </a:cubicBezTo>
                  <a:cubicBezTo>
                    <a:pt x="881" y="0"/>
                    <a:pt x="882" y="0"/>
                    <a:pt x="883" y="0"/>
                  </a:cubicBezTo>
                  <a:cubicBezTo>
                    <a:pt x="884" y="0"/>
                    <a:pt x="885" y="0"/>
                    <a:pt x="885" y="0"/>
                  </a:cubicBezTo>
                  <a:cubicBezTo>
                    <a:pt x="886" y="0"/>
                    <a:pt x="886" y="0"/>
                    <a:pt x="887" y="0"/>
                  </a:cubicBezTo>
                  <a:cubicBezTo>
                    <a:pt x="887" y="1"/>
                    <a:pt x="888" y="1"/>
                    <a:pt x="888" y="1"/>
                  </a:cubicBezTo>
                  <a:cubicBezTo>
                    <a:pt x="888" y="1"/>
                    <a:pt x="888" y="2"/>
                    <a:pt x="888" y="2"/>
                  </a:cubicBezTo>
                  <a:lnTo>
                    <a:pt x="888" y="85"/>
                  </a:lnTo>
                  <a:close/>
                  <a:moveTo>
                    <a:pt x="878" y="46"/>
                  </a:moveTo>
                  <a:cubicBezTo>
                    <a:pt x="875" y="42"/>
                    <a:pt x="872" y="40"/>
                    <a:pt x="870" y="38"/>
                  </a:cubicBezTo>
                  <a:cubicBezTo>
                    <a:pt x="867" y="36"/>
                    <a:pt x="864" y="35"/>
                    <a:pt x="861" y="35"/>
                  </a:cubicBezTo>
                  <a:cubicBezTo>
                    <a:pt x="859" y="35"/>
                    <a:pt x="857" y="36"/>
                    <a:pt x="855" y="37"/>
                  </a:cubicBezTo>
                  <a:cubicBezTo>
                    <a:pt x="853" y="38"/>
                    <a:pt x="851" y="40"/>
                    <a:pt x="850" y="42"/>
                  </a:cubicBezTo>
                  <a:cubicBezTo>
                    <a:pt x="849" y="44"/>
                    <a:pt x="848" y="46"/>
                    <a:pt x="848" y="49"/>
                  </a:cubicBezTo>
                  <a:cubicBezTo>
                    <a:pt x="847" y="51"/>
                    <a:pt x="847" y="54"/>
                    <a:pt x="847" y="57"/>
                  </a:cubicBezTo>
                  <a:cubicBezTo>
                    <a:pt x="847" y="59"/>
                    <a:pt x="847" y="62"/>
                    <a:pt x="848" y="65"/>
                  </a:cubicBezTo>
                  <a:cubicBezTo>
                    <a:pt x="848" y="68"/>
                    <a:pt x="849" y="70"/>
                    <a:pt x="850" y="72"/>
                  </a:cubicBezTo>
                  <a:cubicBezTo>
                    <a:pt x="851" y="74"/>
                    <a:pt x="852" y="76"/>
                    <a:pt x="854" y="77"/>
                  </a:cubicBezTo>
                  <a:cubicBezTo>
                    <a:pt x="856" y="79"/>
                    <a:pt x="858" y="79"/>
                    <a:pt x="861" y="79"/>
                  </a:cubicBezTo>
                  <a:cubicBezTo>
                    <a:pt x="862" y="79"/>
                    <a:pt x="864" y="79"/>
                    <a:pt x="865" y="79"/>
                  </a:cubicBezTo>
                  <a:cubicBezTo>
                    <a:pt x="866" y="78"/>
                    <a:pt x="867" y="78"/>
                    <a:pt x="869" y="77"/>
                  </a:cubicBezTo>
                  <a:cubicBezTo>
                    <a:pt x="870" y="76"/>
                    <a:pt x="872" y="75"/>
                    <a:pt x="873" y="73"/>
                  </a:cubicBezTo>
                  <a:cubicBezTo>
                    <a:pt x="874" y="72"/>
                    <a:pt x="876" y="70"/>
                    <a:pt x="878" y="68"/>
                  </a:cubicBezTo>
                  <a:lnTo>
                    <a:pt x="878" y="46"/>
                  </a:ln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04496EC9-20C2-4EB2-99CA-3333D062F312}"/>
                </a:ext>
              </a:extLst>
            </p:cNvPr>
            <p:cNvSpPr>
              <a:spLocks noEditPoints="1"/>
            </p:cNvSpPr>
            <p:nvPr/>
          </p:nvSpPr>
          <p:spPr bwMode="auto">
            <a:xfrm>
              <a:off x="5394" y="2805"/>
              <a:ext cx="127" cy="37"/>
            </a:xfrm>
            <a:custGeom>
              <a:avLst/>
              <a:gdLst>
                <a:gd name="T0" fmla="*/ 43 w 284"/>
                <a:gd name="T1" fmla="*/ 81 h 83"/>
                <a:gd name="T2" fmla="*/ 0 w 284"/>
                <a:gd name="T3" fmla="*/ 77 h 83"/>
                <a:gd name="T4" fmla="*/ 42 w 284"/>
                <a:gd name="T5" fmla="*/ 0 h 83"/>
                <a:gd name="T6" fmla="*/ 44 w 284"/>
                <a:gd name="T7" fmla="*/ 5 h 83"/>
                <a:gd name="T8" fmla="*/ 42 w 284"/>
                <a:gd name="T9" fmla="*/ 9 h 83"/>
                <a:gd name="T10" fmla="*/ 38 w 284"/>
                <a:gd name="T11" fmla="*/ 35 h 83"/>
                <a:gd name="T12" fmla="*/ 39 w 284"/>
                <a:gd name="T13" fmla="*/ 41 h 83"/>
                <a:gd name="T14" fmla="*/ 10 w 284"/>
                <a:gd name="T15" fmla="*/ 43 h 83"/>
                <a:gd name="T16" fmla="*/ 44 w 284"/>
                <a:gd name="T17" fmla="*/ 73 h 83"/>
                <a:gd name="T18" fmla="*/ 108 w 284"/>
                <a:gd name="T19" fmla="*/ 24 h 83"/>
                <a:gd name="T20" fmla="*/ 89 w 284"/>
                <a:gd name="T21" fmla="*/ 79 h 83"/>
                <a:gd name="T22" fmla="*/ 82 w 284"/>
                <a:gd name="T23" fmla="*/ 82 h 83"/>
                <a:gd name="T24" fmla="*/ 75 w 284"/>
                <a:gd name="T25" fmla="*/ 79 h 83"/>
                <a:gd name="T26" fmla="*/ 55 w 284"/>
                <a:gd name="T27" fmla="*/ 23 h 83"/>
                <a:gd name="T28" fmla="*/ 60 w 284"/>
                <a:gd name="T29" fmla="*/ 22 h 83"/>
                <a:gd name="T30" fmla="*/ 66 w 284"/>
                <a:gd name="T31" fmla="*/ 24 h 83"/>
                <a:gd name="T32" fmla="*/ 98 w 284"/>
                <a:gd name="T33" fmla="*/ 24 h 83"/>
                <a:gd name="T34" fmla="*/ 104 w 284"/>
                <a:gd name="T35" fmla="*/ 22 h 83"/>
                <a:gd name="T36" fmla="*/ 109 w 284"/>
                <a:gd name="T37" fmla="*/ 23 h 83"/>
                <a:gd name="T38" fmla="*/ 133 w 284"/>
                <a:gd name="T39" fmla="*/ 54 h 83"/>
                <a:gd name="T40" fmla="*/ 152 w 284"/>
                <a:gd name="T41" fmla="*/ 74 h 83"/>
                <a:gd name="T42" fmla="*/ 170 w 284"/>
                <a:gd name="T43" fmla="*/ 70 h 83"/>
                <a:gd name="T44" fmla="*/ 172 w 284"/>
                <a:gd name="T45" fmla="*/ 74 h 83"/>
                <a:gd name="T46" fmla="*/ 171 w 284"/>
                <a:gd name="T47" fmla="*/ 78 h 83"/>
                <a:gd name="T48" fmla="*/ 151 w 284"/>
                <a:gd name="T49" fmla="*/ 83 h 83"/>
                <a:gd name="T50" fmla="*/ 123 w 284"/>
                <a:gd name="T51" fmla="*/ 52 h 83"/>
                <a:gd name="T52" fmla="*/ 150 w 284"/>
                <a:gd name="T53" fmla="*/ 21 h 83"/>
                <a:gd name="T54" fmla="*/ 174 w 284"/>
                <a:gd name="T55" fmla="*/ 47 h 83"/>
                <a:gd name="T56" fmla="*/ 149 w 284"/>
                <a:gd name="T57" fmla="*/ 29 h 83"/>
                <a:gd name="T58" fmla="*/ 133 w 284"/>
                <a:gd name="T59" fmla="*/ 46 h 83"/>
                <a:gd name="T60" fmla="*/ 238 w 284"/>
                <a:gd name="T61" fmla="*/ 81 h 83"/>
                <a:gd name="T62" fmla="*/ 230 w 284"/>
                <a:gd name="T63" fmla="*/ 81 h 83"/>
                <a:gd name="T64" fmla="*/ 228 w 284"/>
                <a:gd name="T65" fmla="*/ 39 h 83"/>
                <a:gd name="T66" fmla="*/ 209 w 284"/>
                <a:gd name="T67" fmla="*/ 32 h 83"/>
                <a:gd name="T68" fmla="*/ 200 w 284"/>
                <a:gd name="T69" fmla="*/ 81 h 83"/>
                <a:gd name="T70" fmla="*/ 191 w 284"/>
                <a:gd name="T71" fmla="*/ 81 h 83"/>
                <a:gd name="T72" fmla="*/ 191 w 284"/>
                <a:gd name="T73" fmla="*/ 23 h 83"/>
                <a:gd name="T74" fmla="*/ 197 w 284"/>
                <a:gd name="T75" fmla="*/ 22 h 83"/>
                <a:gd name="T76" fmla="*/ 200 w 284"/>
                <a:gd name="T77" fmla="*/ 31 h 83"/>
                <a:gd name="T78" fmla="*/ 234 w 284"/>
                <a:gd name="T79" fmla="*/ 28 h 83"/>
                <a:gd name="T80" fmla="*/ 284 w 284"/>
                <a:gd name="T81" fmla="*/ 76 h 83"/>
                <a:gd name="T82" fmla="*/ 279 w 284"/>
                <a:gd name="T83" fmla="*/ 82 h 83"/>
                <a:gd name="T84" fmla="*/ 261 w 284"/>
                <a:gd name="T85" fmla="*/ 78 h 83"/>
                <a:gd name="T86" fmla="*/ 249 w 284"/>
                <a:gd name="T87" fmla="*/ 30 h 83"/>
                <a:gd name="T88" fmla="*/ 247 w 284"/>
                <a:gd name="T89" fmla="*/ 23 h 83"/>
                <a:gd name="T90" fmla="*/ 257 w 284"/>
                <a:gd name="T91" fmla="*/ 9 h 83"/>
                <a:gd name="T92" fmla="*/ 262 w 284"/>
                <a:gd name="T93" fmla="*/ 7 h 83"/>
                <a:gd name="T94" fmla="*/ 267 w 284"/>
                <a:gd name="T95" fmla="*/ 9 h 83"/>
                <a:gd name="T96" fmla="*/ 283 w 284"/>
                <a:gd name="T97" fmla="*/ 23 h 83"/>
                <a:gd name="T98" fmla="*/ 282 w 284"/>
                <a:gd name="T99" fmla="*/ 30 h 83"/>
                <a:gd name="T100" fmla="*/ 275 w 284"/>
                <a:gd name="T101" fmla="*/ 74 h 83"/>
                <a:gd name="T102" fmla="*/ 282 w 284"/>
                <a:gd name="T103" fmla="*/ 72 h 83"/>
                <a:gd name="T104" fmla="*/ 284 w 284"/>
                <a:gd name="T105" fmla="*/ 7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83">
                  <a:moveTo>
                    <a:pt x="45" y="77"/>
                  </a:moveTo>
                  <a:cubicBezTo>
                    <a:pt x="45" y="78"/>
                    <a:pt x="45" y="78"/>
                    <a:pt x="44" y="79"/>
                  </a:cubicBezTo>
                  <a:cubicBezTo>
                    <a:pt x="44" y="79"/>
                    <a:pt x="44" y="80"/>
                    <a:pt x="44" y="80"/>
                  </a:cubicBezTo>
                  <a:cubicBezTo>
                    <a:pt x="44" y="81"/>
                    <a:pt x="44" y="81"/>
                    <a:pt x="43" y="81"/>
                  </a:cubicBezTo>
                  <a:cubicBezTo>
                    <a:pt x="43" y="81"/>
                    <a:pt x="43" y="81"/>
                    <a:pt x="42" y="81"/>
                  </a:cubicBezTo>
                  <a:lnTo>
                    <a:pt x="4" y="81"/>
                  </a:lnTo>
                  <a:cubicBezTo>
                    <a:pt x="3" y="81"/>
                    <a:pt x="2" y="81"/>
                    <a:pt x="1" y="80"/>
                  </a:cubicBezTo>
                  <a:cubicBezTo>
                    <a:pt x="0" y="80"/>
                    <a:pt x="0" y="79"/>
                    <a:pt x="0" y="77"/>
                  </a:cubicBezTo>
                  <a:lnTo>
                    <a:pt x="0" y="5"/>
                  </a:lnTo>
                  <a:cubicBezTo>
                    <a:pt x="0" y="3"/>
                    <a:pt x="0" y="2"/>
                    <a:pt x="1" y="1"/>
                  </a:cubicBezTo>
                  <a:cubicBezTo>
                    <a:pt x="2" y="1"/>
                    <a:pt x="3" y="0"/>
                    <a:pt x="4" y="0"/>
                  </a:cubicBezTo>
                  <a:lnTo>
                    <a:pt x="42" y="0"/>
                  </a:lnTo>
                  <a:cubicBezTo>
                    <a:pt x="42" y="0"/>
                    <a:pt x="43" y="1"/>
                    <a:pt x="43" y="1"/>
                  </a:cubicBezTo>
                  <a:cubicBezTo>
                    <a:pt x="43" y="1"/>
                    <a:pt x="43" y="1"/>
                    <a:pt x="44" y="2"/>
                  </a:cubicBezTo>
                  <a:cubicBezTo>
                    <a:pt x="44" y="2"/>
                    <a:pt x="44" y="2"/>
                    <a:pt x="44" y="3"/>
                  </a:cubicBezTo>
                  <a:cubicBezTo>
                    <a:pt x="44" y="4"/>
                    <a:pt x="44" y="4"/>
                    <a:pt x="44" y="5"/>
                  </a:cubicBezTo>
                  <a:cubicBezTo>
                    <a:pt x="44" y="6"/>
                    <a:pt x="44" y="6"/>
                    <a:pt x="44" y="7"/>
                  </a:cubicBezTo>
                  <a:cubicBezTo>
                    <a:pt x="44" y="8"/>
                    <a:pt x="44" y="8"/>
                    <a:pt x="44" y="8"/>
                  </a:cubicBezTo>
                  <a:cubicBezTo>
                    <a:pt x="43" y="9"/>
                    <a:pt x="43" y="9"/>
                    <a:pt x="43" y="9"/>
                  </a:cubicBezTo>
                  <a:cubicBezTo>
                    <a:pt x="43" y="9"/>
                    <a:pt x="42" y="9"/>
                    <a:pt x="42" y="9"/>
                  </a:cubicBezTo>
                  <a:lnTo>
                    <a:pt x="10" y="9"/>
                  </a:lnTo>
                  <a:lnTo>
                    <a:pt x="10" y="35"/>
                  </a:lnTo>
                  <a:lnTo>
                    <a:pt x="37" y="35"/>
                  </a:lnTo>
                  <a:cubicBezTo>
                    <a:pt x="38" y="35"/>
                    <a:pt x="38" y="35"/>
                    <a:pt x="38" y="35"/>
                  </a:cubicBezTo>
                  <a:cubicBezTo>
                    <a:pt x="39" y="35"/>
                    <a:pt x="39" y="36"/>
                    <a:pt x="39" y="36"/>
                  </a:cubicBezTo>
                  <a:cubicBezTo>
                    <a:pt x="39" y="36"/>
                    <a:pt x="39" y="37"/>
                    <a:pt x="39" y="37"/>
                  </a:cubicBezTo>
                  <a:cubicBezTo>
                    <a:pt x="40" y="38"/>
                    <a:pt x="40" y="39"/>
                    <a:pt x="40" y="39"/>
                  </a:cubicBezTo>
                  <a:cubicBezTo>
                    <a:pt x="40" y="40"/>
                    <a:pt x="40" y="41"/>
                    <a:pt x="39" y="41"/>
                  </a:cubicBezTo>
                  <a:cubicBezTo>
                    <a:pt x="39" y="42"/>
                    <a:pt x="39" y="42"/>
                    <a:pt x="39" y="43"/>
                  </a:cubicBezTo>
                  <a:cubicBezTo>
                    <a:pt x="39" y="43"/>
                    <a:pt x="39" y="43"/>
                    <a:pt x="38" y="43"/>
                  </a:cubicBezTo>
                  <a:cubicBezTo>
                    <a:pt x="38" y="43"/>
                    <a:pt x="38" y="43"/>
                    <a:pt x="37" y="43"/>
                  </a:cubicBezTo>
                  <a:lnTo>
                    <a:pt x="10" y="43"/>
                  </a:lnTo>
                  <a:lnTo>
                    <a:pt x="10" y="72"/>
                  </a:lnTo>
                  <a:lnTo>
                    <a:pt x="42" y="72"/>
                  </a:lnTo>
                  <a:cubicBezTo>
                    <a:pt x="43" y="72"/>
                    <a:pt x="43" y="73"/>
                    <a:pt x="43" y="73"/>
                  </a:cubicBezTo>
                  <a:cubicBezTo>
                    <a:pt x="44" y="73"/>
                    <a:pt x="44" y="73"/>
                    <a:pt x="44" y="73"/>
                  </a:cubicBezTo>
                  <a:cubicBezTo>
                    <a:pt x="44" y="74"/>
                    <a:pt x="44" y="74"/>
                    <a:pt x="44" y="75"/>
                  </a:cubicBezTo>
                  <a:cubicBezTo>
                    <a:pt x="45" y="75"/>
                    <a:pt x="45" y="76"/>
                    <a:pt x="45" y="77"/>
                  </a:cubicBezTo>
                  <a:close/>
                  <a:moveTo>
                    <a:pt x="109" y="23"/>
                  </a:moveTo>
                  <a:cubicBezTo>
                    <a:pt x="109" y="24"/>
                    <a:pt x="109" y="24"/>
                    <a:pt x="108" y="24"/>
                  </a:cubicBezTo>
                  <a:cubicBezTo>
                    <a:pt x="108" y="24"/>
                    <a:pt x="108" y="24"/>
                    <a:pt x="108" y="25"/>
                  </a:cubicBezTo>
                  <a:cubicBezTo>
                    <a:pt x="108" y="25"/>
                    <a:pt x="108" y="25"/>
                    <a:pt x="108" y="25"/>
                  </a:cubicBezTo>
                  <a:cubicBezTo>
                    <a:pt x="108" y="25"/>
                    <a:pt x="108" y="26"/>
                    <a:pt x="108" y="26"/>
                  </a:cubicBezTo>
                  <a:lnTo>
                    <a:pt x="89" y="79"/>
                  </a:lnTo>
                  <a:cubicBezTo>
                    <a:pt x="89" y="80"/>
                    <a:pt x="88" y="80"/>
                    <a:pt x="88" y="81"/>
                  </a:cubicBezTo>
                  <a:cubicBezTo>
                    <a:pt x="88" y="81"/>
                    <a:pt x="88" y="81"/>
                    <a:pt x="87" y="81"/>
                  </a:cubicBezTo>
                  <a:cubicBezTo>
                    <a:pt x="86" y="81"/>
                    <a:pt x="86" y="82"/>
                    <a:pt x="85" y="82"/>
                  </a:cubicBezTo>
                  <a:cubicBezTo>
                    <a:pt x="84" y="82"/>
                    <a:pt x="83" y="82"/>
                    <a:pt x="82" y="82"/>
                  </a:cubicBezTo>
                  <a:cubicBezTo>
                    <a:pt x="81" y="82"/>
                    <a:pt x="79" y="82"/>
                    <a:pt x="79" y="82"/>
                  </a:cubicBezTo>
                  <a:cubicBezTo>
                    <a:pt x="78" y="82"/>
                    <a:pt x="77" y="81"/>
                    <a:pt x="77" y="81"/>
                  </a:cubicBezTo>
                  <a:cubicBezTo>
                    <a:pt x="76" y="81"/>
                    <a:pt x="76" y="81"/>
                    <a:pt x="75" y="81"/>
                  </a:cubicBezTo>
                  <a:cubicBezTo>
                    <a:pt x="75" y="80"/>
                    <a:pt x="75" y="80"/>
                    <a:pt x="75" y="79"/>
                  </a:cubicBezTo>
                  <a:lnTo>
                    <a:pt x="56" y="26"/>
                  </a:lnTo>
                  <a:cubicBezTo>
                    <a:pt x="55" y="26"/>
                    <a:pt x="55" y="25"/>
                    <a:pt x="55" y="25"/>
                  </a:cubicBezTo>
                  <a:cubicBezTo>
                    <a:pt x="55" y="24"/>
                    <a:pt x="55" y="24"/>
                    <a:pt x="55" y="24"/>
                  </a:cubicBezTo>
                  <a:cubicBezTo>
                    <a:pt x="55" y="24"/>
                    <a:pt x="55" y="24"/>
                    <a:pt x="55" y="23"/>
                  </a:cubicBezTo>
                  <a:cubicBezTo>
                    <a:pt x="55" y="23"/>
                    <a:pt x="55" y="23"/>
                    <a:pt x="55" y="23"/>
                  </a:cubicBezTo>
                  <a:cubicBezTo>
                    <a:pt x="55" y="22"/>
                    <a:pt x="56" y="22"/>
                    <a:pt x="56" y="22"/>
                  </a:cubicBezTo>
                  <a:cubicBezTo>
                    <a:pt x="56" y="22"/>
                    <a:pt x="57" y="22"/>
                    <a:pt x="58" y="22"/>
                  </a:cubicBezTo>
                  <a:cubicBezTo>
                    <a:pt x="58" y="22"/>
                    <a:pt x="59" y="22"/>
                    <a:pt x="60" y="22"/>
                  </a:cubicBezTo>
                  <a:cubicBezTo>
                    <a:pt x="61" y="22"/>
                    <a:pt x="62" y="22"/>
                    <a:pt x="63" y="22"/>
                  </a:cubicBezTo>
                  <a:cubicBezTo>
                    <a:pt x="64" y="22"/>
                    <a:pt x="64" y="22"/>
                    <a:pt x="65" y="22"/>
                  </a:cubicBezTo>
                  <a:cubicBezTo>
                    <a:pt x="65" y="22"/>
                    <a:pt x="65" y="22"/>
                    <a:pt x="65" y="23"/>
                  </a:cubicBezTo>
                  <a:cubicBezTo>
                    <a:pt x="66" y="23"/>
                    <a:pt x="66" y="23"/>
                    <a:pt x="66" y="24"/>
                  </a:cubicBezTo>
                  <a:lnTo>
                    <a:pt x="82" y="70"/>
                  </a:lnTo>
                  <a:lnTo>
                    <a:pt x="82" y="71"/>
                  </a:lnTo>
                  <a:lnTo>
                    <a:pt x="82" y="70"/>
                  </a:lnTo>
                  <a:lnTo>
                    <a:pt x="98" y="24"/>
                  </a:lnTo>
                  <a:cubicBezTo>
                    <a:pt x="98" y="23"/>
                    <a:pt x="98" y="23"/>
                    <a:pt x="98" y="23"/>
                  </a:cubicBezTo>
                  <a:cubicBezTo>
                    <a:pt x="99" y="22"/>
                    <a:pt x="99" y="22"/>
                    <a:pt x="99" y="22"/>
                  </a:cubicBezTo>
                  <a:cubicBezTo>
                    <a:pt x="100" y="22"/>
                    <a:pt x="100" y="22"/>
                    <a:pt x="101" y="22"/>
                  </a:cubicBezTo>
                  <a:cubicBezTo>
                    <a:pt x="102" y="22"/>
                    <a:pt x="103" y="22"/>
                    <a:pt x="104" y="22"/>
                  </a:cubicBezTo>
                  <a:cubicBezTo>
                    <a:pt x="105" y="22"/>
                    <a:pt x="105" y="22"/>
                    <a:pt x="106" y="22"/>
                  </a:cubicBezTo>
                  <a:cubicBezTo>
                    <a:pt x="107" y="22"/>
                    <a:pt x="107" y="22"/>
                    <a:pt x="108" y="22"/>
                  </a:cubicBezTo>
                  <a:cubicBezTo>
                    <a:pt x="108" y="22"/>
                    <a:pt x="108" y="22"/>
                    <a:pt x="108" y="23"/>
                  </a:cubicBezTo>
                  <a:cubicBezTo>
                    <a:pt x="108" y="23"/>
                    <a:pt x="109" y="23"/>
                    <a:pt x="109" y="23"/>
                  </a:cubicBezTo>
                  <a:close/>
                  <a:moveTo>
                    <a:pt x="174" y="49"/>
                  </a:moveTo>
                  <a:cubicBezTo>
                    <a:pt x="174" y="51"/>
                    <a:pt x="174" y="52"/>
                    <a:pt x="173" y="53"/>
                  </a:cubicBezTo>
                  <a:cubicBezTo>
                    <a:pt x="172" y="53"/>
                    <a:pt x="171" y="54"/>
                    <a:pt x="170" y="54"/>
                  </a:cubicBezTo>
                  <a:lnTo>
                    <a:pt x="133" y="54"/>
                  </a:lnTo>
                  <a:cubicBezTo>
                    <a:pt x="133" y="57"/>
                    <a:pt x="134" y="60"/>
                    <a:pt x="134" y="62"/>
                  </a:cubicBezTo>
                  <a:cubicBezTo>
                    <a:pt x="135" y="65"/>
                    <a:pt x="136" y="67"/>
                    <a:pt x="137" y="69"/>
                  </a:cubicBezTo>
                  <a:cubicBezTo>
                    <a:pt x="139" y="70"/>
                    <a:pt x="141" y="72"/>
                    <a:pt x="143" y="73"/>
                  </a:cubicBezTo>
                  <a:cubicBezTo>
                    <a:pt x="145" y="74"/>
                    <a:pt x="148" y="74"/>
                    <a:pt x="152" y="74"/>
                  </a:cubicBezTo>
                  <a:cubicBezTo>
                    <a:pt x="154" y="74"/>
                    <a:pt x="157" y="74"/>
                    <a:pt x="159" y="74"/>
                  </a:cubicBezTo>
                  <a:cubicBezTo>
                    <a:pt x="161" y="73"/>
                    <a:pt x="163" y="73"/>
                    <a:pt x="164" y="72"/>
                  </a:cubicBezTo>
                  <a:cubicBezTo>
                    <a:pt x="166" y="72"/>
                    <a:pt x="167" y="71"/>
                    <a:pt x="168" y="71"/>
                  </a:cubicBezTo>
                  <a:cubicBezTo>
                    <a:pt x="169" y="70"/>
                    <a:pt x="170" y="70"/>
                    <a:pt x="170" y="70"/>
                  </a:cubicBezTo>
                  <a:cubicBezTo>
                    <a:pt x="171" y="70"/>
                    <a:pt x="171" y="70"/>
                    <a:pt x="171" y="70"/>
                  </a:cubicBezTo>
                  <a:cubicBezTo>
                    <a:pt x="171" y="70"/>
                    <a:pt x="172" y="71"/>
                    <a:pt x="172" y="71"/>
                  </a:cubicBezTo>
                  <a:cubicBezTo>
                    <a:pt x="172" y="71"/>
                    <a:pt x="172" y="71"/>
                    <a:pt x="172" y="72"/>
                  </a:cubicBezTo>
                  <a:cubicBezTo>
                    <a:pt x="172" y="73"/>
                    <a:pt x="172" y="73"/>
                    <a:pt x="172" y="74"/>
                  </a:cubicBezTo>
                  <a:cubicBezTo>
                    <a:pt x="172" y="74"/>
                    <a:pt x="172" y="75"/>
                    <a:pt x="172" y="75"/>
                  </a:cubicBezTo>
                  <a:cubicBezTo>
                    <a:pt x="172" y="76"/>
                    <a:pt x="172" y="76"/>
                    <a:pt x="172" y="76"/>
                  </a:cubicBezTo>
                  <a:cubicBezTo>
                    <a:pt x="172" y="77"/>
                    <a:pt x="172" y="77"/>
                    <a:pt x="171" y="77"/>
                  </a:cubicBezTo>
                  <a:cubicBezTo>
                    <a:pt x="171" y="77"/>
                    <a:pt x="171" y="78"/>
                    <a:pt x="171" y="78"/>
                  </a:cubicBezTo>
                  <a:cubicBezTo>
                    <a:pt x="171" y="78"/>
                    <a:pt x="170" y="79"/>
                    <a:pt x="169" y="79"/>
                  </a:cubicBezTo>
                  <a:cubicBezTo>
                    <a:pt x="168" y="80"/>
                    <a:pt x="166" y="80"/>
                    <a:pt x="165" y="81"/>
                  </a:cubicBezTo>
                  <a:cubicBezTo>
                    <a:pt x="163" y="81"/>
                    <a:pt x="161" y="82"/>
                    <a:pt x="158" y="82"/>
                  </a:cubicBezTo>
                  <a:cubicBezTo>
                    <a:pt x="156" y="82"/>
                    <a:pt x="153" y="83"/>
                    <a:pt x="151" y="83"/>
                  </a:cubicBezTo>
                  <a:cubicBezTo>
                    <a:pt x="146" y="83"/>
                    <a:pt x="142" y="82"/>
                    <a:pt x="139" y="81"/>
                  </a:cubicBezTo>
                  <a:cubicBezTo>
                    <a:pt x="135" y="79"/>
                    <a:pt x="132" y="77"/>
                    <a:pt x="130" y="75"/>
                  </a:cubicBezTo>
                  <a:cubicBezTo>
                    <a:pt x="127" y="72"/>
                    <a:pt x="126" y="69"/>
                    <a:pt x="124" y="65"/>
                  </a:cubicBezTo>
                  <a:cubicBezTo>
                    <a:pt x="123" y="61"/>
                    <a:pt x="123" y="57"/>
                    <a:pt x="123" y="52"/>
                  </a:cubicBezTo>
                  <a:cubicBezTo>
                    <a:pt x="123" y="47"/>
                    <a:pt x="123" y="43"/>
                    <a:pt x="125" y="39"/>
                  </a:cubicBezTo>
                  <a:cubicBezTo>
                    <a:pt x="126" y="35"/>
                    <a:pt x="128" y="32"/>
                    <a:pt x="130" y="29"/>
                  </a:cubicBezTo>
                  <a:cubicBezTo>
                    <a:pt x="132" y="26"/>
                    <a:pt x="135" y="24"/>
                    <a:pt x="138" y="23"/>
                  </a:cubicBezTo>
                  <a:cubicBezTo>
                    <a:pt x="142" y="21"/>
                    <a:pt x="146" y="21"/>
                    <a:pt x="150" y="21"/>
                  </a:cubicBezTo>
                  <a:cubicBezTo>
                    <a:pt x="154" y="21"/>
                    <a:pt x="158" y="21"/>
                    <a:pt x="161" y="23"/>
                  </a:cubicBezTo>
                  <a:cubicBezTo>
                    <a:pt x="164" y="24"/>
                    <a:pt x="167" y="26"/>
                    <a:pt x="169" y="29"/>
                  </a:cubicBezTo>
                  <a:cubicBezTo>
                    <a:pt x="171" y="31"/>
                    <a:pt x="172" y="34"/>
                    <a:pt x="173" y="37"/>
                  </a:cubicBezTo>
                  <a:cubicBezTo>
                    <a:pt x="174" y="40"/>
                    <a:pt x="174" y="44"/>
                    <a:pt x="174" y="47"/>
                  </a:cubicBezTo>
                  <a:lnTo>
                    <a:pt x="174" y="49"/>
                  </a:lnTo>
                  <a:close/>
                  <a:moveTo>
                    <a:pt x="164" y="46"/>
                  </a:moveTo>
                  <a:cubicBezTo>
                    <a:pt x="164" y="41"/>
                    <a:pt x="163" y="37"/>
                    <a:pt x="160" y="33"/>
                  </a:cubicBezTo>
                  <a:cubicBezTo>
                    <a:pt x="158" y="30"/>
                    <a:pt x="154" y="29"/>
                    <a:pt x="149" y="29"/>
                  </a:cubicBezTo>
                  <a:cubicBezTo>
                    <a:pt x="147" y="29"/>
                    <a:pt x="144" y="29"/>
                    <a:pt x="142" y="30"/>
                  </a:cubicBezTo>
                  <a:cubicBezTo>
                    <a:pt x="140" y="31"/>
                    <a:pt x="139" y="32"/>
                    <a:pt x="138" y="34"/>
                  </a:cubicBezTo>
                  <a:cubicBezTo>
                    <a:pt x="136" y="36"/>
                    <a:pt x="135" y="37"/>
                    <a:pt x="135" y="40"/>
                  </a:cubicBezTo>
                  <a:cubicBezTo>
                    <a:pt x="134" y="42"/>
                    <a:pt x="133" y="44"/>
                    <a:pt x="133" y="46"/>
                  </a:cubicBezTo>
                  <a:lnTo>
                    <a:pt x="164" y="46"/>
                  </a:lnTo>
                  <a:close/>
                  <a:moveTo>
                    <a:pt x="239" y="80"/>
                  </a:moveTo>
                  <a:cubicBezTo>
                    <a:pt x="239" y="80"/>
                    <a:pt x="239" y="80"/>
                    <a:pt x="239" y="81"/>
                  </a:cubicBezTo>
                  <a:cubicBezTo>
                    <a:pt x="238" y="81"/>
                    <a:pt x="238" y="81"/>
                    <a:pt x="238" y="81"/>
                  </a:cubicBezTo>
                  <a:cubicBezTo>
                    <a:pt x="237" y="81"/>
                    <a:pt x="237" y="82"/>
                    <a:pt x="236" y="82"/>
                  </a:cubicBezTo>
                  <a:cubicBezTo>
                    <a:pt x="236" y="82"/>
                    <a:pt x="235" y="82"/>
                    <a:pt x="234" y="82"/>
                  </a:cubicBezTo>
                  <a:cubicBezTo>
                    <a:pt x="233" y="82"/>
                    <a:pt x="232" y="82"/>
                    <a:pt x="231" y="82"/>
                  </a:cubicBezTo>
                  <a:cubicBezTo>
                    <a:pt x="230" y="82"/>
                    <a:pt x="230" y="81"/>
                    <a:pt x="230" y="81"/>
                  </a:cubicBezTo>
                  <a:cubicBezTo>
                    <a:pt x="229" y="81"/>
                    <a:pt x="229" y="81"/>
                    <a:pt x="229" y="81"/>
                  </a:cubicBezTo>
                  <a:cubicBezTo>
                    <a:pt x="229" y="80"/>
                    <a:pt x="229" y="80"/>
                    <a:pt x="229" y="80"/>
                  </a:cubicBezTo>
                  <a:lnTo>
                    <a:pt x="229" y="47"/>
                  </a:lnTo>
                  <a:cubicBezTo>
                    <a:pt x="229" y="44"/>
                    <a:pt x="228" y="41"/>
                    <a:pt x="228" y="39"/>
                  </a:cubicBezTo>
                  <a:cubicBezTo>
                    <a:pt x="227" y="37"/>
                    <a:pt x="227" y="35"/>
                    <a:pt x="226" y="34"/>
                  </a:cubicBezTo>
                  <a:cubicBezTo>
                    <a:pt x="225" y="33"/>
                    <a:pt x="223" y="32"/>
                    <a:pt x="222" y="31"/>
                  </a:cubicBezTo>
                  <a:cubicBezTo>
                    <a:pt x="220" y="30"/>
                    <a:pt x="219" y="30"/>
                    <a:pt x="217" y="30"/>
                  </a:cubicBezTo>
                  <a:cubicBezTo>
                    <a:pt x="214" y="30"/>
                    <a:pt x="211" y="31"/>
                    <a:pt x="209" y="32"/>
                  </a:cubicBezTo>
                  <a:cubicBezTo>
                    <a:pt x="206" y="34"/>
                    <a:pt x="204" y="37"/>
                    <a:pt x="201" y="40"/>
                  </a:cubicBezTo>
                  <a:lnTo>
                    <a:pt x="201" y="80"/>
                  </a:lnTo>
                  <a:cubicBezTo>
                    <a:pt x="201" y="80"/>
                    <a:pt x="201" y="80"/>
                    <a:pt x="200" y="81"/>
                  </a:cubicBezTo>
                  <a:cubicBezTo>
                    <a:pt x="200" y="81"/>
                    <a:pt x="200" y="81"/>
                    <a:pt x="200" y="81"/>
                  </a:cubicBezTo>
                  <a:cubicBezTo>
                    <a:pt x="199" y="81"/>
                    <a:pt x="199" y="82"/>
                    <a:pt x="198" y="82"/>
                  </a:cubicBezTo>
                  <a:cubicBezTo>
                    <a:pt x="197" y="82"/>
                    <a:pt x="197" y="82"/>
                    <a:pt x="196" y="82"/>
                  </a:cubicBezTo>
                  <a:cubicBezTo>
                    <a:pt x="195" y="82"/>
                    <a:pt x="194" y="82"/>
                    <a:pt x="193" y="82"/>
                  </a:cubicBezTo>
                  <a:cubicBezTo>
                    <a:pt x="192" y="82"/>
                    <a:pt x="192" y="81"/>
                    <a:pt x="191" y="81"/>
                  </a:cubicBezTo>
                  <a:cubicBezTo>
                    <a:pt x="191" y="81"/>
                    <a:pt x="191" y="81"/>
                    <a:pt x="191" y="81"/>
                  </a:cubicBezTo>
                  <a:cubicBezTo>
                    <a:pt x="190" y="80"/>
                    <a:pt x="190" y="80"/>
                    <a:pt x="190" y="80"/>
                  </a:cubicBezTo>
                  <a:lnTo>
                    <a:pt x="190" y="24"/>
                  </a:lnTo>
                  <a:cubicBezTo>
                    <a:pt x="190" y="23"/>
                    <a:pt x="190" y="23"/>
                    <a:pt x="191" y="23"/>
                  </a:cubicBezTo>
                  <a:cubicBezTo>
                    <a:pt x="191" y="22"/>
                    <a:pt x="191" y="22"/>
                    <a:pt x="191" y="22"/>
                  </a:cubicBezTo>
                  <a:cubicBezTo>
                    <a:pt x="192" y="22"/>
                    <a:pt x="192" y="22"/>
                    <a:pt x="193" y="22"/>
                  </a:cubicBezTo>
                  <a:cubicBezTo>
                    <a:pt x="193" y="22"/>
                    <a:pt x="194" y="22"/>
                    <a:pt x="195" y="22"/>
                  </a:cubicBezTo>
                  <a:cubicBezTo>
                    <a:pt x="196" y="22"/>
                    <a:pt x="197" y="22"/>
                    <a:pt x="197" y="22"/>
                  </a:cubicBezTo>
                  <a:cubicBezTo>
                    <a:pt x="198" y="22"/>
                    <a:pt x="198" y="22"/>
                    <a:pt x="199" y="22"/>
                  </a:cubicBezTo>
                  <a:cubicBezTo>
                    <a:pt x="199" y="22"/>
                    <a:pt x="199" y="22"/>
                    <a:pt x="199" y="23"/>
                  </a:cubicBezTo>
                  <a:cubicBezTo>
                    <a:pt x="200" y="23"/>
                    <a:pt x="200" y="23"/>
                    <a:pt x="200" y="24"/>
                  </a:cubicBezTo>
                  <a:lnTo>
                    <a:pt x="200" y="31"/>
                  </a:lnTo>
                  <a:cubicBezTo>
                    <a:pt x="203" y="27"/>
                    <a:pt x="206" y="25"/>
                    <a:pt x="209" y="23"/>
                  </a:cubicBezTo>
                  <a:cubicBezTo>
                    <a:pt x="212" y="22"/>
                    <a:pt x="216" y="21"/>
                    <a:pt x="219" y="21"/>
                  </a:cubicBezTo>
                  <a:cubicBezTo>
                    <a:pt x="222" y="21"/>
                    <a:pt x="226" y="21"/>
                    <a:pt x="228" y="23"/>
                  </a:cubicBezTo>
                  <a:cubicBezTo>
                    <a:pt x="231" y="24"/>
                    <a:pt x="233" y="26"/>
                    <a:pt x="234" y="28"/>
                  </a:cubicBezTo>
                  <a:cubicBezTo>
                    <a:pt x="236" y="30"/>
                    <a:pt x="237" y="32"/>
                    <a:pt x="238" y="35"/>
                  </a:cubicBezTo>
                  <a:cubicBezTo>
                    <a:pt x="238" y="38"/>
                    <a:pt x="239" y="41"/>
                    <a:pt x="239" y="45"/>
                  </a:cubicBezTo>
                  <a:lnTo>
                    <a:pt x="239" y="80"/>
                  </a:lnTo>
                  <a:close/>
                  <a:moveTo>
                    <a:pt x="284" y="76"/>
                  </a:moveTo>
                  <a:cubicBezTo>
                    <a:pt x="284" y="77"/>
                    <a:pt x="284" y="78"/>
                    <a:pt x="283" y="79"/>
                  </a:cubicBezTo>
                  <a:cubicBezTo>
                    <a:pt x="283" y="79"/>
                    <a:pt x="283" y="80"/>
                    <a:pt x="283" y="80"/>
                  </a:cubicBezTo>
                  <a:cubicBezTo>
                    <a:pt x="282" y="80"/>
                    <a:pt x="282" y="81"/>
                    <a:pt x="281" y="81"/>
                  </a:cubicBezTo>
                  <a:cubicBezTo>
                    <a:pt x="280" y="81"/>
                    <a:pt x="280" y="82"/>
                    <a:pt x="279" y="82"/>
                  </a:cubicBezTo>
                  <a:cubicBezTo>
                    <a:pt x="278" y="82"/>
                    <a:pt x="277" y="82"/>
                    <a:pt x="276" y="82"/>
                  </a:cubicBezTo>
                  <a:cubicBezTo>
                    <a:pt x="275" y="82"/>
                    <a:pt x="274" y="82"/>
                    <a:pt x="273" y="82"/>
                  </a:cubicBezTo>
                  <a:cubicBezTo>
                    <a:pt x="270" y="82"/>
                    <a:pt x="268" y="82"/>
                    <a:pt x="266" y="81"/>
                  </a:cubicBezTo>
                  <a:cubicBezTo>
                    <a:pt x="264" y="80"/>
                    <a:pt x="262" y="79"/>
                    <a:pt x="261" y="78"/>
                  </a:cubicBezTo>
                  <a:cubicBezTo>
                    <a:pt x="259" y="76"/>
                    <a:pt x="258" y="74"/>
                    <a:pt x="258" y="72"/>
                  </a:cubicBezTo>
                  <a:cubicBezTo>
                    <a:pt x="257" y="69"/>
                    <a:pt x="257" y="67"/>
                    <a:pt x="257" y="63"/>
                  </a:cubicBezTo>
                  <a:lnTo>
                    <a:pt x="257" y="30"/>
                  </a:lnTo>
                  <a:lnTo>
                    <a:pt x="249" y="30"/>
                  </a:lnTo>
                  <a:cubicBezTo>
                    <a:pt x="248" y="30"/>
                    <a:pt x="248" y="30"/>
                    <a:pt x="247" y="29"/>
                  </a:cubicBezTo>
                  <a:cubicBezTo>
                    <a:pt x="247" y="29"/>
                    <a:pt x="247" y="28"/>
                    <a:pt x="247" y="26"/>
                  </a:cubicBezTo>
                  <a:cubicBezTo>
                    <a:pt x="247" y="25"/>
                    <a:pt x="247" y="25"/>
                    <a:pt x="247" y="24"/>
                  </a:cubicBezTo>
                  <a:cubicBezTo>
                    <a:pt x="247" y="24"/>
                    <a:pt x="247" y="23"/>
                    <a:pt x="247" y="23"/>
                  </a:cubicBezTo>
                  <a:cubicBezTo>
                    <a:pt x="248" y="23"/>
                    <a:pt x="248" y="22"/>
                    <a:pt x="248" y="22"/>
                  </a:cubicBezTo>
                  <a:cubicBezTo>
                    <a:pt x="248" y="22"/>
                    <a:pt x="249" y="22"/>
                    <a:pt x="249" y="22"/>
                  </a:cubicBezTo>
                  <a:lnTo>
                    <a:pt x="257" y="22"/>
                  </a:lnTo>
                  <a:lnTo>
                    <a:pt x="257" y="9"/>
                  </a:lnTo>
                  <a:cubicBezTo>
                    <a:pt x="257" y="8"/>
                    <a:pt x="257" y="8"/>
                    <a:pt x="257" y="8"/>
                  </a:cubicBezTo>
                  <a:cubicBezTo>
                    <a:pt x="257" y="7"/>
                    <a:pt x="257" y="7"/>
                    <a:pt x="258" y="7"/>
                  </a:cubicBezTo>
                  <a:cubicBezTo>
                    <a:pt x="258" y="7"/>
                    <a:pt x="259" y="7"/>
                    <a:pt x="259" y="7"/>
                  </a:cubicBezTo>
                  <a:cubicBezTo>
                    <a:pt x="260" y="7"/>
                    <a:pt x="261" y="7"/>
                    <a:pt x="262" y="7"/>
                  </a:cubicBezTo>
                  <a:cubicBezTo>
                    <a:pt x="263" y="7"/>
                    <a:pt x="264" y="7"/>
                    <a:pt x="265" y="7"/>
                  </a:cubicBezTo>
                  <a:cubicBezTo>
                    <a:pt x="265" y="7"/>
                    <a:pt x="266" y="7"/>
                    <a:pt x="266" y="7"/>
                  </a:cubicBezTo>
                  <a:cubicBezTo>
                    <a:pt x="266" y="7"/>
                    <a:pt x="267" y="7"/>
                    <a:pt x="267" y="8"/>
                  </a:cubicBezTo>
                  <a:cubicBezTo>
                    <a:pt x="267" y="8"/>
                    <a:pt x="267" y="8"/>
                    <a:pt x="267" y="9"/>
                  </a:cubicBezTo>
                  <a:lnTo>
                    <a:pt x="267" y="22"/>
                  </a:lnTo>
                  <a:lnTo>
                    <a:pt x="282" y="22"/>
                  </a:lnTo>
                  <a:cubicBezTo>
                    <a:pt x="282" y="22"/>
                    <a:pt x="282" y="22"/>
                    <a:pt x="282" y="22"/>
                  </a:cubicBezTo>
                  <a:cubicBezTo>
                    <a:pt x="283" y="22"/>
                    <a:pt x="283" y="23"/>
                    <a:pt x="283" y="23"/>
                  </a:cubicBezTo>
                  <a:cubicBezTo>
                    <a:pt x="283" y="23"/>
                    <a:pt x="283" y="24"/>
                    <a:pt x="284" y="24"/>
                  </a:cubicBezTo>
                  <a:cubicBezTo>
                    <a:pt x="284" y="25"/>
                    <a:pt x="284" y="25"/>
                    <a:pt x="284" y="26"/>
                  </a:cubicBezTo>
                  <a:cubicBezTo>
                    <a:pt x="284" y="28"/>
                    <a:pt x="283" y="29"/>
                    <a:pt x="283" y="29"/>
                  </a:cubicBezTo>
                  <a:cubicBezTo>
                    <a:pt x="283" y="30"/>
                    <a:pt x="282" y="30"/>
                    <a:pt x="282" y="30"/>
                  </a:cubicBezTo>
                  <a:lnTo>
                    <a:pt x="267" y="30"/>
                  </a:lnTo>
                  <a:lnTo>
                    <a:pt x="267" y="62"/>
                  </a:lnTo>
                  <a:cubicBezTo>
                    <a:pt x="267" y="66"/>
                    <a:pt x="268" y="69"/>
                    <a:pt x="269" y="71"/>
                  </a:cubicBezTo>
                  <a:cubicBezTo>
                    <a:pt x="270" y="73"/>
                    <a:pt x="272" y="74"/>
                    <a:pt x="275" y="74"/>
                  </a:cubicBezTo>
                  <a:cubicBezTo>
                    <a:pt x="276" y="74"/>
                    <a:pt x="277" y="74"/>
                    <a:pt x="278" y="73"/>
                  </a:cubicBezTo>
                  <a:cubicBezTo>
                    <a:pt x="278" y="73"/>
                    <a:pt x="279" y="73"/>
                    <a:pt x="280" y="73"/>
                  </a:cubicBezTo>
                  <a:cubicBezTo>
                    <a:pt x="280" y="73"/>
                    <a:pt x="281" y="72"/>
                    <a:pt x="281" y="72"/>
                  </a:cubicBezTo>
                  <a:cubicBezTo>
                    <a:pt x="282" y="72"/>
                    <a:pt x="282" y="72"/>
                    <a:pt x="282" y="72"/>
                  </a:cubicBezTo>
                  <a:cubicBezTo>
                    <a:pt x="282" y="72"/>
                    <a:pt x="283" y="72"/>
                    <a:pt x="283" y="72"/>
                  </a:cubicBezTo>
                  <a:cubicBezTo>
                    <a:pt x="283" y="72"/>
                    <a:pt x="283" y="72"/>
                    <a:pt x="283" y="73"/>
                  </a:cubicBezTo>
                  <a:cubicBezTo>
                    <a:pt x="283" y="73"/>
                    <a:pt x="283" y="73"/>
                    <a:pt x="284" y="74"/>
                  </a:cubicBezTo>
                  <a:cubicBezTo>
                    <a:pt x="284" y="74"/>
                    <a:pt x="284" y="75"/>
                    <a:pt x="284" y="76"/>
                  </a:cubicBez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79D51DEC-102E-4559-BB03-F039864761C5}"/>
                </a:ext>
              </a:extLst>
            </p:cNvPr>
            <p:cNvSpPr>
              <a:spLocks noEditPoints="1"/>
            </p:cNvSpPr>
            <p:nvPr/>
          </p:nvSpPr>
          <p:spPr bwMode="auto">
            <a:xfrm>
              <a:off x="4941" y="1985"/>
              <a:ext cx="997" cy="99"/>
            </a:xfrm>
            <a:custGeom>
              <a:avLst/>
              <a:gdLst>
                <a:gd name="T0" fmla="*/ 2227 w 2229"/>
                <a:gd name="T1" fmla="*/ 53 h 222"/>
                <a:gd name="T2" fmla="*/ 2127 w 2229"/>
                <a:gd name="T3" fmla="*/ 44 h 222"/>
                <a:gd name="T4" fmla="*/ 2104 w 2229"/>
                <a:gd name="T5" fmla="*/ 44 h 222"/>
                <a:gd name="T6" fmla="*/ 2107 w 2229"/>
                <a:gd name="T7" fmla="*/ 41 h 222"/>
                <a:gd name="T8" fmla="*/ 2008 w 2229"/>
                <a:gd name="T9" fmla="*/ 27 h 222"/>
                <a:gd name="T10" fmla="*/ 1947 w 2229"/>
                <a:gd name="T11" fmla="*/ 25 h 222"/>
                <a:gd name="T12" fmla="*/ 1982 w 2229"/>
                <a:gd name="T13" fmla="*/ 29 h 222"/>
                <a:gd name="T14" fmla="*/ 1921 w 2229"/>
                <a:gd name="T15" fmla="*/ 18 h 222"/>
                <a:gd name="T16" fmla="*/ 1822 w 2229"/>
                <a:gd name="T17" fmla="*/ 15 h 222"/>
                <a:gd name="T18" fmla="*/ 1798 w 2229"/>
                <a:gd name="T19" fmla="*/ 16 h 222"/>
                <a:gd name="T20" fmla="*/ 1801 w 2229"/>
                <a:gd name="T21" fmla="*/ 13 h 222"/>
                <a:gd name="T22" fmla="*/ 1702 w 2229"/>
                <a:gd name="T23" fmla="*/ 4 h 222"/>
                <a:gd name="T24" fmla="*/ 1662 w 2229"/>
                <a:gd name="T25" fmla="*/ 7 h 222"/>
                <a:gd name="T26" fmla="*/ 1676 w 2229"/>
                <a:gd name="T27" fmla="*/ 3 h 222"/>
                <a:gd name="T28" fmla="*/ 1576 w 2229"/>
                <a:gd name="T29" fmla="*/ 4 h 222"/>
                <a:gd name="T30" fmla="*/ 1553 w 2229"/>
                <a:gd name="T31" fmla="*/ 6 h 222"/>
                <a:gd name="T32" fmla="*/ 1556 w 2229"/>
                <a:gd name="T33" fmla="*/ 4 h 222"/>
                <a:gd name="T34" fmla="*/ 1456 w 2229"/>
                <a:gd name="T35" fmla="*/ 0 h 222"/>
                <a:gd name="T36" fmla="*/ 1394 w 2229"/>
                <a:gd name="T37" fmla="*/ 5 h 222"/>
                <a:gd name="T38" fmla="*/ 1430 w 2229"/>
                <a:gd name="T39" fmla="*/ 5 h 222"/>
                <a:gd name="T40" fmla="*/ 1369 w 2229"/>
                <a:gd name="T41" fmla="*/ 0 h 222"/>
                <a:gd name="T42" fmla="*/ 1269 w 2229"/>
                <a:gd name="T43" fmla="*/ 8 h 222"/>
                <a:gd name="T44" fmla="*/ 1246 w 2229"/>
                <a:gd name="T45" fmla="*/ 12 h 222"/>
                <a:gd name="T46" fmla="*/ 1249 w 2229"/>
                <a:gd name="T47" fmla="*/ 9 h 222"/>
                <a:gd name="T48" fmla="*/ 1149 w 2229"/>
                <a:gd name="T49" fmla="*/ 11 h 222"/>
                <a:gd name="T50" fmla="*/ 1099 w 2229"/>
                <a:gd name="T51" fmla="*/ 19 h 222"/>
                <a:gd name="T52" fmla="*/ 1123 w 2229"/>
                <a:gd name="T53" fmla="*/ 13 h 222"/>
                <a:gd name="T54" fmla="*/ 1024 w 2229"/>
                <a:gd name="T55" fmla="*/ 24 h 222"/>
                <a:gd name="T56" fmla="*/ 1001 w 2229"/>
                <a:gd name="T57" fmla="*/ 29 h 222"/>
                <a:gd name="T58" fmla="*/ 1004 w 2229"/>
                <a:gd name="T59" fmla="*/ 26 h 222"/>
                <a:gd name="T60" fmla="*/ 904 w 2229"/>
                <a:gd name="T61" fmla="*/ 33 h 222"/>
                <a:gd name="T62" fmla="*/ 843 w 2229"/>
                <a:gd name="T63" fmla="*/ 44 h 222"/>
                <a:gd name="T64" fmla="*/ 879 w 2229"/>
                <a:gd name="T65" fmla="*/ 41 h 222"/>
                <a:gd name="T66" fmla="*/ 782 w 2229"/>
                <a:gd name="T67" fmla="*/ 48 h 222"/>
                <a:gd name="T68" fmla="*/ 757 w 2229"/>
                <a:gd name="T69" fmla="*/ 57 h 222"/>
                <a:gd name="T70" fmla="*/ 760 w 2229"/>
                <a:gd name="T71" fmla="*/ 54 h 222"/>
                <a:gd name="T72" fmla="*/ 661 w 2229"/>
                <a:gd name="T73" fmla="*/ 67 h 222"/>
                <a:gd name="T74" fmla="*/ 601 w 2229"/>
                <a:gd name="T75" fmla="*/ 81 h 222"/>
                <a:gd name="T76" fmla="*/ 636 w 2229"/>
                <a:gd name="T77" fmla="*/ 76 h 222"/>
                <a:gd name="T78" fmla="*/ 575 w 2229"/>
                <a:gd name="T79" fmla="*/ 80 h 222"/>
                <a:gd name="T80" fmla="*/ 477 w 2229"/>
                <a:gd name="T81" fmla="*/ 102 h 222"/>
                <a:gd name="T82" fmla="*/ 455 w 2229"/>
                <a:gd name="T83" fmla="*/ 109 h 222"/>
                <a:gd name="T84" fmla="*/ 457 w 2229"/>
                <a:gd name="T85" fmla="*/ 106 h 222"/>
                <a:gd name="T86" fmla="*/ 359 w 2229"/>
                <a:gd name="T87" fmla="*/ 124 h 222"/>
                <a:gd name="T88" fmla="*/ 300 w 2229"/>
                <a:gd name="T89" fmla="*/ 142 h 222"/>
                <a:gd name="T90" fmla="*/ 335 w 2229"/>
                <a:gd name="T91" fmla="*/ 135 h 222"/>
                <a:gd name="T92" fmla="*/ 239 w 2229"/>
                <a:gd name="T93" fmla="*/ 151 h 222"/>
                <a:gd name="T94" fmla="*/ 216 w 2229"/>
                <a:gd name="T95" fmla="*/ 163 h 222"/>
                <a:gd name="T96" fmla="*/ 217 w 2229"/>
                <a:gd name="T97" fmla="*/ 160 h 222"/>
                <a:gd name="T98" fmla="*/ 120 w 2229"/>
                <a:gd name="T99" fmla="*/ 184 h 222"/>
                <a:gd name="T100" fmla="*/ 62 w 2229"/>
                <a:gd name="T101" fmla="*/ 205 h 222"/>
                <a:gd name="T102" fmla="*/ 97 w 2229"/>
                <a:gd name="T103" fmla="*/ 196 h 222"/>
                <a:gd name="T104" fmla="*/ 36 w 2229"/>
                <a:gd name="T105" fmla="*/ 20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29" h="222">
                  <a:moveTo>
                    <a:pt x="2226" y="58"/>
                  </a:moveTo>
                  <a:lnTo>
                    <a:pt x="2191" y="54"/>
                  </a:lnTo>
                  <a:cubicBezTo>
                    <a:pt x="2189" y="54"/>
                    <a:pt x="2188" y="52"/>
                    <a:pt x="2188" y="51"/>
                  </a:cubicBezTo>
                  <a:cubicBezTo>
                    <a:pt x="2189" y="50"/>
                    <a:pt x="2190" y="49"/>
                    <a:pt x="2191" y="49"/>
                  </a:cubicBezTo>
                  <a:lnTo>
                    <a:pt x="2227" y="53"/>
                  </a:lnTo>
                  <a:cubicBezTo>
                    <a:pt x="2228" y="53"/>
                    <a:pt x="2229" y="54"/>
                    <a:pt x="2229" y="56"/>
                  </a:cubicBezTo>
                  <a:cubicBezTo>
                    <a:pt x="2229" y="57"/>
                    <a:pt x="2228" y="58"/>
                    <a:pt x="2226" y="58"/>
                  </a:cubicBezTo>
                  <a:close/>
                  <a:moveTo>
                    <a:pt x="2165" y="51"/>
                  </a:moveTo>
                  <a:lnTo>
                    <a:pt x="2130" y="47"/>
                  </a:lnTo>
                  <a:cubicBezTo>
                    <a:pt x="2128" y="47"/>
                    <a:pt x="2127" y="45"/>
                    <a:pt x="2127" y="44"/>
                  </a:cubicBezTo>
                  <a:cubicBezTo>
                    <a:pt x="2127" y="42"/>
                    <a:pt x="2129" y="41"/>
                    <a:pt x="2130" y="42"/>
                  </a:cubicBezTo>
                  <a:lnTo>
                    <a:pt x="2166" y="46"/>
                  </a:lnTo>
                  <a:cubicBezTo>
                    <a:pt x="2167" y="46"/>
                    <a:pt x="2168" y="47"/>
                    <a:pt x="2168" y="49"/>
                  </a:cubicBezTo>
                  <a:cubicBezTo>
                    <a:pt x="2168" y="50"/>
                    <a:pt x="2167" y="51"/>
                    <a:pt x="2165" y="51"/>
                  </a:cubicBezTo>
                  <a:close/>
                  <a:moveTo>
                    <a:pt x="2104" y="44"/>
                  </a:moveTo>
                  <a:lnTo>
                    <a:pt x="2069" y="40"/>
                  </a:lnTo>
                  <a:cubicBezTo>
                    <a:pt x="2067" y="39"/>
                    <a:pt x="2066" y="38"/>
                    <a:pt x="2066" y="37"/>
                  </a:cubicBezTo>
                  <a:cubicBezTo>
                    <a:pt x="2066" y="35"/>
                    <a:pt x="2068" y="34"/>
                    <a:pt x="2069" y="34"/>
                  </a:cubicBezTo>
                  <a:lnTo>
                    <a:pt x="2105" y="39"/>
                  </a:lnTo>
                  <a:cubicBezTo>
                    <a:pt x="2106" y="39"/>
                    <a:pt x="2107" y="40"/>
                    <a:pt x="2107" y="41"/>
                  </a:cubicBezTo>
                  <a:cubicBezTo>
                    <a:pt x="2107" y="43"/>
                    <a:pt x="2106" y="44"/>
                    <a:pt x="2104" y="44"/>
                  </a:cubicBezTo>
                  <a:close/>
                  <a:moveTo>
                    <a:pt x="2043" y="37"/>
                  </a:moveTo>
                  <a:lnTo>
                    <a:pt x="2008" y="32"/>
                  </a:lnTo>
                  <a:cubicBezTo>
                    <a:pt x="2006" y="32"/>
                    <a:pt x="2005" y="31"/>
                    <a:pt x="2005" y="29"/>
                  </a:cubicBezTo>
                  <a:cubicBezTo>
                    <a:pt x="2005" y="28"/>
                    <a:pt x="2007" y="27"/>
                    <a:pt x="2008" y="27"/>
                  </a:cubicBezTo>
                  <a:lnTo>
                    <a:pt x="2044" y="31"/>
                  </a:lnTo>
                  <a:cubicBezTo>
                    <a:pt x="2045" y="32"/>
                    <a:pt x="2046" y="33"/>
                    <a:pt x="2046" y="34"/>
                  </a:cubicBezTo>
                  <a:cubicBezTo>
                    <a:pt x="2046" y="36"/>
                    <a:pt x="2045" y="37"/>
                    <a:pt x="2043" y="37"/>
                  </a:cubicBezTo>
                  <a:close/>
                  <a:moveTo>
                    <a:pt x="1982" y="29"/>
                  </a:moveTo>
                  <a:lnTo>
                    <a:pt x="1947" y="25"/>
                  </a:lnTo>
                  <a:cubicBezTo>
                    <a:pt x="1945" y="25"/>
                    <a:pt x="1944" y="24"/>
                    <a:pt x="1944" y="22"/>
                  </a:cubicBezTo>
                  <a:cubicBezTo>
                    <a:pt x="1944" y="21"/>
                    <a:pt x="1946" y="20"/>
                    <a:pt x="1947" y="20"/>
                  </a:cubicBezTo>
                  <a:lnTo>
                    <a:pt x="1983" y="24"/>
                  </a:lnTo>
                  <a:cubicBezTo>
                    <a:pt x="1984" y="24"/>
                    <a:pt x="1985" y="26"/>
                    <a:pt x="1985" y="27"/>
                  </a:cubicBezTo>
                  <a:cubicBezTo>
                    <a:pt x="1985" y="29"/>
                    <a:pt x="1984" y="30"/>
                    <a:pt x="1982" y="29"/>
                  </a:cubicBezTo>
                  <a:close/>
                  <a:moveTo>
                    <a:pt x="1921" y="23"/>
                  </a:moveTo>
                  <a:lnTo>
                    <a:pt x="1885" y="21"/>
                  </a:lnTo>
                  <a:cubicBezTo>
                    <a:pt x="1884" y="21"/>
                    <a:pt x="1883" y="20"/>
                    <a:pt x="1883" y="18"/>
                  </a:cubicBezTo>
                  <a:cubicBezTo>
                    <a:pt x="1883" y="17"/>
                    <a:pt x="1884" y="16"/>
                    <a:pt x="1886" y="16"/>
                  </a:cubicBezTo>
                  <a:lnTo>
                    <a:pt x="1921" y="18"/>
                  </a:lnTo>
                  <a:cubicBezTo>
                    <a:pt x="1923" y="18"/>
                    <a:pt x="1924" y="20"/>
                    <a:pt x="1924" y="21"/>
                  </a:cubicBezTo>
                  <a:cubicBezTo>
                    <a:pt x="1924" y="23"/>
                    <a:pt x="1923" y="24"/>
                    <a:pt x="1921" y="23"/>
                  </a:cubicBezTo>
                  <a:close/>
                  <a:moveTo>
                    <a:pt x="1860" y="20"/>
                  </a:moveTo>
                  <a:lnTo>
                    <a:pt x="1824" y="17"/>
                  </a:lnTo>
                  <a:cubicBezTo>
                    <a:pt x="1823" y="17"/>
                    <a:pt x="1822" y="16"/>
                    <a:pt x="1822" y="15"/>
                  </a:cubicBezTo>
                  <a:cubicBezTo>
                    <a:pt x="1822" y="13"/>
                    <a:pt x="1823" y="12"/>
                    <a:pt x="1824" y="12"/>
                  </a:cubicBezTo>
                  <a:lnTo>
                    <a:pt x="1860" y="14"/>
                  </a:lnTo>
                  <a:cubicBezTo>
                    <a:pt x="1862" y="15"/>
                    <a:pt x="1863" y="16"/>
                    <a:pt x="1863" y="17"/>
                  </a:cubicBezTo>
                  <a:cubicBezTo>
                    <a:pt x="1862" y="19"/>
                    <a:pt x="1861" y="20"/>
                    <a:pt x="1860" y="20"/>
                  </a:cubicBezTo>
                  <a:close/>
                  <a:moveTo>
                    <a:pt x="1798" y="16"/>
                  </a:moveTo>
                  <a:lnTo>
                    <a:pt x="1763" y="13"/>
                  </a:lnTo>
                  <a:cubicBezTo>
                    <a:pt x="1761" y="13"/>
                    <a:pt x="1760" y="12"/>
                    <a:pt x="1760" y="11"/>
                  </a:cubicBezTo>
                  <a:cubicBezTo>
                    <a:pt x="1760" y="9"/>
                    <a:pt x="1762" y="8"/>
                    <a:pt x="1763" y="8"/>
                  </a:cubicBezTo>
                  <a:lnTo>
                    <a:pt x="1799" y="11"/>
                  </a:lnTo>
                  <a:cubicBezTo>
                    <a:pt x="1800" y="11"/>
                    <a:pt x="1801" y="12"/>
                    <a:pt x="1801" y="13"/>
                  </a:cubicBezTo>
                  <a:cubicBezTo>
                    <a:pt x="1801" y="15"/>
                    <a:pt x="1800" y="16"/>
                    <a:pt x="1798" y="16"/>
                  </a:cubicBezTo>
                  <a:close/>
                  <a:moveTo>
                    <a:pt x="1737" y="12"/>
                  </a:moveTo>
                  <a:lnTo>
                    <a:pt x="1701" y="10"/>
                  </a:lnTo>
                  <a:cubicBezTo>
                    <a:pt x="1700" y="9"/>
                    <a:pt x="1699" y="8"/>
                    <a:pt x="1699" y="7"/>
                  </a:cubicBezTo>
                  <a:cubicBezTo>
                    <a:pt x="1699" y="5"/>
                    <a:pt x="1700" y="4"/>
                    <a:pt x="1702" y="4"/>
                  </a:cubicBezTo>
                  <a:lnTo>
                    <a:pt x="1738" y="7"/>
                  </a:lnTo>
                  <a:cubicBezTo>
                    <a:pt x="1739" y="7"/>
                    <a:pt x="1740" y="8"/>
                    <a:pt x="1740" y="9"/>
                  </a:cubicBezTo>
                  <a:cubicBezTo>
                    <a:pt x="1740" y="11"/>
                    <a:pt x="1739" y="12"/>
                    <a:pt x="1737" y="12"/>
                  </a:cubicBezTo>
                  <a:close/>
                  <a:moveTo>
                    <a:pt x="1676" y="8"/>
                  </a:moveTo>
                  <a:lnTo>
                    <a:pt x="1662" y="7"/>
                  </a:lnTo>
                  <a:lnTo>
                    <a:pt x="1640" y="7"/>
                  </a:lnTo>
                  <a:cubicBezTo>
                    <a:pt x="1639" y="7"/>
                    <a:pt x="1638" y="6"/>
                    <a:pt x="1638" y="4"/>
                  </a:cubicBezTo>
                  <a:cubicBezTo>
                    <a:pt x="1638" y="3"/>
                    <a:pt x="1639" y="2"/>
                    <a:pt x="1640" y="2"/>
                  </a:cubicBezTo>
                  <a:lnTo>
                    <a:pt x="1663" y="2"/>
                  </a:lnTo>
                  <a:lnTo>
                    <a:pt x="1676" y="3"/>
                  </a:lnTo>
                  <a:cubicBezTo>
                    <a:pt x="1678" y="3"/>
                    <a:pt x="1679" y="4"/>
                    <a:pt x="1679" y="5"/>
                  </a:cubicBezTo>
                  <a:cubicBezTo>
                    <a:pt x="1679" y="7"/>
                    <a:pt x="1677" y="8"/>
                    <a:pt x="1676" y="8"/>
                  </a:cubicBezTo>
                  <a:close/>
                  <a:moveTo>
                    <a:pt x="1615" y="7"/>
                  </a:moveTo>
                  <a:lnTo>
                    <a:pt x="1579" y="6"/>
                  </a:lnTo>
                  <a:cubicBezTo>
                    <a:pt x="1577" y="6"/>
                    <a:pt x="1576" y="5"/>
                    <a:pt x="1576" y="4"/>
                  </a:cubicBezTo>
                  <a:cubicBezTo>
                    <a:pt x="1576" y="2"/>
                    <a:pt x="1577" y="1"/>
                    <a:pt x="1579" y="1"/>
                  </a:cubicBezTo>
                  <a:lnTo>
                    <a:pt x="1615" y="2"/>
                  </a:lnTo>
                  <a:cubicBezTo>
                    <a:pt x="1616" y="2"/>
                    <a:pt x="1617" y="3"/>
                    <a:pt x="1617" y="4"/>
                  </a:cubicBezTo>
                  <a:cubicBezTo>
                    <a:pt x="1617" y="6"/>
                    <a:pt x="1616" y="7"/>
                    <a:pt x="1615" y="7"/>
                  </a:cubicBezTo>
                  <a:close/>
                  <a:moveTo>
                    <a:pt x="1553" y="6"/>
                  </a:moveTo>
                  <a:lnTo>
                    <a:pt x="1517" y="6"/>
                  </a:lnTo>
                  <a:cubicBezTo>
                    <a:pt x="1516" y="6"/>
                    <a:pt x="1515" y="5"/>
                    <a:pt x="1515" y="3"/>
                  </a:cubicBezTo>
                  <a:cubicBezTo>
                    <a:pt x="1515" y="2"/>
                    <a:pt x="1516" y="1"/>
                    <a:pt x="1517" y="1"/>
                  </a:cubicBezTo>
                  <a:lnTo>
                    <a:pt x="1553" y="1"/>
                  </a:lnTo>
                  <a:cubicBezTo>
                    <a:pt x="1555" y="1"/>
                    <a:pt x="1556" y="2"/>
                    <a:pt x="1556" y="4"/>
                  </a:cubicBezTo>
                  <a:cubicBezTo>
                    <a:pt x="1556" y="5"/>
                    <a:pt x="1555" y="6"/>
                    <a:pt x="1553" y="6"/>
                  </a:cubicBezTo>
                  <a:close/>
                  <a:moveTo>
                    <a:pt x="1492" y="6"/>
                  </a:moveTo>
                  <a:lnTo>
                    <a:pt x="1456" y="6"/>
                  </a:lnTo>
                  <a:cubicBezTo>
                    <a:pt x="1455" y="6"/>
                    <a:pt x="1453" y="4"/>
                    <a:pt x="1453" y="3"/>
                  </a:cubicBezTo>
                  <a:cubicBezTo>
                    <a:pt x="1453" y="2"/>
                    <a:pt x="1455" y="0"/>
                    <a:pt x="1456" y="0"/>
                  </a:cubicBezTo>
                  <a:lnTo>
                    <a:pt x="1492" y="1"/>
                  </a:lnTo>
                  <a:cubicBezTo>
                    <a:pt x="1493" y="1"/>
                    <a:pt x="1494" y="2"/>
                    <a:pt x="1494" y="3"/>
                  </a:cubicBezTo>
                  <a:cubicBezTo>
                    <a:pt x="1494" y="5"/>
                    <a:pt x="1493" y="6"/>
                    <a:pt x="1492" y="6"/>
                  </a:cubicBezTo>
                  <a:close/>
                  <a:moveTo>
                    <a:pt x="1430" y="5"/>
                  </a:moveTo>
                  <a:lnTo>
                    <a:pt x="1394" y="5"/>
                  </a:lnTo>
                  <a:cubicBezTo>
                    <a:pt x="1393" y="5"/>
                    <a:pt x="1392" y="4"/>
                    <a:pt x="1392" y="3"/>
                  </a:cubicBezTo>
                  <a:cubicBezTo>
                    <a:pt x="1392" y="1"/>
                    <a:pt x="1393" y="0"/>
                    <a:pt x="1395" y="0"/>
                  </a:cubicBezTo>
                  <a:lnTo>
                    <a:pt x="1430" y="0"/>
                  </a:lnTo>
                  <a:cubicBezTo>
                    <a:pt x="1432" y="0"/>
                    <a:pt x="1433" y="1"/>
                    <a:pt x="1433" y="3"/>
                  </a:cubicBezTo>
                  <a:cubicBezTo>
                    <a:pt x="1433" y="4"/>
                    <a:pt x="1432" y="5"/>
                    <a:pt x="1430" y="5"/>
                  </a:cubicBezTo>
                  <a:close/>
                  <a:moveTo>
                    <a:pt x="1369" y="6"/>
                  </a:moveTo>
                  <a:lnTo>
                    <a:pt x="1333" y="7"/>
                  </a:lnTo>
                  <a:cubicBezTo>
                    <a:pt x="1332" y="7"/>
                    <a:pt x="1331" y="6"/>
                    <a:pt x="1331" y="5"/>
                  </a:cubicBezTo>
                  <a:cubicBezTo>
                    <a:pt x="1331" y="4"/>
                    <a:pt x="1332" y="2"/>
                    <a:pt x="1333" y="2"/>
                  </a:cubicBezTo>
                  <a:lnTo>
                    <a:pt x="1369" y="0"/>
                  </a:lnTo>
                  <a:cubicBezTo>
                    <a:pt x="1370" y="0"/>
                    <a:pt x="1371" y="2"/>
                    <a:pt x="1371" y="3"/>
                  </a:cubicBezTo>
                  <a:cubicBezTo>
                    <a:pt x="1372" y="4"/>
                    <a:pt x="1370" y="6"/>
                    <a:pt x="1369" y="6"/>
                  </a:cubicBezTo>
                  <a:close/>
                  <a:moveTo>
                    <a:pt x="1308" y="9"/>
                  </a:moveTo>
                  <a:lnTo>
                    <a:pt x="1272" y="10"/>
                  </a:lnTo>
                  <a:cubicBezTo>
                    <a:pt x="1270" y="10"/>
                    <a:pt x="1269" y="9"/>
                    <a:pt x="1269" y="8"/>
                  </a:cubicBezTo>
                  <a:cubicBezTo>
                    <a:pt x="1269" y="7"/>
                    <a:pt x="1270" y="5"/>
                    <a:pt x="1272" y="5"/>
                  </a:cubicBezTo>
                  <a:lnTo>
                    <a:pt x="1307" y="4"/>
                  </a:lnTo>
                  <a:cubicBezTo>
                    <a:pt x="1309" y="3"/>
                    <a:pt x="1310" y="5"/>
                    <a:pt x="1310" y="6"/>
                  </a:cubicBezTo>
                  <a:cubicBezTo>
                    <a:pt x="1310" y="7"/>
                    <a:pt x="1309" y="9"/>
                    <a:pt x="1308" y="9"/>
                  </a:cubicBezTo>
                  <a:close/>
                  <a:moveTo>
                    <a:pt x="1246" y="12"/>
                  </a:moveTo>
                  <a:lnTo>
                    <a:pt x="1211" y="13"/>
                  </a:lnTo>
                  <a:cubicBezTo>
                    <a:pt x="1209" y="14"/>
                    <a:pt x="1208" y="12"/>
                    <a:pt x="1208" y="11"/>
                  </a:cubicBezTo>
                  <a:cubicBezTo>
                    <a:pt x="1208" y="10"/>
                    <a:pt x="1209" y="8"/>
                    <a:pt x="1210" y="8"/>
                  </a:cubicBezTo>
                  <a:lnTo>
                    <a:pt x="1246" y="7"/>
                  </a:lnTo>
                  <a:cubicBezTo>
                    <a:pt x="1247" y="7"/>
                    <a:pt x="1249" y="8"/>
                    <a:pt x="1249" y="9"/>
                  </a:cubicBezTo>
                  <a:cubicBezTo>
                    <a:pt x="1249" y="10"/>
                    <a:pt x="1248" y="12"/>
                    <a:pt x="1246" y="12"/>
                  </a:cubicBezTo>
                  <a:close/>
                  <a:moveTo>
                    <a:pt x="1185" y="15"/>
                  </a:moveTo>
                  <a:lnTo>
                    <a:pt x="1149" y="17"/>
                  </a:lnTo>
                  <a:cubicBezTo>
                    <a:pt x="1148" y="17"/>
                    <a:pt x="1147" y="15"/>
                    <a:pt x="1146" y="14"/>
                  </a:cubicBezTo>
                  <a:cubicBezTo>
                    <a:pt x="1146" y="13"/>
                    <a:pt x="1148" y="11"/>
                    <a:pt x="1149" y="11"/>
                  </a:cubicBezTo>
                  <a:lnTo>
                    <a:pt x="1185" y="10"/>
                  </a:lnTo>
                  <a:cubicBezTo>
                    <a:pt x="1186" y="10"/>
                    <a:pt x="1187" y="11"/>
                    <a:pt x="1187" y="12"/>
                  </a:cubicBezTo>
                  <a:cubicBezTo>
                    <a:pt x="1187" y="13"/>
                    <a:pt x="1186" y="15"/>
                    <a:pt x="1185" y="15"/>
                  </a:cubicBezTo>
                  <a:close/>
                  <a:moveTo>
                    <a:pt x="1124" y="18"/>
                  </a:moveTo>
                  <a:lnTo>
                    <a:pt x="1099" y="19"/>
                  </a:lnTo>
                  <a:lnTo>
                    <a:pt x="1088" y="20"/>
                  </a:lnTo>
                  <a:cubicBezTo>
                    <a:pt x="1087" y="20"/>
                    <a:pt x="1085" y="19"/>
                    <a:pt x="1085" y="18"/>
                  </a:cubicBezTo>
                  <a:cubicBezTo>
                    <a:pt x="1085" y="16"/>
                    <a:pt x="1086" y="15"/>
                    <a:pt x="1087" y="15"/>
                  </a:cubicBezTo>
                  <a:lnTo>
                    <a:pt x="1098" y="14"/>
                  </a:lnTo>
                  <a:lnTo>
                    <a:pt x="1123" y="13"/>
                  </a:lnTo>
                  <a:cubicBezTo>
                    <a:pt x="1125" y="13"/>
                    <a:pt x="1126" y="14"/>
                    <a:pt x="1126" y="15"/>
                  </a:cubicBezTo>
                  <a:cubicBezTo>
                    <a:pt x="1126" y="17"/>
                    <a:pt x="1125" y="18"/>
                    <a:pt x="1124" y="18"/>
                  </a:cubicBezTo>
                  <a:close/>
                  <a:moveTo>
                    <a:pt x="1063" y="23"/>
                  </a:moveTo>
                  <a:lnTo>
                    <a:pt x="1027" y="26"/>
                  </a:lnTo>
                  <a:cubicBezTo>
                    <a:pt x="1025" y="26"/>
                    <a:pt x="1024" y="25"/>
                    <a:pt x="1024" y="24"/>
                  </a:cubicBezTo>
                  <a:cubicBezTo>
                    <a:pt x="1024" y="22"/>
                    <a:pt x="1025" y="21"/>
                    <a:pt x="1026" y="21"/>
                  </a:cubicBezTo>
                  <a:lnTo>
                    <a:pt x="1062" y="18"/>
                  </a:lnTo>
                  <a:cubicBezTo>
                    <a:pt x="1063" y="17"/>
                    <a:pt x="1065" y="18"/>
                    <a:pt x="1065" y="20"/>
                  </a:cubicBezTo>
                  <a:cubicBezTo>
                    <a:pt x="1065" y="21"/>
                    <a:pt x="1064" y="22"/>
                    <a:pt x="1063" y="23"/>
                  </a:cubicBezTo>
                  <a:close/>
                  <a:moveTo>
                    <a:pt x="1001" y="29"/>
                  </a:moveTo>
                  <a:lnTo>
                    <a:pt x="966" y="32"/>
                  </a:lnTo>
                  <a:cubicBezTo>
                    <a:pt x="964" y="32"/>
                    <a:pt x="963" y="31"/>
                    <a:pt x="963" y="30"/>
                  </a:cubicBezTo>
                  <a:cubicBezTo>
                    <a:pt x="963" y="29"/>
                    <a:pt x="964" y="27"/>
                    <a:pt x="965" y="27"/>
                  </a:cubicBezTo>
                  <a:lnTo>
                    <a:pt x="1001" y="24"/>
                  </a:lnTo>
                  <a:cubicBezTo>
                    <a:pt x="1002" y="23"/>
                    <a:pt x="1004" y="25"/>
                    <a:pt x="1004" y="26"/>
                  </a:cubicBezTo>
                  <a:cubicBezTo>
                    <a:pt x="1004" y="27"/>
                    <a:pt x="1003" y="29"/>
                    <a:pt x="1001" y="29"/>
                  </a:cubicBezTo>
                  <a:close/>
                  <a:moveTo>
                    <a:pt x="940" y="35"/>
                  </a:moveTo>
                  <a:lnTo>
                    <a:pt x="905" y="38"/>
                  </a:lnTo>
                  <a:cubicBezTo>
                    <a:pt x="903" y="38"/>
                    <a:pt x="902" y="37"/>
                    <a:pt x="902" y="36"/>
                  </a:cubicBezTo>
                  <a:cubicBezTo>
                    <a:pt x="902" y="35"/>
                    <a:pt x="903" y="33"/>
                    <a:pt x="904" y="33"/>
                  </a:cubicBezTo>
                  <a:lnTo>
                    <a:pt x="940" y="30"/>
                  </a:lnTo>
                  <a:cubicBezTo>
                    <a:pt x="941" y="30"/>
                    <a:pt x="942" y="31"/>
                    <a:pt x="943" y="32"/>
                  </a:cubicBezTo>
                  <a:cubicBezTo>
                    <a:pt x="943" y="33"/>
                    <a:pt x="942" y="35"/>
                    <a:pt x="940" y="35"/>
                  </a:cubicBezTo>
                  <a:close/>
                  <a:moveTo>
                    <a:pt x="879" y="41"/>
                  </a:moveTo>
                  <a:lnTo>
                    <a:pt x="843" y="44"/>
                  </a:lnTo>
                  <a:cubicBezTo>
                    <a:pt x="842" y="45"/>
                    <a:pt x="841" y="44"/>
                    <a:pt x="841" y="42"/>
                  </a:cubicBezTo>
                  <a:cubicBezTo>
                    <a:pt x="841" y="41"/>
                    <a:pt x="842" y="39"/>
                    <a:pt x="843" y="39"/>
                  </a:cubicBezTo>
                  <a:lnTo>
                    <a:pt x="879" y="36"/>
                  </a:lnTo>
                  <a:cubicBezTo>
                    <a:pt x="880" y="36"/>
                    <a:pt x="881" y="37"/>
                    <a:pt x="881" y="38"/>
                  </a:cubicBezTo>
                  <a:cubicBezTo>
                    <a:pt x="882" y="40"/>
                    <a:pt x="881" y="41"/>
                    <a:pt x="879" y="41"/>
                  </a:cubicBezTo>
                  <a:close/>
                  <a:moveTo>
                    <a:pt x="818" y="47"/>
                  </a:moveTo>
                  <a:lnTo>
                    <a:pt x="818" y="47"/>
                  </a:lnTo>
                  <a:lnTo>
                    <a:pt x="783" y="53"/>
                  </a:lnTo>
                  <a:cubicBezTo>
                    <a:pt x="781" y="53"/>
                    <a:pt x="780" y="52"/>
                    <a:pt x="780" y="50"/>
                  </a:cubicBezTo>
                  <a:cubicBezTo>
                    <a:pt x="780" y="49"/>
                    <a:pt x="781" y="48"/>
                    <a:pt x="782" y="48"/>
                  </a:cubicBezTo>
                  <a:lnTo>
                    <a:pt x="817" y="42"/>
                  </a:lnTo>
                  <a:lnTo>
                    <a:pt x="817" y="42"/>
                  </a:lnTo>
                  <a:cubicBezTo>
                    <a:pt x="819" y="42"/>
                    <a:pt x="820" y="43"/>
                    <a:pt x="820" y="44"/>
                  </a:cubicBezTo>
                  <a:cubicBezTo>
                    <a:pt x="820" y="46"/>
                    <a:pt x="819" y="47"/>
                    <a:pt x="818" y="47"/>
                  </a:cubicBezTo>
                  <a:close/>
                  <a:moveTo>
                    <a:pt x="757" y="57"/>
                  </a:moveTo>
                  <a:lnTo>
                    <a:pt x="722" y="62"/>
                  </a:lnTo>
                  <a:cubicBezTo>
                    <a:pt x="721" y="62"/>
                    <a:pt x="719" y="61"/>
                    <a:pt x="719" y="60"/>
                  </a:cubicBezTo>
                  <a:cubicBezTo>
                    <a:pt x="719" y="59"/>
                    <a:pt x="720" y="57"/>
                    <a:pt x="721" y="57"/>
                  </a:cubicBezTo>
                  <a:lnTo>
                    <a:pt x="757" y="52"/>
                  </a:lnTo>
                  <a:cubicBezTo>
                    <a:pt x="758" y="51"/>
                    <a:pt x="759" y="52"/>
                    <a:pt x="760" y="54"/>
                  </a:cubicBezTo>
                  <a:cubicBezTo>
                    <a:pt x="760" y="55"/>
                    <a:pt x="759" y="56"/>
                    <a:pt x="757" y="57"/>
                  </a:cubicBezTo>
                  <a:close/>
                  <a:moveTo>
                    <a:pt x="697" y="66"/>
                  </a:moveTo>
                  <a:lnTo>
                    <a:pt x="661" y="72"/>
                  </a:lnTo>
                  <a:cubicBezTo>
                    <a:pt x="660" y="72"/>
                    <a:pt x="659" y="71"/>
                    <a:pt x="658" y="70"/>
                  </a:cubicBezTo>
                  <a:cubicBezTo>
                    <a:pt x="658" y="68"/>
                    <a:pt x="659" y="67"/>
                    <a:pt x="661" y="67"/>
                  </a:cubicBezTo>
                  <a:lnTo>
                    <a:pt x="696" y="61"/>
                  </a:lnTo>
                  <a:cubicBezTo>
                    <a:pt x="697" y="61"/>
                    <a:pt x="699" y="62"/>
                    <a:pt x="699" y="63"/>
                  </a:cubicBezTo>
                  <a:cubicBezTo>
                    <a:pt x="699" y="65"/>
                    <a:pt x="698" y="66"/>
                    <a:pt x="697" y="66"/>
                  </a:cubicBezTo>
                  <a:close/>
                  <a:moveTo>
                    <a:pt x="636" y="76"/>
                  </a:moveTo>
                  <a:lnTo>
                    <a:pt x="601" y="81"/>
                  </a:lnTo>
                  <a:cubicBezTo>
                    <a:pt x="599" y="82"/>
                    <a:pt x="598" y="81"/>
                    <a:pt x="598" y="79"/>
                  </a:cubicBezTo>
                  <a:cubicBezTo>
                    <a:pt x="598" y="78"/>
                    <a:pt x="599" y="77"/>
                    <a:pt x="600" y="76"/>
                  </a:cubicBezTo>
                  <a:lnTo>
                    <a:pt x="635" y="71"/>
                  </a:lnTo>
                  <a:cubicBezTo>
                    <a:pt x="637" y="70"/>
                    <a:pt x="638" y="71"/>
                    <a:pt x="638" y="73"/>
                  </a:cubicBezTo>
                  <a:cubicBezTo>
                    <a:pt x="638" y="74"/>
                    <a:pt x="637" y="76"/>
                    <a:pt x="636" y="76"/>
                  </a:cubicBezTo>
                  <a:close/>
                  <a:moveTo>
                    <a:pt x="575" y="85"/>
                  </a:moveTo>
                  <a:lnTo>
                    <a:pt x="540" y="91"/>
                  </a:lnTo>
                  <a:cubicBezTo>
                    <a:pt x="539" y="91"/>
                    <a:pt x="537" y="90"/>
                    <a:pt x="537" y="89"/>
                  </a:cubicBezTo>
                  <a:cubicBezTo>
                    <a:pt x="537" y="87"/>
                    <a:pt x="538" y="86"/>
                    <a:pt x="539" y="86"/>
                  </a:cubicBezTo>
                  <a:lnTo>
                    <a:pt x="575" y="80"/>
                  </a:lnTo>
                  <a:cubicBezTo>
                    <a:pt x="576" y="80"/>
                    <a:pt x="577" y="81"/>
                    <a:pt x="578" y="82"/>
                  </a:cubicBezTo>
                  <a:cubicBezTo>
                    <a:pt x="578" y="84"/>
                    <a:pt x="577" y="85"/>
                    <a:pt x="575" y="85"/>
                  </a:cubicBezTo>
                  <a:close/>
                  <a:moveTo>
                    <a:pt x="515" y="96"/>
                  </a:moveTo>
                  <a:lnTo>
                    <a:pt x="480" y="104"/>
                  </a:lnTo>
                  <a:cubicBezTo>
                    <a:pt x="479" y="104"/>
                    <a:pt x="477" y="103"/>
                    <a:pt x="477" y="102"/>
                  </a:cubicBezTo>
                  <a:cubicBezTo>
                    <a:pt x="477" y="100"/>
                    <a:pt x="478" y="99"/>
                    <a:pt x="479" y="99"/>
                  </a:cubicBezTo>
                  <a:lnTo>
                    <a:pt x="514" y="91"/>
                  </a:lnTo>
                  <a:cubicBezTo>
                    <a:pt x="515" y="91"/>
                    <a:pt x="517" y="92"/>
                    <a:pt x="517" y="93"/>
                  </a:cubicBezTo>
                  <a:cubicBezTo>
                    <a:pt x="517" y="95"/>
                    <a:pt x="517" y="96"/>
                    <a:pt x="515" y="96"/>
                  </a:cubicBezTo>
                  <a:close/>
                  <a:moveTo>
                    <a:pt x="455" y="109"/>
                  </a:moveTo>
                  <a:lnTo>
                    <a:pt x="420" y="117"/>
                  </a:lnTo>
                  <a:cubicBezTo>
                    <a:pt x="419" y="117"/>
                    <a:pt x="417" y="116"/>
                    <a:pt x="417" y="115"/>
                  </a:cubicBezTo>
                  <a:cubicBezTo>
                    <a:pt x="417" y="113"/>
                    <a:pt x="418" y="112"/>
                    <a:pt x="419" y="112"/>
                  </a:cubicBezTo>
                  <a:lnTo>
                    <a:pt x="454" y="104"/>
                  </a:lnTo>
                  <a:cubicBezTo>
                    <a:pt x="455" y="104"/>
                    <a:pt x="457" y="105"/>
                    <a:pt x="457" y="106"/>
                  </a:cubicBezTo>
                  <a:cubicBezTo>
                    <a:pt x="457" y="107"/>
                    <a:pt x="456" y="109"/>
                    <a:pt x="455" y="109"/>
                  </a:cubicBezTo>
                  <a:close/>
                  <a:moveTo>
                    <a:pt x="395" y="122"/>
                  </a:moveTo>
                  <a:lnTo>
                    <a:pt x="360" y="129"/>
                  </a:lnTo>
                  <a:cubicBezTo>
                    <a:pt x="359" y="130"/>
                    <a:pt x="357" y="129"/>
                    <a:pt x="357" y="127"/>
                  </a:cubicBezTo>
                  <a:cubicBezTo>
                    <a:pt x="357" y="126"/>
                    <a:pt x="357" y="125"/>
                    <a:pt x="359" y="124"/>
                  </a:cubicBezTo>
                  <a:lnTo>
                    <a:pt x="394" y="117"/>
                  </a:lnTo>
                  <a:cubicBezTo>
                    <a:pt x="395" y="117"/>
                    <a:pt x="397" y="117"/>
                    <a:pt x="397" y="119"/>
                  </a:cubicBezTo>
                  <a:cubicBezTo>
                    <a:pt x="397" y="120"/>
                    <a:pt x="396" y="122"/>
                    <a:pt x="395" y="122"/>
                  </a:cubicBezTo>
                  <a:close/>
                  <a:moveTo>
                    <a:pt x="335" y="135"/>
                  </a:moveTo>
                  <a:lnTo>
                    <a:pt x="300" y="142"/>
                  </a:lnTo>
                  <a:cubicBezTo>
                    <a:pt x="298" y="142"/>
                    <a:pt x="297" y="142"/>
                    <a:pt x="297" y="140"/>
                  </a:cubicBezTo>
                  <a:cubicBezTo>
                    <a:pt x="296" y="139"/>
                    <a:pt x="297" y="137"/>
                    <a:pt x="299" y="137"/>
                  </a:cubicBezTo>
                  <a:lnTo>
                    <a:pt x="334" y="130"/>
                  </a:lnTo>
                  <a:cubicBezTo>
                    <a:pt x="335" y="129"/>
                    <a:pt x="337" y="130"/>
                    <a:pt x="337" y="132"/>
                  </a:cubicBezTo>
                  <a:cubicBezTo>
                    <a:pt x="337" y="133"/>
                    <a:pt x="336" y="134"/>
                    <a:pt x="335" y="135"/>
                  </a:cubicBezTo>
                  <a:close/>
                  <a:moveTo>
                    <a:pt x="275" y="147"/>
                  </a:moveTo>
                  <a:lnTo>
                    <a:pt x="263" y="150"/>
                  </a:lnTo>
                  <a:lnTo>
                    <a:pt x="240" y="156"/>
                  </a:lnTo>
                  <a:cubicBezTo>
                    <a:pt x="239" y="157"/>
                    <a:pt x="237" y="156"/>
                    <a:pt x="237" y="154"/>
                  </a:cubicBezTo>
                  <a:cubicBezTo>
                    <a:pt x="237" y="153"/>
                    <a:pt x="237" y="152"/>
                    <a:pt x="239" y="151"/>
                  </a:cubicBezTo>
                  <a:lnTo>
                    <a:pt x="262" y="145"/>
                  </a:lnTo>
                  <a:lnTo>
                    <a:pt x="274" y="142"/>
                  </a:lnTo>
                  <a:cubicBezTo>
                    <a:pt x="275" y="142"/>
                    <a:pt x="276" y="143"/>
                    <a:pt x="277" y="144"/>
                  </a:cubicBezTo>
                  <a:cubicBezTo>
                    <a:pt x="277" y="146"/>
                    <a:pt x="276" y="147"/>
                    <a:pt x="275" y="147"/>
                  </a:cubicBezTo>
                  <a:close/>
                  <a:moveTo>
                    <a:pt x="216" y="163"/>
                  </a:moveTo>
                  <a:lnTo>
                    <a:pt x="181" y="173"/>
                  </a:lnTo>
                  <a:cubicBezTo>
                    <a:pt x="180" y="173"/>
                    <a:pt x="178" y="172"/>
                    <a:pt x="178" y="171"/>
                  </a:cubicBezTo>
                  <a:cubicBezTo>
                    <a:pt x="177" y="169"/>
                    <a:pt x="178" y="168"/>
                    <a:pt x="180" y="168"/>
                  </a:cubicBezTo>
                  <a:lnTo>
                    <a:pt x="214" y="158"/>
                  </a:lnTo>
                  <a:cubicBezTo>
                    <a:pt x="216" y="158"/>
                    <a:pt x="217" y="159"/>
                    <a:pt x="217" y="160"/>
                  </a:cubicBezTo>
                  <a:cubicBezTo>
                    <a:pt x="218" y="161"/>
                    <a:pt x="217" y="163"/>
                    <a:pt x="216" y="163"/>
                  </a:cubicBezTo>
                  <a:close/>
                  <a:moveTo>
                    <a:pt x="156" y="179"/>
                  </a:moveTo>
                  <a:lnTo>
                    <a:pt x="122" y="189"/>
                  </a:lnTo>
                  <a:cubicBezTo>
                    <a:pt x="120" y="189"/>
                    <a:pt x="119" y="188"/>
                    <a:pt x="119" y="187"/>
                  </a:cubicBezTo>
                  <a:cubicBezTo>
                    <a:pt x="118" y="186"/>
                    <a:pt x="119" y="184"/>
                    <a:pt x="120" y="184"/>
                  </a:cubicBezTo>
                  <a:lnTo>
                    <a:pt x="155" y="174"/>
                  </a:lnTo>
                  <a:cubicBezTo>
                    <a:pt x="156" y="174"/>
                    <a:pt x="158" y="175"/>
                    <a:pt x="158" y="176"/>
                  </a:cubicBezTo>
                  <a:cubicBezTo>
                    <a:pt x="158" y="178"/>
                    <a:pt x="158" y="179"/>
                    <a:pt x="156" y="179"/>
                  </a:cubicBezTo>
                  <a:close/>
                  <a:moveTo>
                    <a:pt x="97" y="196"/>
                  </a:moveTo>
                  <a:lnTo>
                    <a:pt x="62" y="205"/>
                  </a:lnTo>
                  <a:cubicBezTo>
                    <a:pt x="61" y="205"/>
                    <a:pt x="60" y="205"/>
                    <a:pt x="59" y="203"/>
                  </a:cubicBezTo>
                  <a:cubicBezTo>
                    <a:pt x="59" y="202"/>
                    <a:pt x="60" y="201"/>
                    <a:pt x="61" y="200"/>
                  </a:cubicBezTo>
                  <a:lnTo>
                    <a:pt x="96" y="191"/>
                  </a:lnTo>
                  <a:cubicBezTo>
                    <a:pt x="97" y="190"/>
                    <a:pt x="98" y="191"/>
                    <a:pt x="99" y="192"/>
                  </a:cubicBezTo>
                  <a:cubicBezTo>
                    <a:pt x="99" y="194"/>
                    <a:pt x="98" y="195"/>
                    <a:pt x="97" y="196"/>
                  </a:cubicBezTo>
                  <a:close/>
                  <a:moveTo>
                    <a:pt x="38" y="212"/>
                  </a:moveTo>
                  <a:lnTo>
                    <a:pt x="3" y="221"/>
                  </a:lnTo>
                  <a:cubicBezTo>
                    <a:pt x="2" y="222"/>
                    <a:pt x="0" y="221"/>
                    <a:pt x="0" y="220"/>
                  </a:cubicBezTo>
                  <a:cubicBezTo>
                    <a:pt x="0" y="218"/>
                    <a:pt x="1" y="217"/>
                    <a:pt x="2" y="216"/>
                  </a:cubicBezTo>
                  <a:lnTo>
                    <a:pt x="36" y="207"/>
                  </a:lnTo>
                  <a:cubicBezTo>
                    <a:pt x="38" y="207"/>
                    <a:pt x="39" y="207"/>
                    <a:pt x="40" y="209"/>
                  </a:cubicBezTo>
                  <a:cubicBezTo>
                    <a:pt x="40" y="210"/>
                    <a:pt x="39" y="211"/>
                    <a:pt x="38" y="212"/>
                  </a:cubicBezTo>
                  <a:close/>
                </a:path>
              </a:pathLst>
            </a:custGeom>
            <a:solidFill>
              <a:srgbClr val="0000CC"/>
            </a:solidFill>
            <a:ln w="0" cap="flat">
              <a:solidFill>
                <a:srgbClr val="0000C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802953E6-754E-458F-A86B-2AFE10DA04D6}"/>
                </a:ext>
              </a:extLst>
            </p:cNvPr>
            <p:cNvSpPr>
              <a:spLocks/>
            </p:cNvSpPr>
            <p:nvPr/>
          </p:nvSpPr>
          <p:spPr bwMode="auto">
            <a:xfrm>
              <a:off x="4892" y="2057"/>
              <a:ext cx="59" cy="50"/>
            </a:xfrm>
            <a:custGeom>
              <a:avLst/>
              <a:gdLst>
                <a:gd name="T0" fmla="*/ 59 w 59"/>
                <a:gd name="T1" fmla="*/ 50 h 50"/>
                <a:gd name="T2" fmla="*/ 0 w 59"/>
                <a:gd name="T3" fmla="*/ 41 h 50"/>
                <a:gd name="T4" fmla="*/ 43 w 59"/>
                <a:gd name="T5" fmla="*/ 0 h 50"/>
                <a:gd name="T6" fmla="*/ 59 w 59"/>
                <a:gd name="T7" fmla="*/ 50 h 50"/>
              </a:gdLst>
              <a:ahLst/>
              <a:cxnLst>
                <a:cxn ang="0">
                  <a:pos x="T0" y="T1"/>
                </a:cxn>
                <a:cxn ang="0">
                  <a:pos x="T2" y="T3"/>
                </a:cxn>
                <a:cxn ang="0">
                  <a:pos x="T4" y="T5"/>
                </a:cxn>
                <a:cxn ang="0">
                  <a:pos x="T6" y="T7"/>
                </a:cxn>
              </a:cxnLst>
              <a:rect l="0" t="0" r="r" b="b"/>
              <a:pathLst>
                <a:path w="59" h="50">
                  <a:moveTo>
                    <a:pt x="59" y="50"/>
                  </a:moveTo>
                  <a:lnTo>
                    <a:pt x="0" y="41"/>
                  </a:lnTo>
                  <a:lnTo>
                    <a:pt x="43" y="0"/>
                  </a:lnTo>
                  <a:lnTo>
                    <a:pt x="59" y="50"/>
                  </a:lnTo>
                  <a:close/>
                </a:path>
              </a:pathLst>
            </a:custGeom>
            <a:solidFill>
              <a:srgbClr val="000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05">
              <a:extLst>
                <a:ext uri="{FF2B5EF4-FFF2-40B4-BE49-F238E27FC236}">
                  <a16:creationId xmlns:a16="http://schemas.microsoft.com/office/drawing/2014/main" id="{159DCFDF-7512-49FA-84C6-9E9EF69F044B}"/>
                </a:ext>
              </a:extLst>
            </p:cNvPr>
            <p:cNvSpPr>
              <a:spLocks noChangeArrowheads="1"/>
            </p:cNvSpPr>
            <p:nvPr/>
          </p:nvSpPr>
          <p:spPr bwMode="auto">
            <a:xfrm>
              <a:off x="5236" y="1925"/>
              <a:ext cx="348"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8E45FF09-84E3-4276-B100-37FF6B8ACA19}"/>
                </a:ext>
              </a:extLst>
            </p:cNvPr>
            <p:cNvSpPr>
              <a:spLocks noEditPoints="1"/>
            </p:cNvSpPr>
            <p:nvPr/>
          </p:nvSpPr>
          <p:spPr bwMode="auto">
            <a:xfrm>
              <a:off x="5268" y="1937"/>
              <a:ext cx="286" cy="40"/>
            </a:xfrm>
            <a:custGeom>
              <a:avLst/>
              <a:gdLst>
                <a:gd name="T0" fmla="*/ 48 w 639"/>
                <a:gd name="T1" fmla="*/ 86 h 88"/>
                <a:gd name="T2" fmla="*/ 5 w 639"/>
                <a:gd name="T3" fmla="*/ 87 h 88"/>
                <a:gd name="T4" fmla="*/ 3 w 639"/>
                <a:gd name="T5" fmla="*/ 6 h 88"/>
                <a:gd name="T6" fmla="*/ 47 w 639"/>
                <a:gd name="T7" fmla="*/ 8 h 88"/>
                <a:gd name="T8" fmla="*/ 58 w 639"/>
                <a:gd name="T9" fmla="*/ 8 h 88"/>
                <a:gd name="T10" fmla="*/ 112 w 639"/>
                <a:gd name="T11" fmla="*/ 86 h 88"/>
                <a:gd name="T12" fmla="*/ 77 w 639"/>
                <a:gd name="T13" fmla="*/ 63 h 88"/>
                <a:gd name="T14" fmla="*/ 104 w 639"/>
                <a:gd name="T15" fmla="*/ 36 h 88"/>
                <a:gd name="T16" fmla="*/ 78 w 639"/>
                <a:gd name="T17" fmla="*/ 38 h 88"/>
                <a:gd name="T18" fmla="*/ 109 w 639"/>
                <a:gd name="T19" fmla="*/ 28 h 88"/>
                <a:gd name="T20" fmla="*/ 89 w 639"/>
                <a:gd name="T21" fmla="*/ 63 h 88"/>
                <a:gd name="T22" fmla="*/ 191 w 639"/>
                <a:gd name="T23" fmla="*/ 86 h 88"/>
                <a:gd name="T24" fmla="*/ 181 w 639"/>
                <a:gd name="T25" fmla="*/ 86 h 88"/>
                <a:gd name="T26" fmla="*/ 153 w 639"/>
                <a:gd name="T27" fmla="*/ 86 h 88"/>
                <a:gd name="T28" fmla="*/ 143 w 639"/>
                <a:gd name="T29" fmla="*/ 86 h 88"/>
                <a:gd name="T30" fmla="*/ 152 w 639"/>
                <a:gd name="T31" fmla="*/ 28 h 88"/>
                <a:gd name="T32" fmla="*/ 191 w 639"/>
                <a:gd name="T33" fmla="*/ 51 h 88"/>
                <a:gd name="T34" fmla="*/ 247 w 639"/>
                <a:gd name="T35" fmla="*/ 87 h 88"/>
                <a:gd name="T36" fmla="*/ 204 w 639"/>
                <a:gd name="T37" fmla="*/ 70 h 88"/>
                <a:gd name="T38" fmla="*/ 244 w 639"/>
                <a:gd name="T39" fmla="*/ 2 h 88"/>
                <a:gd name="T40" fmla="*/ 255 w 639"/>
                <a:gd name="T41" fmla="*/ 2 h 88"/>
                <a:gd name="T42" fmla="*/ 214 w 639"/>
                <a:gd name="T43" fmla="*/ 57 h 88"/>
                <a:gd name="T44" fmla="*/ 244 w 639"/>
                <a:gd name="T45" fmla="*/ 68 h 88"/>
                <a:gd name="T46" fmla="*/ 272 w 639"/>
                <a:gd name="T47" fmla="*/ 87 h 88"/>
                <a:gd name="T48" fmla="*/ 278 w 639"/>
                <a:gd name="T49" fmla="*/ 0 h 88"/>
                <a:gd name="T50" fmla="*/ 310 w 639"/>
                <a:gd name="T51" fmla="*/ 59 h 88"/>
                <a:gd name="T52" fmla="*/ 347 w 639"/>
                <a:gd name="T53" fmla="*/ 76 h 88"/>
                <a:gd name="T54" fmla="*/ 347 w 639"/>
                <a:gd name="T55" fmla="*/ 84 h 88"/>
                <a:gd name="T56" fmla="*/ 299 w 639"/>
                <a:gd name="T57" fmla="*/ 58 h 88"/>
                <a:gd name="T58" fmla="*/ 351 w 639"/>
                <a:gd name="T59" fmla="*/ 53 h 88"/>
                <a:gd name="T60" fmla="*/ 310 w 639"/>
                <a:gd name="T61" fmla="*/ 52 h 88"/>
                <a:gd name="T62" fmla="*/ 411 w 639"/>
                <a:gd name="T63" fmla="*/ 85 h 88"/>
                <a:gd name="T64" fmla="*/ 400 w 639"/>
                <a:gd name="T65" fmla="*/ 85 h 88"/>
                <a:gd name="T66" fmla="*/ 445 w 639"/>
                <a:gd name="T67" fmla="*/ 15 h 88"/>
                <a:gd name="T68" fmla="*/ 411 w 639"/>
                <a:gd name="T69" fmla="*/ 15 h 88"/>
                <a:gd name="T70" fmla="*/ 495 w 639"/>
                <a:gd name="T71" fmla="*/ 35 h 88"/>
                <a:gd name="T72" fmla="*/ 484 w 639"/>
                <a:gd name="T73" fmla="*/ 37 h 88"/>
                <a:gd name="T74" fmla="*/ 468 w 639"/>
                <a:gd name="T75" fmla="*/ 87 h 88"/>
                <a:gd name="T76" fmla="*/ 465 w 639"/>
                <a:gd name="T77" fmla="*/ 27 h 88"/>
                <a:gd name="T78" fmla="*/ 480 w 639"/>
                <a:gd name="T79" fmla="*/ 29 h 88"/>
                <a:gd name="T80" fmla="*/ 495 w 639"/>
                <a:gd name="T81" fmla="*/ 29 h 88"/>
                <a:gd name="T82" fmla="*/ 513 w 639"/>
                <a:gd name="T83" fmla="*/ 87 h 88"/>
                <a:gd name="T84" fmla="*/ 516 w 639"/>
                <a:gd name="T85" fmla="*/ 27 h 88"/>
                <a:gd name="T86" fmla="*/ 516 w 639"/>
                <a:gd name="T87" fmla="*/ 17 h 88"/>
                <a:gd name="T88" fmla="*/ 583 w 639"/>
                <a:gd name="T89" fmla="*/ 79 h 88"/>
                <a:gd name="T90" fmla="*/ 553 w 639"/>
                <a:gd name="T91" fmla="*/ 86 h 88"/>
                <a:gd name="T92" fmla="*/ 570 w 639"/>
                <a:gd name="T93" fmla="*/ 27 h 88"/>
                <a:gd name="T94" fmla="*/ 582 w 639"/>
                <a:gd name="T95" fmla="*/ 41 h 88"/>
                <a:gd name="T96" fmla="*/ 550 w 639"/>
                <a:gd name="T97" fmla="*/ 67 h 88"/>
                <a:gd name="T98" fmla="*/ 582 w 639"/>
                <a:gd name="T99" fmla="*/ 72 h 88"/>
                <a:gd name="T100" fmla="*/ 598 w 639"/>
                <a:gd name="T101" fmla="*/ 68 h 88"/>
                <a:gd name="T102" fmla="*/ 635 w 639"/>
                <a:gd name="T103" fmla="*/ 76 h 88"/>
                <a:gd name="T104" fmla="*/ 633 w 639"/>
                <a:gd name="T105" fmla="*/ 85 h 88"/>
                <a:gd name="T106" fmla="*/ 589 w 639"/>
                <a:gd name="T107" fmla="*/ 45 h 88"/>
                <a:gd name="T108" fmla="*/ 639 w 639"/>
                <a:gd name="T109" fmla="*/ 55 h 88"/>
                <a:gd name="T110" fmla="*/ 628 w 639"/>
                <a:gd name="T111"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9" h="88">
                  <a:moveTo>
                    <a:pt x="58" y="85"/>
                  </a:moveTo>
                  <a:cubicBezTo>
                    <a:pt x="58" y="86"/>
                    <a:pt x="58" y="86"/>
                    <a:pt x="58" y="86"/>
                  </a:cubicBezTo>
                  <a:cubicBezTo>
                    <a:pt x="58" y="87"/>
                    <a:pt x="57" y="87"/>
                    <a:pt x="57" y="87"/>
                  </a:cubicBezTo>
                  <a:cubicBezTo>
                    <a:pt x="56" y="87"/>
                    <a:pt x="56" y="87"/>
                    <a:pt x="55" y="87"/>
                  </a:cubicBezTo>
                  <a:cubicBezTo>
                    <a:pt x="55" y="87"/>
                    <a:pt x="54" y="87"/>
                    <a:pt x="53" y="87"/>
                  </a:cubicBezTo>
                  <a:cubicBezTo>
                    <a:pt x="52" y="87"/>
                    <a:pt x="51" y="87"/>
                    <a:pt x="50" y="87"/>
                  </a:cubicBezTo>
                  <a:cubicBezTo>
                    <a:pt x="49" y="87"/>
                    <a:pt x="49" y="87"/>
                    <a:pt x="48" y="87"/>
                  </a:cubicBezTo>
                  <a:cubicBezTo>
                    <a:pt x="48" y="87"/>
                    <a:pt x="48" y="87"/>
                    <a:pt x="48" y="86"/>
                  </a:cubicBezTo>
                  <a:cubicBezTo>
                    <a:pt x="47" y="86"/>
                    <a:pt x="47" y="86"/>
                    <a:pt x="47" y="85"/>
                  </a:cubicBezTo>
                  <a:lnTo>
                    <a:pt x="47" y="50"/>
                  </a:lnTo>
                  <a:lnTo>
                    <a:pt x="11" y="50"/>
                  </a:lnTo>
                  <a:lnTo>
                    <a:pt x="11" y="85"/>
                  </a:lnTo>
                  <a:cubicBezTo>
                    <a:pt x="11" y="86"/>
                    <a:pt x="10" y="86"/>
                    <a:pt x="10" y="86"/>
                  </a:cubicBezTo>
                  <a:cubicBezTo>
                    <a:pt x="10" y="87"/>
                    <a:pt x="10" y="87"/>
                    <a:pt x="9" y="87"/>
                  </a:cubicBezTo>
                  <a:cubicBezTo>
                    <a:pt x="9" y="87"/>
                    <a:pt x="8" y="87"/>
                    <a:pt x="8" y="87"/>
                  </a:cubicBezTo>
                  <a:cubicBezTo>
                    <a:pt x="7" y="87"/>
                    <a:pt x="6" y="87"/>
                    <a:pt x="5" y="87"/>
                  </a:cubicBezTo>
                  <a:cubicBezTo>
                    <a:pt x="4" y="87"/>
                    <a:pt x="3" y="87"/>
                    <a:pt x="3" y="87"/>
                  </a:cubicBezTo>
                  <a:cubicBezTo>
                    <a:pt x="2" y="87"/>
                    <a:pt x="1" y="87"/>
                    <a:pt x="1" y="87"/>
                  </a:cubicBezTo>
                  <a:cubicBezTo>
                    <a:pt x="0" y="87"/>
                    <a:pt x="0" y="87"/>
                    <a:pt x="0" y="86"/>
                  </a:cubicBezTo>
                  <a:cubicBezTo>
                    <a:pt x="0" y="86"/>
                    <a:pt x="0" y="86"/>
                    <a:pt x="0" y="85"/>
                  </a:cubicBezTo>
                  <a:lnTo>
                    <a:pt x="0" y="8"/>
                  </a:lnTo>
                  <a:cubicBezTo>
                    <a:pt x="0" y="7"/>
                    <a:pt x="0" y="7"/>
                    <a:pt x="0" y="7"/>
                  </a:cubicBezTo>
                  <a:cubicBezTo>
                    <a:pt x="0" y="7"/>
                    <a:pt x="0" y="7"/>
                    <a:pt x="1" y="6"/>
                  </a:cubicBezTo>
                  <a:cubicBezTo>
                    <a:pt x="1" y="6"/>
                    <a:pt x="2" y="6"/>
                    <a:pt x="3" y="6"/>
                  </a:cubicBezTo>
                  <a:cubicBezTo>
                    <a:pt x="3" y="6"/>
                    <a:pt x="4" y="6"/>
                    <a:pt x="5" y="6"/>
                  </a:cubicBezTo>
                  <a:cubicBezTo>
                    <a:pt x="6" y="6"/>
                    <a:pt x="7" y="6"/>
                    <a:pt x="8" y="6"/>
                  </a:cubicBezTo>
                  <a:cubicBezTo>
                    <a:pt x="8" y="6"/>
                    <a:pt x="9" y="6"/>
                    <a:pt x="9" y="6"/>
                  </a:cubicBezTo>
                  <a:cubicBezTo>
                    <a:pt x="10" y="7"/>
                    <a:pt x="10" y="7"/>
                    <a:pt x="10" y="7"/>
                  </a:cubicBezTo>
                  <a:cubicBezTo>
                    <a:pt x="10" y="7"/>
                    <a:pt x="11" y="7"/>
                    <a:pt x="11" y="8"/>
                  </a:cubicBezTo>
                  <a:lnTo>
                    <a:pt x="11" y="40"/>
                  </a:lnTo>
                  <a:lnTo>
                    <a:pt x="47" y="40"/>
                  </a:lnTo>
                  <a:lnTo>
                    <a:pt x="47" y="8"/>
                  </a:lnTo>
                  <a:cubicBezTo>
                    <a:pt x="47" y="7"/>
                    <a:pt x="47" y="7"/>
                    <a:pt x="48" y="7"/>
                  </a:cubicBezTo>
                  <a:cubicBezTo>
                    <a:pt x="48" y="7"/>
                    <a:pt x="48" y="7"/>
                    <a:pt x="48" y="6"/>
                  </a:cubicBezTo>
                  <a:cubicBezTo>
                    <a:pt x="49" y="6"/>
                    <a:pt x="49" y="6"/>
                    <a:pt x="50" y="6"/>
                  </a:cubicBezTo>
                  <a:cubicBezTo>
                    <a:pt x="51" y="6"/>
                    <a:pt x="52" y="6"/>
                    <a:pt x="53" y="6"/>
                  </a:cubicBezTo>
                  <a:cubicBezTo>
                    <a:pt x="54" y="6"/>
                    <a:pt x="55" y="6"/>
                    <a:pt x="55" y="6"/>
                  </a:cubicBezTo>
                  <a:cubicBezTo>
                    <a:pt x="56" y="6"/>
                    <a:pt x="56" y="6"/>
                    <a:pt x="57" y="6"/>
                  </a:cubicBezTo>
                  <a:cubicBezTo>
                    <a:pt x="57" y="7"/>
                    <a:pt x="58" y="7"/>
                    <a:pt x="58" y="7"/>
                  </a:cubicBezTo>
                  <a:cubicBezTo>
                    <a:pt x="58" y="7"/>
                    <a:pt x="58" y="7"/>
                    <a:pt x="58" y="8"/>
                  </a:cubicBezTo>
                  <a:lnTo>
                    <a:pt x="58" y="85"/>
                  </a:lnTo>
                  <a:close/>
                  <a:moveTo>
                    <a:pt x="121" y="86"/>
                  </a:moveTo>
                  <a:cubicBezTo>
                    <a:pt x="121" y="86"/>
                    <a:pt x="121" y="86"/>
                    <a:pt x="120" y="87"/>
                  </a:cubicBezTo>
                  <a:cubicBezTo>
                    <a:pt x="120" y="87"/>
                    <a:pt x="120" y="87"/>
                    <a:pt x="119" y="87"/>
                  </a:cubicBezTo>
                  <a:cubicBezTo>
                    <a:pt x="119" y="87"/>
                    <a:pt x="118" y="87"/>
                    <a:pt x="117" y="87"/>
                  </a:cubicBezTo>
                  <a:cubicBezTo>
                    <a:pt x="115" y="87"/>
                    <a:pt x="115" y="87"/>
                    <a:pt x="114" y="87"/>
                  </a:cubicBezTo>
                  <a:cubicBezTo>
                    <a:pt x="113" y="87"/>
                    <a:pt x="113" y="87"/>
                    <a:pt x="113" y="87"/>
                  </a:cubicBezTo>
                  <a:cubicBezTo>
                    <a:pt x="112" y="86"/>
                    <a:pt x="112" y="86"/>
                    <a:pt x="112" y="86"/>
                  </a:cubicBezTo>
                  <a:lnTo>
                    <a:pt x="112" y="80"/>
                  </a:lnTo>
                  <a:cubicBezTo>
                    <a:pt x="110" y="83"/>
                    <a:pt x="107" y="85"/>
                    <a:pt x="104" y="86"/>
                  </a:cubicBezTo>
                  <a:cubicBezTo>
                    <a:pt x="101" y="88"/>
                    <a:pt x="98" y="88"/>
                    <a:pt x="94" y="88"/>
                  </a:cubicBezTo>
                  <a:cubicBezTo>
                    <a:pt x="91" y="88"/>
                    <a:pt x="89" y="88"/>
                    <a:pt x="86" y="87"/>
                  </a:cubicBezTo>
                  <a:cubicBezTo>
                    <a:pt x="84" y="86"/>
                    <a:pt x="82" y="85"/>
                    <a:pt x="80" y="84"/>
                  </a:cubicBezTo>
                  <a:cubicBezTo>
                    <a:pt x="78" y="82"/>
                    <a:pt x="77" y="81"/>
                    <a:pt x="76" y="78"/>
                  </a:cubicBezTo>
                  <a:cubicBezTo>
                    <a:pt x="75" y="76"/>
                    <a:pt x="75" y="74"/>
                    <a:pt x="75" y="71"/>
                  </a:cubicBezTo>
                  <a:cubicBezTo>
                    <a:pt x="75" y="68"/>
                    <a:pt x="75" y="65"/>
                    <a:pt x="77" y="63"/>
                  </a:cubicBezTo>
                  <a:cubicBezTo>
                    <a:pt x="78" y="61"/>
                    <a:pt x="80" y="59"/>
                    <a:pt x="82" y="57"/>
                  </a:cubicBezTo>
                  <a:cubicBezTo>
                    <a:pt x="85" y="56"/>
                    <a:pt x="88" y="54"/>
                    <a:pt x="91" y="54"/>
                  </a:cubicBezTo>
                  <a:cubicBezTo>
                    <a:pt x="95" y="53"/>
                    <a:pt x="99" y="52"/>
                    <a:pt x="103" y="52"/>
                  </a:cubicBezTo>
                  <a:lnTo>
                    <a:pt x="111" y="52"/>
                  </a:lnTo>
                  <a:lnTo>
                    <a:pt x="111" y="48"/>
                  </a:lnTo>
                  <a:cubicBezTo>
                    <a:pt x="111" y="46"/>
                    <a:pt x="110" y="44"/>
                    <a:pt x="110" y="42"/>
                  </a:cubicBezTo>
                  <a:cubicBezTo>
                    <a:pt x="110" y="41"/>
                    <a:pt x="109" y="39"/>
                    <a:pt x="108" y="38"/>
                  </a:cubicBezTo>
                  <a:cubicBezTo>
                    <a:pt x="107" y="37"/>
                    <a:pt x="105" y="36"/>
                    <a:pt x="104" y="36"/>
                  </a:cubicBezTo>
                  <a:cubicBezTo>
                    <a:pt x="102" y="35"/>
                    <a:pt x="100" y="35"/>
                    <a:pt x="98" y="35"/>
                  </a:cubicBezTo>
                  <a:cubicBezTo>
                    <a:pt x="95" y="35"/>
                    <a:pt x="93" y="35"/>
                    <a:pt x="91" y="36"/>
                  </a:cubicBezTo>
                  <a:cubicBezTo>
                    <a:pt x="89" y="36"/>
                    <a:pt x="87" y="37"/>
                    <a:pt x="86" y="38"/>
                  </a:cubicBezTo>
                  <a:cubicBezTo>
                    <a:pt x="84" y="38"/>
                    <a:pt x="83" y="39"/>
                    <a:pt x="82" y="40"/>
                  </a:cubicBezTo>
                  <a:cubicBezTo>
                    <a:pt x="81" y="40"/>
                    <a:pt x="80" y="41"/>
                    <a:pt x="80" y="41"/>
                  </a:cubicBezTo>
                  <a:cubicBezTo>
                    <a:pt x="79" y="41"/>
                    <a:pt x="79" y="41"/>
                    <a:pt x="79" y="40"/>
                  </a:cubicBezTo>
                  <a:cubicBezTo>
                    <a:pt x="78" y="40"/>
                    <a:pt x="78" y="40"/>
                    <a:pt x="78" y="40"/>
                  </a:cubicBezTo>
                  <a:cubicBezTo>
                    <a:pt x="78" y="39"/>
                    <a:pt x="78" y="39"/>
                    <a:pt x="78" y="38"/>
                  </a:cubicBezTo>
                  <a:cubicBezTo>
                    <a:pt x="78" y="38"/>
                    <a:pt x="78" y="37"/>
                    <a:pt x="78" y="37"/>
                  </a:cubicBezTo>
                  <a:cubicBezTo>
                    <a:pt x="78" y="36"/>
                    <a:pt x="78" y="35"/>
                    <a:pt x="78" y="34"/>
                  </a:cubicBezTo>
                  <a:cubicBezTo>
                    <a:pt x="78" y="34"/>
                    <a:pt x="78" y="33"/>
                    <a:pt x="79" y="32"/>
                  </a:cubicBezTo>
                  <a:cubicBezTo>
                    <a:pt x="79" y="32"/>
                    <a:pt x="80" y="31"/>
                    <a:pt x="82" y="31"/>
                  </a:cubicBezTo>
                  <a:cubicBezTo>
                    <a:pt x="83" y="30"/>
                    <a:pt x="85" y="29"/>
                    <a:pt x="86" y="29"/>
                  </a:cubicBezTo>
                  <a:cubicBezTo>
                    <a:pt x="88" y="28"/>
                    <a:pt x="90" y="27"/>
                    <a:pt x="92" y="27"/>
                  </a:cubicBezTo>
                  <a:cubicBezTo>
                    <a:pt x="94" y="27"/>
                    <a:pt x="97" y="26"/>
                    <a:pt x="99" y="26"/>
                  </a:cubicBezTo>
                  <a:cubicBezTo>
                    <a:pt x="103" y="26"/>
                    <a:pt x="106" y="27"/>
                    <a:pt x="109" y="28"/>
                  </a:cubicBezTo>
                  <a:cubicBezTo>
                    <a:pt x="112" y="29"/>
                    <a:pt x="114" y="30"/>
                    <a:pt x="116" y="32"/>
                  </a:cubicBezTo>
                  <a:cubicBezTo>
                    <a:pt x="118" y="34"/>
                    <a:pt x="119" y="36"/>
                    <a:pt x="120" y="38"/>
                  </a:cubicBezTo>
                  <a:cubicBezTo>
                    <a:pt x="121" y="41"/>
                    <a:pt x="121" y="44"/>
                    <a:pt x="121" y="48"/>
                  </a:cubicBezTo>
                  <a:lnTo>
                    <a:pt x="121" y="86"/>
                  </a:lnTo>
                  <a:close/>
                  <a:moveTo>
                    <a:pt x="111" y="60"/>
                  </a:moveTo>
                  <a:lnTo>
                    <a:pt x="102" y="60"/>
                  </a:lnTo>
                  <a:cubicBezTo>
                    <a:pt x="99" y="60"/>
                    <a:pt x="97" y="60"/>
                    <a:pt x="95" y="61"/>
                  </a:cubicBezTo>
                  <a:cubicBezTo>
                    <a:pt x="92" y="61"/>
                    <a:pt x="91" y="62"/>
                    <a:pt x="89" y="63"/>
                  </a:cubicBezTo>
                  <a:cubicBezTo>
                    <a:pt x="88" y="64"/>
                    <a:pt x="87" y="65"/>
                    <a:pt x="86" y="66"/>
                  </a:cubicBezTo>
                  <a:cubicBezTo>
                    <a:pt x="86" y="67"/>
                    <a:pt x="85" y="69"/>
                    <a:pt x="85" y="71"/>
                  </a:cubicBezTo>
                  <a:cubicBezTo>
                    <a:pt x="85" y="74"/>
                    <a:pt x="86" y="76"/>
                    <a:pt x="88" y="78"/>
                  </a:cubicBezTo>
                  <a:cubicBezTo>
                    <a:pt x="90" y="79"/>
                    <a:pt x="93" y="80"/>
                    <a:pt x="96" y="80"/>
                  </a:cubicBezTo>
                  <a:cubicBezTo>
                    <a:pt x="99" y="80"/>
                    <a:pt x="101" y="80"/>
                    <a:pt x="103" y="78"/>
                  </a:cubicBezTo>
                  <a:cubicBezTo>
                    <a:pt x="106" y="77"/>
                    <a:pt x="108" y="75"/>
                    <a:pt x="111" y="72"/>
                  </a:cubicBezTo>
                  <a:lnTo>
                    <a:pt x="111" y="60"/>
                  </a:lnTo>
                  <a:close/>
                  <a:moveTo>
                    <a:pt x="191" y="86"/>
                  </a:moveTo>
                  <a:cubicBezTo>
                    <a:pt x="191" y="86"/>
                    <a:pt x="191" y="86"/>
                    <a:pt x="191" y="86"/>
                  </a:cubicBezTo>
                  <a:cubicBezTo>
                    <a:pt x="191" y="87"/>
                    <a:pt x="190" y="87"/>
                    <a:pt x="190" y="87"/>
                  </a:cubicBezTo>
                  <a:cubicBezTo>
                    <a:pt x="190" y="87"/>
                    <a:pt x="189" y="87"/>
                    <a:pt x="188" y="87"/>
                  </a:cubicBezTo>
                  <a:cubicBezTo>
                    <a:pt x="188" y="87"/>
                    <a:pt x="187" y="87"/>
                    <a:pt x="186" y="87"/>
                  </a:cubicBezTo>
                  <a:cubicBezTo>
                    <a:pt x="185" y="87"/>
                    <a:pt x="184" y="87"/>
                    <a:pt x="183" y="87"/>
                  </a:cubicBezTo>
                  <a:cubicBezTo>
                    <a:pt x="183" y="87"/>
                    <a:pt x="182" y="87"/>
                    <a:pt x="182" y="87"/>
                  </a:cubicBezTo>
                  <a:cubicBezTo>
                    <a:pt x="181" y="87"/>
                    <a:pt x="181" y="87"/>
                    <a:pt x="181" y="86"/>
                  </a:cubicBezTo>
                  <a:cubicBezTo>
                    <a:pt x="181" y="86"/>
                    <a:pt x="181" y="86"/>
                    <a:pt x="181" y="86"/>
                  </a:cubicBezTo>
                  <a:lnTo>
                    <a:pt x="181" y="53"/>
                  </a:lnTo>
                  <a:cubicBezTo>
                    <a:pt x="181" y="49"/>
                    <a:pt x="180" y="47"/>
                    <a:pt x="180" y="45"/>
                  </a:cubicBezTo>
                  <a:cubicBezTo>
                    <a:pt x="179" y="43"/>
                    <a:pt x="179" y="41"/>
                    <a:pt x="178" y="40"/>
                  </a:cubicBezTo>
                  <a:cubicBezTo>
                    <a:pt x="177" y="38"/>
                    <a:pt x="176" y="37"/>
                    <a:pt x="174" y="37"/>
                  </a:cubicBezTo>
                  <a:cubicBezTo>
                    <a:pt x="173" y="36"/>
                    <a:pt x="171" y="35"/>
                    <a:pt x="169" y="35"/>
                  </a:cubicBezTo>
                  <a:cubicBezTo>
                    <a:pt x="166" y="35"/>
                    <a:pt x="164" y="36"/>
                    <a:pt x="161" y="38"/>
                  </a:cubicBezTo>
                  <a:cubicBezTo>
                    <a:pt x="158" y="40"/>
                    <a:pt x="156" y="43"/>
                    <a:pt x="153" y="46"/>
                  </a:cubicBezTo>
                  <a:lnTo>
                    <a:pt x="153" y="86"/>
                  </a:lnTo>
                  <a:cubicBezTo>
                    <a:pt x="153" y="86"/>
                    <a:pt x="153" y="86"/>
                    <a:pt x="153" y="86"/>
                  </a:cubicBezTo>
                  <a:cubicBezTo>
                    <a:pt x="152" y="87"/>
                    <a:pt x="152" y="87"/>
                    <a:pt x="152" y="87"/>
                  </a:cubicBezTo>
                  <a:cubicBezTo>
                    <a:pt x="151" y="87"/>
                    <a:pt x="151" y="87"/>
                    <a:pt x="150" y="87"/>
                  </a:cubicBezTo>
                  <a:cubicBezTo>
                    <a:pt x="150" y="87"/>
                    <a:pt x="149" y="87"/>
                    <a:pt x="148" y="87"/>
                  </a:cubicBezTo>
                  <a:cubicBezTo>
                    <a:pt x="147" y="87"/>
                    <a:pt x="146" y="87"/>
                    <a:pt x="145" y="87"/>
                  </a:cubicBezTo>
                  <a:cubicBezTo>
                    <a:pt x="145" y="87"/>
                    <a:pt x="144" y="87"/>
                    <a:pt x="144" y="87"/>
                  </a:cubicBezTo>
                  <a:cubicBezTo>
                    <a:pt x="143" y="87"/>
                    <a:pt x="143" y="87"/>
                    <a:pt x="143" y="86"/>
                  </a:cubicBezTo>
                  <a:cubicBezTo>
                    <a:pt x="143" y="86"/>
                    <a:pt x="143" y="86"/>
                    <a:pt x="143" y="86"/>
                  </a:cubicBezTo>
                  <a:lnTo>
                    <a:pt x="143" y="29"/>
                  </a:lnTo>
                  <a:cubicBezTo>
                    <a:pt x="143" y="29"/>
                    <a:pt x="143" y="29"/>
                    <a:pt x="143" y="28"/>
                  </a:cubicBezTo>
                  <a:cubicBezTo>
                    <a:pt x="143" y="28"/>
                    <a:pt x="143" y="28"/>
                    <a:pt x="144" y="28"/>
                  </a:cubicBezTo>
                  <a:cubicBezTo>
                    <a:pt x="144" y="28"/>
                    <a:pt x="144" y="27"/>
                    <a:pt x="145" y="27"/>
                  </a:cubicBezTo>
                  <a:cubicBezTo>
                    <a:pt x="146" y="27"/>
                    <a:pt x="146" y="27"/>
                    <a:pt x="147" y="27"/>
                  </a:cubicBezTo>
                  <a:cubicBezTo>
                    <a:pt x="148" y="27"/>
                    <a:pt x="149" y="27"/>
                    <a:pt x="150" y="27"/>
                  </a:cubicBezTo>
                  <a:cubicBezTo>
                    <a:pt x="150" y="27"/>
                    <a:pt x="151" y="28"/>
                    <a:pt x="151" y="28"/>
                  </a:cubicBezTo>
                  <a:cubicBezTo>
                    <a:pt x="151" y="28"/>
                    <a:pt x="152" y="28"/>
                    <a:pt x="152" y="28"/>
                  </a:cubicBezTo>
                  <a:cubicBezTo>
                    <a:pt x="152" y="29"/>
                    <a:pt x="152" y="29"/>
                    <a:pt x="152" y="29"/>
                  </a:cubicBezTo>
                  <a:lnTo>
                    <a:pt x="152" y="37"/>
                  </a:lnTo>
                  <a:cubicBezTo>
                    <a:pt x="155" y="33"/>
                    <a:pt x="158" y="31"/>
                    <a:pt x="161" y="29"/>
                  </a:cubicBezTo>
                  <a:cubicBezTo>
                    <a:pt x="165" y="27"/>
                    <a:pt x="168" y="26"/>
                    <a:pt x="171" y="26"/>
                  </a:cubicBezTo>
                  <a:cubicBezTo>
                    <a:pt x="175" y="26"/>
                    <a:pt x="178" y="27"/>
                    <a:pt x="180" y="28"/>
                  </a:cubicBezTo>
                  <a:cubicBezTo>
                    <a:pt x="183" y="30"/>
                    <a:pt x="185" y="31"/>
                    <a:pt x="187" y="33"/>
                  </a:cubicBezTo>
                  <a:cubicBezTo>
                    <a:pt x="188" y="36"/>
                    <a:pt x="189" y="38"/>
                    <a:pt x="190" y="41"/>
                  </a:cubicBezTo>
                  <a:cubicBezTo>
                    <a:pt x="191" y="44"/>
                    <a:pt x="191" y="47"/>
                    <a:pt x="191" y="51"/>
                  </a:cubicBezTo>
                  <a:lnTo>
                    <a:pt x="191" y="86"/>
                  </a:lnTo>
                  <a:close/>
                  <a:moveTo>
                    <a:pt x="255" y="86"/>
                  </a:moveTo>
                  <a:cubicBezTo>
                    <a:pt x="255" y="86"/>
                    <a:pt x="255" y="86"/>
                    <a:pt x="255" y="86"/>
                  </a:cubicBezTo>
                  <a:cubicBezTo>
                    <a:pt x="254" y="87"/>
                    <a:pt x="254" y="87"/>
                    <a:pt x="254" y="87"/>
                  </a:cubicBezTo>
                  <a:cubicBezTo>
                    <a:pt x="253" y="87"/>
                    <a:pt x="253" y="87"/>
                    <a:pt x="252" y="87"/>
                  </a:cubicBezTo>
                  <a:cubicBezTo>
                    <a:pt x="252" y="87"/>
                    <a:pt x="251" y="87"/>
                    <a:pt x="250" y="87"/>
                  </a:cubicBezTo>
                  <a:cubicBezTo>
                    <a:pt x="249" y="87"/>
                    <a:pt x="249" y="87"/>
                    <a:pt x="248" y="87"/>
                  </a:cubicBezTo>
                  <a:cubicBezTo>
                    <a:pt x="248" y="87"/>
                    <a:pt x="247" y="87"/>
                    <a:pt x="247" y="87"/>
                  </a:cubicBezTo>
                  <a:cubicBezTo>
                    <a:pt x="246" y="87"/>
                    <a:pt x="246" y="87"/>
                    <a:pt x="246" y="86"/>
                  </a:cubicBezTo>
                  <a:cubicBezTo>
                    <a:pt x="246" y="86"/>
                    <a:pt x="246" y="86"/>
                    <a:pt x="246" y="86"/>
                  </a:cubicBezTo>
                  <a:lnTo>
                    <a:pt x="246" y="78"/>
                  </a:lnTo>
                  <a:cubicBezTo>
                    <a:pt x="243" y="81"/>
                    <a:pt x="240" y="84"/>
                    <a:pt x="236" y="86"/>
                  </a:cubicBezTo>
                  <a:cubicBezTo>
                    <a:pt x="233" y="87"/>
                    <a:pt x="230" y="88"/>
                    <a:pt x="226" y="88"/>
                  </a:cubicBezTo>
                  <a:cubicBezTo>
                    <a:pt x="222" y="88"/>
                    <a:pt x="218" y="87"/>
                    <a:pt x="215" y="86"/>
                  </a:cubicBezTo>
                  <a:cubicBezTo>
                    <a:pt x="212" y="84"/>
                    <a:pt x="210" y="82"/>
                    <a:pt x="208" y="79"/>
                  </a:cubicBezTo>
                  <a:cubicBezTo>
                    <a:pt x="206" y="77"/>
                    <a:pt x="205" y="73"/>
                    <a:pt x="204" y="70"/>
                  </a:cubicBezTo>
                  <a:cubicBezTo>
                    <a:pt x="203" y="66"/>
                    <a:pt x="203" y="62"/>
                    <a:pt x="203" y="58"/>
                  </a:cubicBezTo>
                  <a:cubicBezTo>
                    <a:pt x="203" y="53"/>
                    <a:pt x="204" y="49"/>
                    <a:pt x="205" y="45"/>
                  </a:cubicBezTo>
                  <a:cubicBezTo>
                    <a:pt x="206" y="41"/>
                    <a:pt x="207" y="38"/>
                    <a:pt x="209" y="35"/>
                  </a:cubicBezTo>
                  <a:cubicBezTo>
                    <a:pt x="211" y="32"/>
                    <a:pt x="214" y="30"/>
                    <a:pt x="217" y="29"/>
                  </a:cubicBezTo>
                  <a:cubicBezTo>
                    <a:pt x="220" y="27"/>
                    <a:pt x="223" y="26"/>
                    <a:pt x="227" y="26"/>
                  </a:cubicBezTo>
                  <a:cubicBezTo>
                    <a:pt x="231" y="26"/>
                    <a:pt x="234" y="27"/>
                    <a:pt x="236" y="29"/>
                  </a:cubicBezTo>
                  <a:cubicBezTo>
                    <a:pt x="239" y="30"/>
                    <a:pt x="242" y="32"/>
                    <a:pt x="244" y="35"/>
                  </a:cubicBezTo>
                  <a:lnTo>
                    <a:pt x="244" y="2"/>
                  </a:lnTo>
                  <a:cubicBezTo>
                    <a:pt x="244" y="2"/>
                    <a:pt x="244" y="2"/>
                    <a:pt x="245" y="1"/>
                  </a:cubicBezTo>
                  <a:cubicBezTo>
                    <a:pt x="245" y="1"/>
                    <a:pt x="245" y="1"/>
                    <a:pt x="245" y="1"/>
                  </a:cubicBezTo>
                  <a:cubicBezTo>
                    <a:pt x="246" y="1"/>
                    <a:pt x="246" y="1"/>
                    <a:pt x="247" y="0"/>
                  </a:cubicBezTo>
                  <a:cubicBezTo>
                    <a:pt x="248" y="0"/>
                    <a:pt x="249" y="0"/>
                    <a:pt x="250" y="0"/>
                  </a:cubicBezTo>
                  <a:cubicBezTo>
                    <a:pt x="251" y="0"/>
                    <a:pt x="251" y="0"/>
                    <a:pt x="252" y="0"/>
                  </a:cubicBezTo>
                  <a:cubicBezTo>
                    <a:pt x="253" y="1"/>
                    <a:pt x="253" y="1"/>
                    <a:pt x="254" y="1"/>
                  </a:cubicBezTo>
                  <a:cubicBezTo>
                    <a:pt x="254" y="1"/>
                    <a:pt x="254" y="1"/>
                    <a:pt x="255" y="1"/>
                  </a:cubicBezTo>
                  <a:cubicBezTo>
                    <a:pt x="255" y="2"/>
                    <a:pt x="255" y="2"/>
                    <a:pt x="255" y="2"/>
                  </a:cubicBezTo>
                  <a:lnTo>
                    <a:pt x="255" y="86"/>
                  </a:lnTo>
                  <a:close/>
                  <a:moveTo>
                    <a:pt x="244" y="46"/>
                  </a:moveTo>
                  <a:cubicBezTo>
                    <a:pt x="242" y="42"/>
                    <a:pt x="239" y="40"/>
                    <a:pt x="236" y="38"/>
                  </a:cubicBezTo>
                  <a:cubicBezTo>
                    <a:pt x="234" y="36"/>
                    <a:pt x="231" y="35"/>
                    <a:pt x="228" y="35"/>
                  </a:cubicBezTo>
                  <a:cubicBezTo>
                    <a:pt x="226" y="35"/>
                    <a:pt x="223" y="36"/>
                    <a:pt x="221" y="37"/>
                  </a:cubicBezTo>
                  <a:cubicBezTo>
                    <a:pt x="220" y="38"/>
                    <a:pt x="218" y="40"/>
                    <a:pt x="217" y="42"/>
                  </a:cubicBezTo>
                  <a:cubicBezTo>
                    <a:pt x="216" y="44"/>
                    <a:pt x="215" y="46"/>
                    <a:pt x="215" y="49"/>
                  </a:cubicBezTo>
                  <a:cubicBezTo>
                    <a:pt x="214" y="52"/>
                    <a:pt x="214" y="54"/>
                    <a:pt x="214" y="57"/>
                  </a:cubicBezTo>
                  <a:cubicBezTo>
                    <a:pt x="214" y="60"/>
                    <a:pt x="214" y="63"/>
                    <a:pt x="214" y="65"/>
                  </a:cubicBezTo>
                  <a:cubicBezTo>
                    <a:pt x="215" y="68"/>
                    <a:pt x="216" y="70"/>
                    <a:pt x="217" y="72"/>
                  </a:cubicBezTo>
                  <a:cubicBezTo>
                    <a:pt x="218" y="75"/>
                    <a:pt x="219" y="76"/>
                    <a:pt x="221" y="78"/>
                  </a:cubicBezTo>
                  <a:cubicBezTo>
                    <a:pt x="223" y="79"/>
                    <a:pt x="225" y="79"/>
                    <a:pt x="228" y="79"/>
                  </a:cubicBezTo>
                  <a:cubicBezTo>
                    <a:pt x="229" y="79"/>
                    <a:pt x="230" y="79"/>
                    <a:pt x="232" y="79"/>
                  </a:cubicBezTo>
                  <a:cubicBezTo>
                    <a:pt x="233" y="79"/>
                    <a:pt x="234" y="78"/>
                    <a:pt x="236" y="77"/>
                  </a:cubicBezTo>
                  <a:cubicBezTo>
                    <a:pt x="237" y="76"/>
                    <a:pt x="238" y="75"/>
                    <a:pt x="240" y="74"/>
                  </a:cubicBezTo>
                  <a:cubicBezTo>
                    <a:pt x="241" y="72"/>
                    <a:pt x="243" y="70"/>
                    <a:pt x="244" y="68"/>
                  </a:cubicBezTo>
                  <a:lnTo>
                    <a:pt x="244" y="46"/>
                  </a:lnTo>
                  <a:close/>
                  <a:moveTo>
                    <a:pt x="281" y="86"/>
                  </a:moveTo>
                  <a:cubicBezTo>
                    <a:pt x="281" y="86"/>
                    <a:pt x="281" y="86"/>
                    <a:pt x="281" y="86"/>
                  </a:cubicBezTo>
                  <a:cubicBezTo>
                    <a:pt x="280" y="87"/>
                    <a:pt x="280" y="87"/>
                    <a:pt x="280" y="87"/>
                  </a:cubicBezTo>
                  <a:cubicBezTo>
                    <a:pt x="279" y="87"/>
                    <a:pt x="279" y="87"/>
                    <a:pt x="278" y="87"/>
                  </a:cubicBezTo>
                  <a:cubicBezTo>
                    <a:pt x="278" y="87"/>
                    <a:pt x="277" y="87"/>
                    <a:pt x="276" y="87"/>
                  </a:cubicBezTo>
                  <a:cubicBezTo>
                    <a:pt x="275" y="87"/>
                    <a:pt x="274" y="87"/>
                    <a:pt x="273" y="87"/>
                  </a:cubicBezTo>
                  <a:cubicBezTo>
                    <a:pt x="273" y="87"/>
                    <a:pt x="272" y="87"/>
                    <a:pt x="272" y="87"/>
                  </a:cubicBezTo>
                  <a:cubicBezTo>
                    <a:pt x="271" y="87"/>
                    <a:pt x="271" y="87"/>
                    <a:pt x="271" y="86"/>
                  </a:cubicBezTo>
                  <a:cubicBezTo>
                    <a:pt x="271" y="86"/>
                    <a:pt x="271" y="86"/>
                    <a:pt x="271" y="86"/>
                  </a:cubicBezTo>
                  <a:lnTo>
                    <a:pt x="271" y="2"/>
                  </a:lnTo>
                  <a:cubicBezTo>
                    <a:pt x="271" y="2"/>
                    <a:pt x="271" y="1"/>
                    <a:pt x="271" y="1"/>
                  </a:cubicBezTo>
                  <a:cubicBezTo>
                    <a:pt x="271" y="1"/>
                    <a:pt x="271" y="1"/>
                    <a:pt x="272" y="1"/>
                  </a:cubicBezTo>
                  <a:cubicBezTo>
                    <a:pt x="272" y="0"/>
                    <a:pt x="273" y="0"/>
                    <a:pt x="273" y="0"/>
                  </a:cubicBezTo>
                  <a:cubicBezTo>
                    <a:pt x="274" y="0"/>
                    <a:pt x="275" y="0"/>
                    <a:pt x="276" y="0"/>
                  </a:cubicBezTo>
                  <a:cubicBezTo>
                    <a:pt x="277" y="0"/>
                    <a:pt x="278" y="0"/>
                    <a:pt x="278" y="0"/>
                  </a:cubicBezTo>
                  <a:cubicBezTo>
                    <a:pt x="279" y="0"/>
                    <a:pt x="279" y="0"/>
                    <a:pt x="280" y="1"/>
                  </a:cubicBezTo>
                  <a:cubicBezTo>
                    <a:pt x="280" y="1"/>
                    <a:pt x="280" y="1"/>
                    <a:pt x="281" y="1"/>
                  </a:cubicBezTo>
                  <a:cubicBezTo>
                    <a:pt x="281" y="1"/>
                    <a:pt x="281" y="2"/>
                    <a:pt x="281" y="2"/>
                  </a:cubicBezTo>
                  <a:lnTo>
                    <a:pt x="281" y="86"/>
                  </a:lnTo>
                  <a:close/>
                  <a:moveTo>
                    <a:pt x="351" y="55"/>
                  </a:moveTo>
                  <a:cubicBezTo>
                    <a:pt x="351" y="57"/>
                    <a:pt x="350" y="58"/>
                    <a:pt x="349" y="58"/>
                  </a:cubicBezTo>
                  <a:cubicBezTo>
                    <a:pt x="349" y="59"/>
                    <a:pt x="348" y="59"/>
                    <a:pt x="347" y="59"/>
                  </a:cubicBezTo>
                  <a:lnTo>
                    <a:pt x="310" y="59"/>
                  </a:lnTo>
                  <a:cubicBezTo>
                    <a:pt x="310" y="63"/>
                    <a:pt x="310" y="65"/>
                    <a:pt x="310" y="68"/>
                  </a:cubicBezTo>
                  <a:cubicBezTo>
                    <a:pt x="311" y="70"/>
                    <a:pt x="312" y="73"/>
                    <a:pt x="314" y="74"/>
                  </a:cubicBezTo>
                  <a:cubicBezTo>
                    <a:pt x="315" y="76"/>
                    <a:pt x="317" y="77"/>
                    <a:pt x="319" y="78"/>
                  </a:cubicBezTo>
                  <a:cubicBezTo>
                    <a:pt x="322" y="79"/>
                    <a:pt x="325" y="80"/>
                    <a:pt x="328" y="80"/>
                  </a:cubicBezTo>
                  <a:cubicBezTo>
                    <a:pt x="331" y="80"/>
                    <a:pt x="333" y="80"/>
                    <a:pt x="335" y="79"/>
                  </a:cubicBezTo>
                  <a:cubicBezTo>
                    <a:pt x="337" y="79"/>
                    <a:pt x="339" y="78"/>
                    <a:pt x="341" y="78"/>
                  </a:cubicBezTo>
                  <a:cubicBezTo>
                    <a:pt x="342" y="77"/>
                    <a:pt x="343" y="77"/>
                    <a:pt x="344" y="76"/>
                  </a:cubicBezTo>
                  <a:cubicBezTo>
                    <a:pt x="345" y="76"/>
                    <a:pt x="346" y="76"/>
                    <a:pt x="347" y="76"/>
                  </a:cubicBezTo>
                  <a:cubicBezTo>
                    <a:pt x="347" y="76"/>
                    <a:pt x="347" y="76"/>
                    <a:pt x="347" y="76"/>
                  </a:cubicBezTo>
                  <a:cubicBezTo>
                    <a:pt x="348" y="76"/>
                    <a:pt x="348" y="76"/>
                    <a:pt x="348" y="77"/>
                  </a:cubicBezTo>
                  <a:cubicBezTo>
                    <a:pt x="348" y="77"/>
                    <a:pt x="348" y="77"/>
                    <a:pt x="348" y="78"/>
                  </a:cubicBezTo>
                  <a:cubicBezTo>
                    <a:pt x="348" y="78"/>
                    <a:pt x="348" y="79"/>
                    <a:pt x="348" y="80"/>
                  </a:cubicBezTo>
                  <a:cubicBezTo>
                    <a:pt x="348" y="80"/>
                    <a:pt x="348" y="81"/>
                    <a:pt x="348" y="81"/>
                  </a:cubicBezTo>
                  <a:cubicBezTo>
                    <a:pt x="348" y="81"/>
                    <a:pt x="348" y="82"/>
                    <a:pt x="348" y="82"/>
                  </a:cubicBezTo>
                  <a:cubicBezTo>
                    <a:pt x="348" y="82"/>
                    <a:pt x="348" y="83"/>
                    <a:pt x="348" y="83"/>
                  </a:cubicBezTo>
                  <a:cubicBezTo>
                    <a:pt x="348" y="83"/>
                    <a:pt x="347" y="83"/>
                    <a:pt x="347" y="84"/>
                  </a:cubicBezTo>
                  <a:cubicBezTo>
                    <a:pt x="347" y="84"/>
                    <a:pt x="346" y="84"/>
                    <a:pt x="345" y="85"/>
                  </a:cubicBezTo>
                  <a:cubicBezTo>
                    <a:pt x="344" y="85"/>
                    <a:pt x="343" y="86"/>
                    <a:pt x="341" y="86"/>
                  </a:cubicBezTo>
                  <a:cubicBezTo>
                    <a:pt x="339" y="87"/>
                    <a:pt x="337" y="87"/>
                    <a:pt x="335" y="88"/>
                  </a:cubicBezTo>
                  <a:cubicBezTo>
                    <a:pt x="332" y="88"/>
                    <a:pt x="330" y="88"/>
                    <a:pt x="327" y="88"/>
                  </a:cubicBezTo>
                  <a:cubicBezTo>
                    <a:pt x="322" y="88"/>
                    <a:pt x="318" y="88"/>
                    <a:pt x="315" y="86"/>
                  </a:cubicBezTo>
                  <a:cubicBezTo>
                    <a:pt x="311" y="85"/>
                    <a:pt x="308" y="83"/>
                    <a:pt x="306" y="81"/>
                  </a:cubicBezTo>
                  <a:cubicBezTo>
                    <a:pt x="304" y="78"/>
                    <a:pt x="302" y="75"/>
                    <a:pt x="301" y="71"/>
                  </a:cubicBezTo>
                  <a:cubicBezTo>
                    <a:pt x="299" y="67"/>
                    <a:pt x="299" y="63"/>
                    <a:pt x="299" y="58"/>
                  </a:cubicBezTo>
                  <a:cubicBezTo>
                    <a:pt x="299" y="53"/>
                    <a:pt x="299" y="48"/>
                    <a:pt x="301" y="45"/>
                  </a:cubicBezTo>
                  <a:cubicBezTo>
                    <a:pt x="302" y="41"/>
                    <a:pt x="304" y="37"/>
                    <a:pt x="306" y="35"/>
                  </a:cubicBezTo>
                  <a:cubicBezTo>
                    <a:pt x="308" y="32"/>
                    <a:pt x="311" y="30"/>
                    <a:pt x="315" y="29"/>
                  </a:cubicBezTo>
                  <a:cubicBezTo>
                    <a:pt x="318" y="27"/>
                    <a:pt x="322" y="26"/>
                    <a:pt x="326" y="26"/>
                  </a:cubicBezTo>
                  <a:cubicBezTo>
                    <a:pt x="330" y="26"/>
                    <a:pt x="334" y="27"/>
                    <a:pt x="337" y="29"/>
                  </a:cubicBezTo>
                  <a:cubicBezTo>
                    <a:pt x="340" y="30"/>
                    <a:pt x="343" y="32"/>
                    <a:pt x="345" y="34"/>
                  </a:cubicBezTo>
                  <a:cubicBezTo>
                    <a:pt x="347" y="37"/>
                    <a:pt x="348" y="40"/>
                    <a:pt x="349" y="43"/>
                  </a:cubicBezTo>
                  <a:cubicBezTo>
                    <a:pt x="350" y="46"/>
                    <a:pt x="351" y="49"/>
                    <a:pt x="351" y="53"/>
                  </a:cubicBezTo>
                  <a:lnTo>
                    <a:pt x="351" y="55"/>
                  </a:lnTo>
                  <a:close/>
                  <a:moveTo>
                    <a:pt x="340" y="52"/>
                  </a:moveTo>
                  <a:cubicBezTo>
                    <a:pt x="340" y="46"/>
                    <a:pt x="339" y="42"/>
                    <a:pt x="337" y="39"/>
                  </a:cubicBezTo>
                  <a:cubicBezTo>
                    <a:pt x="334" y="36"/>
                    <a:pt x="330" y="35"/>
                    <a:pt x="325" y="35"/>
                  </a:cubicBezTo>
                  <a:cubicBezTo>
                    <a:pt x="323" y="35"/>
                    <a:pt x="321" y="35"/>
                    <a:pt x="319" y="36"/>
                  </a:cubicBezTo>
                  <a:cubicBezTo>
                    <a:pt x="317" y="37"/>
                    <a:pt x="315" y="38"/>
                    <a:pt x="314" y="40"/>
                  </a:cubicBezTo>
                  <a:cubicBezTo>
                    <a:pt x="312" y="41"/>
                    <a:pt x="311" y="43"/>
                    <a:pt x="311" y="45"/>
                  </a:cubicBezTo>
                  <a:cubicBezTo>
                    <a:pt x="310" y="47"/>
                    <a:pt x="310" y="50"/>
                    <a:pt x="310" y="52"/>
                  </a:cubicBezTo>
                  <a:lnTo>
                    <a:pt x="340" y="52"/>
                  </a:lnTo>
                  <a:close/>
                  <a:moveTo>
                    <a:pt x="449" y="30"/>
                  </a:moveTo>
                  <a:cubicBezTo>
                    <a:pt x="449" y="34"/>
                    <a:pt x="449" y="38"/>
                    <a:pt x="447" y="41"/>
                  </a:cubicBezTo>
                  <a:cubicBezTo>
                    <a:pt x="446" y="44"/>
                    <a:pt x="444" y="47"/>
                    <a:pt x="442" y="49"/>
                  </a:cubicBezTo>
                  <a:cubicBezTo>
                    <a:pt x="439" y="51"/>
                    <a:pt x="436" y="53"/>
                    <a:pt x="433" y="54"/>
                  </a:cubicBezTo>
                  <a:cubicBezTo>
                    <a:pt x="429" y="56"/>
                    <a:pt x="425" y="56"/>
                    <a:pt x="420" y="56"/>
                  </a:cubicBezTo>
                  <a:lnTo>
                    <a:pt x="411" y="56"/>
                  </a:lnTo>
                  <a:lnTo>
                    <a:pt x="411" y="85"/>
                  </a:lnTo>
                  <a:cubicBezTo>
                    <a:pt x="411" y="86"/>
                    <a:pt x="410" y="86"/>
                    <a:pt x="410" y="86"/>
                  </a:cubicBezTo>
                  <a:cubicBezTo>
                    <a:pt x="410" y="87"/>
                    <a:pt x="410" y="87"/>
                    <a:pt x="409" y="87"/>
                  </a:cubicBezTo>
                  <a:cubicBezTo>
                    <a:pt x="409" y="87"/>
                    <a:pt x="408" y="87"/>
                    <a:pt x="408" y="87"/>
                  </a:cubicBezTo>
                  <a:cubicBezTo>
                    <a:pt x="407" y="87"/>
                    <a:pt x="406" y="87"/>
                    <a:pt x="405" y="87"/>
                  </a:cubicBezTo>
                  <a:cubicBezTo>
                    <a:pt x="404" y="87"/>
                    <a:pt x="403" y="87"/>
                    <a:pt x="403" y="87"/>
                  </a:cubicBezTo>
                  <a:cubicBezTo>
                    <a:pt x="402" y="87"/>
                    <a:pt x="401" y="87"/>
                    <a:pt x="401" y="87"/>
                  </a:cubicBezTo>
                  <a:cubicBezTo>
                    <a:pt x="400" y="87"/>
                    <a:pt x="400" y="87"/>
                    <a:pt x="400" y="86"/>
                  </a:cubicBezTo>
                  <a:cubicBezTo>
                    <a:pt x="400" y="86"/>
                    <a:pt x="400" y="86"/>
                    <a:pt x="400" y="85"/>
                  </a:cubicBezTo>
                  <a:lnTo>
                    <a:pt x="400" y="11"/>
                  </a:lnTo>
                  <a:cubicBezTo>
                    <a:pt x="400" y="9"/>
                    <a:pt x="400" y="8"/>
                    <a:pt x="401" y="7"/>
                  </a:cubicBezTo>
                  <a:cubicBezTo>
                    <a:pt x="402" y="7"/>
                    <a:pt x="403" y="6"/>
                    <a:pt x="404" y="6"/>
                  </a:cubicBezTo>
                  <a:lnTo>
                    <a:pt x="421" y="6"/>
                  </a:lnTo>
                  <a:cubicBezTo>
                    <a:pt x="423" y="6"/>
                    <a:pt x="425" y="6"/>
                    <a:pt x="426" y="6"/>
                  </a:cubicBezTo>
                  <a:cubicBezTo>
                    <a:pt x="428" y="7"/>
                    <a:pt x="430" y="7"/>
                    <a:pt x="432" y="7"/>
                  </a:cubicBezTo>
                  <a:cubicBezTo>
                    <a:pt x="434" y="8"/>
                    <a:pt x="436" y="9"/>
                    <a:pt x="439" y="10"/>
                  </a:cubicBezTo>
                  <a:cubicBezTo>
                    <a:pt x="441" y="11"/>
                    <a:pt x="443" y="13"/>
                    <a:pt x="445" y="15"/>
                  </a:cubicBezTo>
                  <a:cubicBezTo>
                    <a:pt x="446" y="17"/>
                    <a:pt x="447" y="19"/>
                    <a:pt x="448" y="22"/>
                  </a:cubicBezTo>
                  <a:cubicBezTo>
                    <a:pt x="449" y="24"/>
                    <a:pt x="449" y="27"/>
                    <a:pt x="449" y="30"/>
                  </a:cubicBezTo>
                  <a:close/>
                  <a:moveTo>
                    <a:pt x="438" y="31"/>
                  </a:moveTo>
                  <a:cubicBezTo>
                    <a:pt x="438" y="27"/>
                    <a:pt x="438" y="25"/>
                    <a:pt x="436" y="23"/>
                  </a:cubicBezTo>
                  <a:cubicBezTo>
                    <a:pt x="435" y="20"/>
                    <a:pt x="434" y="19"/>
                    <a:pt x="432" y="18"/>
                  </a:cubicBezTo>
                  <a:cubicBezTo>
                    <a:pt x="430" y="16"/>
                    <a:pt x="428" y="16"/>
                    <a:pt x="426" y="16"/>
                  </a:cubicBezTo>
                  <a:cubicBezTo>
                    <a:pt x="424" y="15"/>
                    <a:pt x="422" y="15"/>
                    <a:pt x="420" y="15"/>
                  </a:cubicBezTo>
                  <a:lnTo>
                    <a:pt x="411" y="15"/>
                  </a:lnTo>
                  <a:lnTo>
                    <a:pt x="411" y="48"/>
                  </a:lnTo>
                  <a:lnTo>
                    <a:pt x="420" y="48"/>
                  </a:lnTo>
                  <a:cubicBezTo>
                    <a:pt x="423" y="48"/>
                    <a:pt x="426" y="47"/>
                    <a:pt x="428" y="46"/>
                  </a:cubicBezTo>
                  <a:cubicBezTo>
                    <a:pt x="430" y="45"/>
                    <a:pt x="432" y="44"/>
                    <a:pt x="434" y="43"/>
                  </a:cubicBezTo>
                  <a:cubicBezTo>
                    <a:pt x="435" y="41"/>
                    <a:pt x="436" y="40"/>
                    <a:pt x="437" y="37"/>
                  </a:cubicBezTo>
                  <a:cubicBezTo>
                    <a:pt x="438" y="35"/>
                    <a:pt x="438" y="33"/>
                    <a:pt x="438" y="31"/>
                  </a:cubicBezTo>
                  <a:close/>
                  <a:moveTo>
                    <a:pt x="495" y="33"/>
                  </a:moveTo>
                  <a:cubicBezTo>
                    <a:pt x="495" y="34"/>
                    <a:pt x="495" y="35"/>
                    <a:pt x="495" y="35"/>
                  </a:cubicBezTo>
                  <a:cubicBezTo>
                    <a:pt x="495" y="36"/>
                    <a:pt x="495" y="36"/>
                    <a:pt x="495" y="37"/>
                  </a:cubicBezTo>
                  <a:cubicBezTo>
                    <a:pt x="495" y="37"/>
                    <a:pt x="495" y="37"/>
                    <a:pt x="495" y="38"/>
                  </a:cubicBezTo>
                  <a:cubicBezTo>
                    <a:pt x="495" y="38"/>
                    <a:pt x="494" y="38"/>
                    <a:pt x="494" y="38"/>
                  </a:cubicBezTo>
                  <a:cubicBezTo>
                    <a:pt x="494" y="38"/>
                    <a:pt x="493" y="38"/>
                    <a:pt x="493" y="38"/>
                  </a:cubicBezTo>
                  <a:cubicBezTo>
                    <a:pt x="492" y="37"/>
                    <a:pt x="492" y="37"/>
                    <a:pt x="491" y="37"/>
                  </a:cubicBezTo>
                  <a:cubicBezTo>
                    <a:pt x="490" y="37"/>
                    <a:pt x="490" y="37"/>
                    <a:pt x="489" y="36"/>
                  </a:cubicBezTo>
                  <a:cubicBezTo>
                    <a:pt x="488" y="36"/>
                    <a:pt x="487" y="36"/>
                    <a:pt x="487" y="36"/>
                  </a:cubicBezTo>
                  <a:cubicBezTo>
                    <a:pt x="486" y="36"/>
                    <a:pt x="485" y="36"/>
                    <a:pt x="484" y="37"/>
                  </a:cubicBezTo>
                  <a:cubicBezTo>
                    <a:pt x="483" y="37"/>
                    <a:pt x="481" y="38"/>
                    <a:pt x="480" y="39"/>
                  </a:cubicBezTo>
                  <a:cubicBezTo>
                    <a:pt x="479" y="40"/>
                    <a:pt x="478" y="41"/>
                    <a:pt x="477" y="43"/>
                  </a:cubicBezTo>
                  <a:cubicBezTo>
                    <a:pt x="476" y="44"/>
                    <a:pt x="474" y="46"/>
                    <a:pt x="473" y="49"/>
                  </a:cubicBezTo>
                  <a:lnTo>
                    <a:pt x="473" y="86"/>
                  </a:lnTo>
                  <a:cubicBezTo>
                    <a:pt x="473" y="86"/>
                    <a:pt x="473" y="86"/>
                    <a:pt x="473" y="86"/>
                  </a:cubicBezTo>
                  <a:cubicBezTo>
                    <a:pt x="472" y="87"/>
                    <a:pt x="472" y="87"/>
                    <a:pt x="472" y="87"/>
                  </a:cubicBezTo>
                  <a:cubicBezTo>
                    <a:pt x="471" y="87"/>
                    <a:pt x="471" y="87"/>
                    <a:pt x="470" y="87"/>
                  </a:cubicBezTo>
                  <a:cubicBezTo>
                    <a:pt x="470" y="87"/>
                    <a:pt x="469" y="87"/>
                    <a:pt x="468" y="87"/>
                  </a:cubicBezTo>
                  <a:cubicBezTo>
                    <a:pt x="467" y="87"/>
                    <a:pt x="466" y="87"/>
                    <a:pt x="465" y="87"/>
                  </a:cubicBezTo>
                  <a:cubicBezTo>
                    <a:pt x="465" y="87"/>
                    <a:pt x="464" y="87"/>
                    <a:pt x="464" y="87"/>
                  </a:cubicBezTo>
                  <a:cubicBezTo>
                    <a:pt x="463" y="87"/>
                    <a:pt x="463" y="87"/>
                    <a:pt x="463" y="86"/>
                  </a:cubicBezTo>
                  <a:cubicBezTo>
                    <a:pt x="463" y="86"/>
                    <a:pt x="463" y="86"/>
                    <a:pt x="463" y="86"/>
                  </a:cubicBezTo>
                  <a:lnTo>
                    <a:pt x="463" y="29"/>
                  </a:lnTo>
                  <a:cubicBezTo>
                    <a:pt x="463" y="29"/>
                    <a:pt x="463" y="29"/>
                    <a:pt x="463" y="28"/>
                  </a:cubicBezTo>
                  <a:cubicBezTo>
                    <a:pt x="463" y="28"/>
                    <a:pt x="463" y="28"/>
                    <a:pt x="464" y="28"/>
                  </a:cubicBezTo>
                  <a:cubicBezTo>
                    <a:pt x="464" y="28"/>
                    <a:pt x="464" y="27"/>
                    <a:pt x="465" y="27"/>
                  </a:cubicBezTo>
                  <a:cubicBezTo>
                    <a:pt x="466" y="27"/>
                    <a:pt x="466" y="27"/>
                    <a:pt x="467" y="27"/>
                  </a:cubicBezTo>
                  <a:cubicBezTo>
                    <a:pt x="468" y="27"/>
                    <a:pt x="469" y="27"/>
                    <a:pt x="470" y="27"/>
                  </a:cubicBezTo>
                  <a:cubicBezTo>
                    <a:pt x="470" y="27"/>
                    <a:pt x="471" y="28"/>
                    <a:pt x="471" y="28"/>
                  </a:cubicBezTo>
                  <a:cubicBezTo>
                    <a:pt x="471" y="28"/>
                    <a:pt x="472" y="28"/>
                    <a:pt x="472" y="28"/>
                  </a:cubicBezTo>
                  <a:cubicBezTo>
                    <a:pt x="472" y="29"/>
                    <a:pt x="472" y="29"/>
                    <a:pt x="472" y="29"/>
                  </a:cubicBezTo>
                  <a:lnTo>
                    <a:pt x="472" y="37"/>
                  </a:lnTo>
                  <a:cubicBezTo>
                    <a:pt x="473" y="35"/>
                    <a:pt x="475" y="33"/>
                    <a:pt x="476" y="32"/>
                  </a:cubicBezTo>
                  <a:cubicBezTo>
                    <a:pt x="478" y="31"/>
                    <a:pt x="479" y="29"/>
                    <a:pt x="480" y="29"/>
                  </a:cubicBezTo>
                  <a:cubicBezTo>
                    <a:pt x="481" y="28"/>
                    <a:pt x="483" y="27"/>
                    <a:pt x="484" y="27"/>
                  </a:cubicBezTo>
                  <a:cubicBezTo>
                    <a:pt x="485" y="27"/>
                    <a:pt x="486" y="26"/>
                    <a:pt x="487" y="26"/>
                  </a:cubicBezTo>
                  <a:cubicBezTo>
                    <a:pt x="488" y="26"/>
                    <a:pt x="488" y="26"/>
                    <a:pt x="489" y="27"/>
                  </a:cubicBezTo>
                  <a:cubicBezTo>
                    <a:pt x="490" y="27"/>
                    <a:pt x="491" y="27"/>
                    <a:pt x="491" y="27"/>
                  </a:cubicBezTo>
                  <a:cubicBezTo>
                    <a:pt x="492" y="27"/>
                    <a:pt x="493" y="27"/>
                    <a:pt x="493" y="27"/>
                  </a:cubicBezTo>
                  <a:cubicBezTo>
                    <a:pt x="494" y="28"/>
                    <a:pt x="494" y="28"/>
                    <a:pt x="495" y="28"/>
                  </a:cubicBezTo>
                  <a:cubicBezTo>
                    <a:pt x="495" y="28"/>
                    <a:pt x="495" y="28"/>
                    <a:pt x="495" y="29"/>
                  </a:cubicBezTo>
                  <a:cubicBezTo>
                    <a:pt x="495" y="29"/>
                    <a:pt x="495" y="29"/>
                    <a:pt x="495" y="29"/>
                  </a:cubicBezTo>
                  <a:cubicBezTo>
                    <a:pt x="495" y="30"/>
                    <a:pt x="495" y="30"/>
                    <a:pt x="495" y="31"/>
                  </a:cubicBezTo>
                  <a:cubicBezTo>
                    <a:pt x="495" y="31"/>
                    <a:pt x="495" y="32"/>
                    <a:pt x="495" y="33"/>
                  </a:cubicBezTo>
                  <a:close/>
                  <a:moveTo>
                    <a:pt x="521" y="86"/>
                  </a:moveTo>
                  <a:cubicBezTo>
                    <a:pt x="521" y="86"/>
                    <a:pt x="521" y="86"/>
                    <a:pt x="521" y="86"/>
                  </a:cubicBezTo>
                  <a:cubicBezTo>
                    <a:pt x="520" y="87"/>
                    <a:pt x="520" y="87"/>
                    <a:pt x="520" y="87"/>
                  </a:cubicBezTo>
                  <a:cubicBezTo>
                    <a:pt x="519" y="87"/>
                    <a:pt x="519" y="87"/>
                    <a:pt x="518" y="87"/>
                  </a:cubicBezTo>
                  <a:cubicBezTo>
                    <a:pt x="518" y="87"/>
                    <a:pt x="517" y="87"/>
                    <a:pt x="516" y="87"/>
                  </a:cubicBezTo>
                  <a:cubicBezTo>
                    <a:pt x="515" y="87"/>
                    <a:pt x="514" y="87"/>
                    <a:pt x="513" y="87"/>
                  </a:cubicBezTo>
                  <a:cubicBezTo>
                    <a:pt x="513" y="87"/>
                    <a:pt x="512" y="87"/>
                    <a:pt x="512" y="87"/>
                  </a:cubicBezTo>
                  <a:cubicBezTo>
                    <a:pt x="511" y="87"/>
                    <a:pt x="511" y="87"/>
                    <a:pt x="511" y="86"/>
                  </a:cubicBezTo>
                  <a:cubicBezTo>
                    <a:pt x="511" y="86"/>
                    <a:pt x="511" y="86"/>
                    <a:pt x="511" y="86"/>
                  </a:cubicBezTo>
                  <a:lnTo>
                    <a:pt x="511" y="29"/>
                  </a:lnTo>
                  <a:cubicBezTo>
                    <a:pt x="511" y="29"/>
                    <a:pt x="511" y="29"/>
                    <a:pt x="511" y="28"/>
                  </a:cubicBezTo>
                  <a:cubicBezTo>
                    <a:pt x="511" y="28"/>
                    <a:pt x="511" y="28"/>
                    <a:pt x="512" y="28"/>
                  </a:cubicBezTo>
                  <a:cubicBezTo>
                    <a:pt x="512" y="28"/>
                    <a:pt x="513" y="28"/>
                    <a:pt x="513" y="27"/>
                  </a:cubicBezTo>
                  <a:cubicBezTo>
                    <a:pt x="514" y="27"/>
                    <a:pt x="515" y="27"/>
                    <a:pt x="516" y="27"/>
                  </a:cubicBezTo>
                  <a:cubicBezTo>
                    <a:pt x="517" y="27"/>
                    <a:pt x="518" y="27"/>
                    <a:pt x="518" y="27"/>
                  </a:cubicBezTo>
                  <a:cubicBezTo>
                    <a:pt x="519" y="28"/>
                    <a:pt x="519" y="28"/>
                    <a:pt x="520" y="28"/>
                  </a:cubicBezTo>
                  <a:cubicBezTo>
                    <a:pt x="520" y="28"/>
                    <a:pt x="520" y="28"/>
                    <a:pt x="521" y="28"/>
                  </a:cubicBezTo>
                  <a:cubicBezTo>
                    <a:pt x="521" y="29"/>
                    <a:pt x="521" y="29"/>
                    <a:pt x="521" y="29"/>
                  </a:cubicBezTo>
                  <a:lnTo>
                    <a:pt x="521" y="86"/>
                  </a:lnTo>
                  <a:close/>
                  <a:moveTo>
                    <a:pt x="522" y="10"/>
                  </a:moveTo>
                  <a:cubicBezTo>
                    <a:pt x="522" y="13"/>
                    <a:pt x="522" y="14"/>
                    <a:pt x="521" y="15"/>
                  </a:cubicBezTo>
                  <a:cubicBezTo>
                    <a:pt x="520" y="16"/>
                    <a:pt x="518" y="17"/>
                    <a:pt x="516" y="17"/>
                  </a:cubicBezTo>
                  <a:cubicBezTo>
                    <a:pt x="513" y="17"/>
                    <a:pt x="512" y="16"/>
                    <a:pt x="511" y="15"/>
                  </a:cubicBezTo>
                  <a:cubicBezTo>
                    <a:pt x="510" y="14"/>
                    <a:pt x="509" y="13"/>
                    <a:pt x="509" y="10"/>
                  </a:cubicBezTo>
                  <a:cubicBezTo>
                    <a:pt x="509" y="8"/>
                    <a:pt x="510" y="6"/>
                    <a:pt x="511" y="5"/>
                  </a:cubicBezTo>
                  <a:cubicBezTo>
                    <a:pt x="512" y="5"/>
                    <a:pt x="513" y="4"/>
                    <a:pt x="516" y="4"/>
                  </a:cubicBezTo>
                  <a:cubicBezTo>
                    <a:pt x="518" y="4"/>
                    <a:pt x="520" y="5"/>
                    <a:pt x="521" y="5"/>
                  </a:cubicBezTo>
                  <a:cubicBezTo>
                    <a:pt x="522" y="6"/>
                    <a:pt x="522" y="8"/>
                    <a:pt x="522" y="10"/>
                  </a:cubicBezTo>
                  <a:close/>
                  <a:moveTo>
                    <a:pt x="583" y="77"/>
                  </a:moveTo>
                  <a:cubicBezTo>
                    <a:pt x="583" y="78"/>
                    <a:pt x="583" y="78"/>
                    <a:pt x="583" y="79"/>
                  </a:cubicBezTo>
                  <a:cubicBezTo>
                    <a:pt x="583" y="79"/>
                    <a:pt x="583" y="80"/>
                    <a:pt x="583" y="80"/>
                  </a:cubicBezTo>
                  <a:cubicBezTo>
                    <a:pt x="583" y="80"/>
                    <a:pt x="583" y="81"/>
                    <a:pt x="582" y="81"/>
                  </a:cubicBezTo>
                  <a:cubicBezTo>
                    <a:pt x="582" y="81"/>
                    <a:pt x="582" y="82"/>
                    <a:pt x="581" y="82"/>
                  </a:cubicBezTo>
                  <a:cubicBezTo>
                    <a:pt x="581" y="83"/>
                    <a:pt x="580" y="83"/>
                    <a:pt x="579" y="84"/>
                  </a:cubicBezTo>
                  <a:cubicBezTo>
                    <a:pt x="577" y="85"/>
                    <a:pt x="576" y="86"/>
                    <a:pt x="575" y="86"/>
                  </a:cubicBezTo>
                  <a:cubicBezTo>
                    <a:pt x="573" y="87"/>
                    <a:pt x="571" y="87"/>
                    <a:pt x="569" y="88"/>
                  </a:cubicBezTo>
                  <a:cubicBezTo>
                    <a:pt x="568" y="88"/>
                    <a:pt x="566" y="88"/>
                    <a:pt x="564" y="88"/>
                  </a:cubicBezTo>
                  <a:cubicBezTo>
                    <a:pt x="560" y="88"/>
                    <a:pt x="556" y="88"/>
                    <a:pt x="553" y="86"/>
                  </a:cubicBezTo>
                  <a:cubicBezTo>
                    <a:pt x="550" y="85"/>
                    <a:pt x="547" y="83"/>
                    <a:pt x="545" y="80"/>
                  </a:cubicBezTo>
                  <a:cubicBezTo>
                    <a:pt x="543" y="78"/>
                    <a:pt x="541" y="75"/>
                    <a:pt x="540" y="71"/>
                  </a:cubicBezTo>
                  <a:cubicBezTo>
                    <a:pt x="539" y="67"/>
                    <a:pt x="539" y="63"/>
                    <a:pt x="539" y="58"/>
                  </a:cubicBezTo>
                  <a:cubicBezTo>
                    <a:pt x="539" y="53"/>
                    <a:pt x="539" y="48"/>
                    <a:pt x="541" y="44"/>
                  </a:cubicBezTo>
                  <a:cubicBezTo>
                    <a:pt x="542" y="40"/>
                    <a:pt x="544" y="37"/>
                    <a:pt x="546" y="34"/>
                  </a:cubicBezTo>
                  <a:cubicBezTo>
                    <a:pt x="549" y="31"/>
                    <a:pt x="551" y="30"/>
                    <a:pt x="555" y="28"/>
                  </a:cubicBezTo>
                  <a:cubicBezTo>
                    <a:pt x="558" y="27"/>
                    <a:pt x="561" y="27"/>
                    <a:pt x="565" y="27"/>
                  </a:cubicBezTo>
                  <a:cubicBezTo>
                    <a:pt x="567" y="27"/>
                    <a:pt x="568" y="27"/>
                    <a:pt x="570" y="27"/>
                  </a:cubicBezTo>
                  <a:cubicBezTo>
                    <a:pt x="572" y="27"/>
                    <a:pt x="573" y="28"/>
                    <a:pt x="575" y="28"/>
                  </a:cubicBezTo>
                  <a:cubicBezTo>
                    <a:pt x="576" y="29"/>
                    <a:pt x="577" y="29"/>
                    <a:pt x="579" y="30"/>
                  </a:cubicBezTo>
                  <a:cubicBezTo>
                    <a:pt x="580" y="31"/>
                    <a:pt x="580" y="32"/>
                    <a:pt x="581" y="32"/>
                  </a:cubicBezTo>
                  <a:cubicBezTo>
                    <a:pt x="581" y="33"/>
                    <a:pt x="582" y="33"/>
                    <a:pt x="582" y="33"/>
                  </a:cubicBezTo>
                  <a:cubicBezTo>
                    <a:pt x="582" y="33"/>
                    <a:pt x="582" y="34"/>
                    <a:pt x="582" y="34"/>
                  </a:cubicBezTo>
                  <a:cubicBezTo>
                    <a:pt x="583" y="35"/>
                    <a:pt x="583" y="35"/>
                    <a:pt x="583" y="36"/>
                  </a:cubicBezTo>
                  <a:cubicBezTo>
                    <a:pt x="583" y="36"/>
                    <a:pt x="583" y="37"/>
                    <a:pt x="583" y="37"/>
                  </a:cubicBezTo>
                  <a:cubicBezTo>
                    <a:pt x="583" y="39"/>
                    <a:pt x="583" y="40"/>
                    <a:pt x="582" y="41"/>
                  </a:cubicBezTo>
                  <a:cubicBezTo>
                    <a:pt x="582" y="42"/>
                    <a:pt x="581" y="42"/>
                    <a:pt x="581" y="42"/>
                  </a:cubicBezTo>
                  <a:cubicBezTo>
                    <a:pt x="580" y="42"/>
                    <a:pt x="580" y="41"/>
                    <a:pt x="579" y="41"/>
                  </a:cubicBezTo>
                  <a:cubicBezTo>
                    <a:pt x="578" y="40"/>
                    <a:pt x="577" y="39"/>
                    <a:pt x="576" y="39"/>
                  </a:cubicBezTo>
                  <a:cubicBezTo>
                    <a:pt x="574" y="38"/>
                    <a:pt x="573" y="37"/>
                    <a:pt x="571" y="36"/>
                  </a:cubicBezTo>
                  <a:cubicBezTo>
                    <a:pt x="569" y="36"/>
                    <a:pt x="567" y="35"/>
                    <a:pt x="565" y="35"/>
                  </a:cubicBezTo>
                  <a:cubicBezTo>
                    <a:pt x="560" y="35"/>
                    <a:pt x="556" y="37"/>
                    <a:pt x="553" y="41"/>
                  </a:cubicBezTo>
                  <a:cubicBezTo>
                    <a:pt x="551" y="45"/>
                    <a:pt x="549" y="50"/>
                    <a:pt x="549" y="58"/>
                  </a:cubicBezTo>
                  <a:cubicBezTo>
                    <a:pt x="549" y="61"/>
                    <a:pt x="550" y="64"/>
                    <a:pt x="550" y="67"/>
                  </a:cubicBezTo>
                  <a:cubicBezTo>
                    <a:pt x="551" y="70"/>
                    <a:pt x="552" y="72"/>
                    <a:pt x="553" y="74"/>
                  </a:cubicBezTo>
                  <a:cubicBezTo>
                    <a:pt x="555" y="76"/>
                    <a:pt x="556" y="77"/>
                    <a:pt x="558" y="78"/>
                  </a:cubicBezTo>
                  <a:cubicBezTo>
                    <a:pt x="560" y="79"/>
                    <a:pt x="563" y="79"/>
                    <a:pt x="565" y="79"/>
                  </a:cubicBezTo>
                  <a:cubicBezTo>
                    <a:pt x="567" y="79"/>
                    <a:pt x="569" y="79"/>
                    <a:pt x="571" y="78"/>
                  </a:cubicBezTo>
                  <a:cubicBezTo>
                    <a:pt x="573" y="77"/>
                    <a:pt x="575" y="77"/>
                    <a:pt x="576" y="76"/>
                  </a:cubicBezTo>
                  <a:cubicBezTo>
                    <a:pt x="577" y="75"/>
                    <a:pt x="578" y="74"/>
                    <a:pt x="579" y="73"/>
                  </a:cubicBezTo>
                  <a:cubicBezTo>
                    <a:pt x="580" y="73"/>
                    <a:pt x="581" y="72"/>
                    <a:pt x="581" y="72"/>
                  </a:cubicBezTo>
                  <a:cubicBezTo>
                    <a:pt x="582" y="72"/>
                    <a:pt x="582" y="72"/>
                    <a:pt x="582" y="72"/>
                  </a:cubicBezTo>
                  <a:cubicBezTo>
                    <a:pt x="582" y="73"/>
                    <a:pt x="582" y="73"/>
                    <a:pt x="583" y="73"/>
                  </a:cubicBezTo>
                  <a:cubicBezTo>
                    <a:pt x="583" y="74"/>
                    <a:pt x="583" y="74"/>
                    <a:pt x="583" y="75"/>
                  </a:cubicBezTo>
                  <a:cubicBezTo>
                    <a:pt x="583" y="75"/>
                    <a:pt x="583" y="76"/>
                    <a:pt x="583" y="77"/>
                  </a:cubicBezTo>
                  <a:close/>
                  <a:moveTo>
                    <a:pt x="639" y="55"/>
                  </a:moveTo>
                  <a:cubicBezTo>
                    <a:pt x="639" y="57"/>
                    <a:pt x="638" y="58"/>
                    <a:pt x="637" y="58"/>
                  </a:cubicBezTo>
                  <a:cubicBezTo>
                    <a:pt x="637" y="59"/>
                    <a:pt x="636" y="59"/>
                    <a:pt x="635" y="59"/>
                  </a:cubicBezTo>
                  <a:lnTo>
                    <a:pt x="598" y="59"/>
                  </a:lnTo>
                  <a:cubicBezTo>
                    <a:pt x="598" y="63"/>
                    <a:pt x="598" y="65"/>
                    <a:pt x="598" y="68"/>
                  </a:cubicBezTo>
                  <a:cubicBezTo>
                    <a:pt x="599" y="70"/>
                    <a:pt x="600" y="73"/>
                    <a:pt x="602" y="74"/>
                  </a:cubicBezTo>
                  <a:cubicBezTo>
                    <a:pt x="603" y="76"/>
                    <a:pt x="605" y="77"/>
                    <a:pt x="607" y="78"/>
                  </a:cubicBezTo>
                  <a:cubicBezTo>
                    <a:pt x="610" y="79"/>
                    <a:pt x="613" y="80"/>
                    <a:pt x="616" y="80"/>
                  </a:cubicBezTo>
                  <a:cubicBezTo>
                    <a:pt x="619" y="80"/>
                    <a:pt x="621" y="80"/>
                    <a:pt x="623" y="79"/>
                  </a:cubicBezTo>
                  <a:cubicBezTo>
                    <a:pt x="625" y="79"/>
                    <a:pt x="627" y="78"/>
                    <a:pt x="629" y="78"/>
                  </a:cubicBezTo>
                  <a:cubicBezTo>
                    <a:pt x="630" y="77"/>
                    <a:pt x="631" y="77"/>
                    <a:pt x="632" y="76"/>
                  </a:cubicBezTo>
                  <a:cubicBezTo>
                    <a:pt x="633" y="76"/>
                    <a:pt x="634" y="76"/>
                    <a:pt x="635" y="76"/>
                  </a:cubicBezTo>
                  <a:cubicBezTo>
                    <a:pt x="635" y="76"/>
                    <a:pt x="635" y="76"/>
                    <a:pt x="635" y="76"/>
                  </a:cubicBezTo>
                  <a:cubicBezTo>
                    <a:pt x="636" y="76"/>
                    <a:pt x="636" y="76"/>
                    <a:pt x="636" y="77"/>
                  </a:cubicBezTo>
                  <a:cubicBezTo>
                    <a:pt x="636" y="77"/>
                    <a:pt x="636" y="77"/>
                    <a:pt x="636" y="78"/>
                  </a:cubicBezTo>
                  <a:cubicBezTo>
                    <a:pt x="636" y="78"/>
                    <a:pt x="636" y="79"/>
                    <a:pt x="636" y="80"/>
                  </a:cubicBezTo>
                  <a:cubicBezTo>
                    <a:pt x="636" y="80"/>
                    <a:pt x="636" y="81"/>
                    <a:pt x="636" y="81"/>
                  </a:cubicBezTo>
                  <a:cubicBezTo>
                    <a:pt x="636" y="81"/>
                    <a:pt x="636" y="82"/>
                    <a:pt x="636" y="82"/>
                  </a:cubicBezTo>
                  <a:cubicBezTo>
                    <a:pt x="636" y="82"/>
                    <a:pt x="636" y="83"/>
                    <a:pt x="636" y="83"/>
                  </a:cubicBezTo>
                  <a:cubicBezTo>
                    <a:pt x="636" y="83"/>
                    <a:pt x="635" y="83"/>
                    <a:pt x="635" y="84"/>
                  </a:cubicBezTo>
                  <a:cubicBezTo>
                    <a:pt x="635" y="84"/>
                    <a:pt x="634" y="84"/>
                    <a:pt x="633" y="85"/>
                  </a:cubicBezTo>
                  <a:cubicBezTo>
                    <a:pt x="632" y="85"/>
                    <a:pt x="631" y="86"/>
                    <a:pt x="629" y="86"/>
                  </a:cubicBezTo>
                  <a:cubicBezTo>
                    <a:pt x="627" y="87"/>
                    <a:pt x="625" y="87"/>
                    <a:pt x="623" y="88"/>
                  </a:cubicBezTo>
                  <a:cubicBezTo>
                    <a:pt x="620" y="88"/>
                    <a:pt x="618" y="88"/>
                    <a:pt x="615" y="88"/>
                  </a:cubicBezTo>
                  <a:cubicBezTo>
                    <a:pt x="610" y="88"/>
                    <a:pt x="606" y="88"/>
                    <a:pt x="603" y="86"/>
                  </a:cubicBezTo>
                  <a:cubicBezTo>
                    <a:pt x="599" y="85"/>
                    <a:pt x="596" y="83"/>
                    <a:pt x="594" y="81"/>
                  </a:cubicBezTo>
                  <a:cubicBezTo>
                    <a:pt x="592" y="78"/>
                    <a:pt x="590" y="75"/>
                    <a:pt x="589" y="71"/>
                  </a:cubicBezTo>
                  <a:cubicBezTo>
                    <a:pt x="587" y="67"/>
                    <a:pt x="587" y="63"/>
                    <a:pt x="587" y="58"/>
                  </a:cubicBezTo>
                  <a:cubicBezTo>
                    <a:pt x="587" y="53"/>
                    <a:pt x="587" y="48"/>
                    <a:pt x="589" y="45"/>
                  </a:cubicBezTo>
                  <a:cubicBezTo>
                    <a:pt x="590" y="41"/>
                    <a:pt x="592" y="37"/>
                    <a:pt x="594" y="35"/>
                  </a:cubicBezTo>
                  <a:cubicBezTo>
                    <a:pt x="596" y="32"/>
                    <a:pt x="599" y="30"/>
                    <a:pt x="603" y="29"/>
                  </a:cubicBezTo>
                  <a:cubicBezTo>
                    <a:pt x="606" y="27"/>
                    <a:pt x="610" y="26"/>
                    <a:pt x="614" y="26"/>
                  </a:cubicBezTo>
                  <a:cubicBezTo>
                    <a:pt x="618" y="26"/>
                    <a:pt x="622" y="27"/>
                    <a:pt x="625" y="29"/>
                  </a:cubicBezTo>
                  <a:cubicBezTo>
                    <a:pt x="628" y="30"/>
                    <a:pt x="631" y="32"/>
                    <a:pt x="633" y="34"/>
                  </a:cubicBezTo>
                  <a:cubicBezTo>
                    <a:pt x="635" y="37"/>
                    <a:pt x="636" y="40"/>
                    <a:pt x="637" y="43"/>
                  </a:cubicBezTo>
                  <a:cubicBezTo>
                    <a:pt x="638" y="46"/>
                    <a:pt x="639" y="49"/>
                    <a:pt x="639" y="53"/>
                  </a:cubicBezTo>
                  <a:lnTo>
                    <a:pt x="639" y="55"/>
                  </a:lnTo>
                  <a:close/>
                  <a:moveTo>
                    <a:pt x="628" y="52"/>
                  </a:moveTo>
                  <a:cubicBezTo>
                    <a:pt x="628" y="46"/>
                    <a:pt x="627" y="42"/>
                    <a:pt x="625" y="39"/>
                  </a:cubicBezTo>
                  <a:cubicBezTo>
                    <a:pt x="622" y="36"/>
                    <a:pt x="618" y="35"/>
                    <a:pt x="613" y="35"/>
                  </a:cubicBezTo>
                  <a:cubicBezTo>
                    <a:pt x="611" y="35"/>
                    <a:pt x="609" y="35"/>
                    <a:pt x="607" y="36"/>
                  </a:cubicBezTo>
                  <a:cubicBezTo>
                    <a:pt x="605" y="37"/>
                    <a:pt x="603" y="38"/>
                    <a:pt x="602" y="40"/>
                  </a:cubicBezTo>
                  <a:cubicBezTo>
                    <a:pt x="600" y="41"/>
                    <a:pt x="599" y="43"/>
                    <a:pt x="599" y="45"/>
                  </a:cubicBezTo>
                  <a:cubicBezTo>
                    <a:pt x="598" y="47"/>
                    <a:pt x="598" y="50"/>
                    <a:pt x="598" y="52"/>
                  </a:cubicBezTo>
                  <a:lnTo>
                    <a:pt x="628" y="52"/>
                  </a:ln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2BB1CBE5-F29E-49A2-9654-64412254BD84}"/>
                </a:ext>
              </a:extLst>
            </p:cNvPr>
            <p:cNvSpPr>
              <a:spLocks noEditPoints="1"/>
            </p:cNvSpPr>
            <p:nvPr/>
          </p:nvSpPr>
          <p:spPr bwMode="auto">
            <a:xfrm>
              <a:off x="5238" y="2006"/>
              <a:ext cx="344" cy="49"/>
            </a:xfrm>
            <a:custGeom>
              <a:avLst/>
              <a:gdLst>
                <a:gd name="T0" fmla="*/ 34 w 768"/>
                <a:gd name="T1" fmla="*/ 88 h 109"/>
                <a:gd name="T2" fmla="*/ 42 w 768"/>
                <a:gd name="T3" fmla="*/ 5 h 109"/>
                <a:gd name="T4" fmla="*/ 58 w 768"/>
                <a:gd name="T5" fmla="*/ 21 h 109"/>
                <a:gd name="T6" fmla="*/ 13 w 768"/>
                <a:gd name="T7" fmla="*/ 33 h 109"/>
                <a:gd name="T8" fmla="*/ 57 w 768"/>
                <a:gd name="T9" fmla="*/ 70 h 109"/>
                <a:gd name="T10" fmla="*/ 110 w 768"/>
                <a:gd name="T11" fmla="*/ 87 h 109"/>
                <a:gd name="T12" fmla="*/ 93 w 768"/>
                <a:gd name="T13" fmla="*/ 35 h 109"/>
                <a:gd name="T14" fmla="*/ 68 w 768"/>
                <a:gd name="T15" fmla="*/ 87 h 109"/>
                <a:gd name="T16" fmla="*/ 76 w 768"/>
                <a:gd name="T17" fmla="*/ 0 h 109"/>
                <a:gd name="T18" fmla="*/ 116 w 768"/>
                <a:gd name="T19" fmla="*/ 51 h 109"/>
                <a:gd name="T20" fmla="*/ 165 w 768"/>
                <a:gd name="T21" fmla="*/ 80 h 109"/>
                <a:gd name="T22" fmla="*/ 144 w 768"/>
                <a:gd name="T23" fmla="*/ 53 h 109"/>
                <a:gd name="T24" fmla="*/ 138 w 768"/>
                <a:gd name="T25" fmla="*/ 37 h 109"/>
                <a:gd name="T26" fmla="*/ 134 w 768"/>
                <a:gd name="T27" fmla="*/ 30 h 109"/>
                <a:gd name="T28" fmla="*/ 163 w 768"/>
                <a:gd name="T29" fmla="*/ 59 h 109"/>
                <a:gd name="T30" fmla="*/ 163 w 768"/>
                <a:gd name="T31" fmla="*/ 71 h 109"/>
                <a:gd name="T32" fmla="*/ 234 w 768"/>
                <a:gd name="T33" fmla="*/ 86 h 109"/>
                <a:gd name="T34" fmla="*/ 205 w 768"/>
                <a:gd name="T35" fmla="*/ 85 h 109"/>
                <a:gd name="T36" fmla="*/ 195 w 768"/>
                <a:gd name="T37" fmla="*/ 29 h 109"/>
                <a:gd name="T38" fmla="*/ 204 w 768"/>
                <a:gd name="T39" fmla="*/ 36 h 109"/>
                <a:gd name="T40" fmla="*/ 322 w 768"/>
                <a:gd name="T41" fmla="*/ 35 h 109"/>
                <a:gd name="T42" fmla="*/ 288 w 768"/>
                <a:gd name="T43" fmla="*/ 66 h 109"/>
                <a:gd name="T44" fmla="*/ 320 w 768"/>
                <a:gd name="T45" fmla="*/ 84 h 109"/>
                <a:gd name="T46" fmla="*/ 269 w 768"/>
                <a:gd name="T47" fmla="*/ 94 h 109"/>
                <a:gd name="T48" fmla="*/ 273 w 768"/>
                <a:gd name="T49" fmla="*/ 54 h 109"/>
                <a:gd name="T50" fmla="*/ 322 w 768"/>
                <a:gd name="T51" fmla="*/ 28 h 109"/>
                <a:gd name="T52" fmla="*/ 285 w 768"/>
                <a:gd name="T53" fmla="*/ 55 h 109"/>
                <a:gd name="T54" fmla="*/ 286 w 768"/>
                <a:gd name="T55" fmla="*/ 83 h 109"/>
                <a:gd name="T56" fmla="*/ 310 w 768"/>
                <a:gd name="T57" fmla="*/ 95 h 109"/>
                <a:gd name="T58" fmla="*/ 349 w 768"/>
                <a:gd name="T59" fmla="*/ 79 h 109"/>
                <a:gd name="T60" fmla="*/ 369 w 768"/>
                <a:gd name="T61" fmla="*/ 81 h 109"/>
                <a:gd name="T62" fmla="*/ 327 w 768"/>
                <a:gd name="T63" fmla="*/ 80 h 109"/>
                <a:gd name="T64" fmla="*/ 370 w 768"/>
                <a:gd name="T65" fmla="*/ 42 h 109"/>
                <a:gd name="T66" fmla="*/ 330 w 768"/>
                <a:gd name="T67" fmla="*/ 51 h 109"/>
                <a:gd name="T68" fmla="*/ 426 w 768"/>
                <a:gd name="T69" fmla="*/ 86 h 109"/>
                <a:gd name="T70" fmla="*/ 385 w 768"/>
                <a:gd name="T71" fmla="*/ 45 h 109"/>
                <a:gd name="T72" fmla="*/ 428 w 768"/>
                <a:gd name="T73" fmla="*/ 0 h 109"/>
                <a:gd name="T74" fmla="*/ 409 w 768"/>
                <a:gd name="T75" fmla="*/ 35 h 109"/>
                <a:gd name="T76" fmla="*/ 412 w 768"/>
                <a:gd name="T77" fmla="*/ 78 h 109"/>
                <a:gd name="T78" fmla="*/ 527 w 768"/>
                <a:gd name="T79" fmla="*/ 87 h 109"/>
                <a:gd name="T80" fmla="*/ 528 w 768"/>
                <a:gd name="T81" fmla="*/ 7 h 109"/>
                <a:gd name="T82" fmla="*/ 522 w 768"/>
                <a:gd name="T83" fmla="*/ 40 h 109"/>
                <a:gd name="T84" fmla="*/ 495 w 768"/>
                <a:gd name="T85" fmla="*/ 49 h 109"/>
                <a:gd name="T86" fmla="*/ 593 w 768"/>
                <a:gd name="T87" fmla="*/ 30 h 109"/>
                <a:gd name="T88" fmla="*/ 561 w 768"/>
                <a:gd name="T89" fmla="*/ 87 h 109"/>
                <a:gd name="T90" fmla="*/ 542 w 768"/>
                <a:gd name="T91" fmla="*/ 27 h 109"/>
                <a:gd name="T92" fmla="*/ 583 w 768"/>
                <a:gd name="T93" fmla="*/ 29 h 109"/>
                <a:gd name="T94" fmla="*/ 659 w 768"/>
                <a:gd name="T95" fmla="*/ 55 h 109"/>
                <a:gd name="T96" fmla="*/ 649 w 768"/>
                <a:gd name="T97" fmla="*/ 77 h 109"/>
                <a:gd name="T98" fmla="*/ 656 w 768"/>
                <a:gd name="T99" fmla="*/ 83 h 109"/>
                <a:gd name="T100" fmla="*/ 607 w 768"/>
                <a:gd name="T101" fmla="*/ 57 h 109"/>
                <a:gd name="T102" fmla="*/ 659 w 768"/>
                <a:gd name="T103" fmla="*/ 55 h 109"/>
                <a:gd name="T104" fmla="*/ 724 w 768"/>
                <a:gd name="T105" fmla="*/ 85 h 109"/>
                <a:gd name="T106" fmla="*/ 713 w 768"/>
                <a:gd name="T107" fmla="*/ 52 h 109"/>
                <a:gd name="T108" fmla="*/ 684 w 768"/>
                <a:gd name="T109" fmla="*/ 87 h 109"/>
                <a:gd name="T110" fmla="*/ 676 w 768"/>
                <a:gd name="T111" fmla="*/ 27 h 109"/>
                <a:gd name="T112" fmla="*/ 703 w 768"/>
                <a:gd name="T113" fmla="*/ 26 h 109"/>
                <a:gd name="T114" fmla="*/ 766 w 768"/>
                <a:gd name="T115" fmla="*/ 86 h 109"/>
                <a:gd name="T116" fmla="*/ 734 w 768"/>
                <a:gd name="T117" fmla="*/ 36 h 109"/>
                <a:gd name="T118" fmla="*/ 742 w 768"/>
                <a:gd name="T119" fmla="*/ 13 h 109"/>
                <a:gd name="T120" fmla="*/ 766 w 768"/>
                <a:gd name="T121" fmla="*/ 27 h 109"/>
                <a:gd name="T122" fmla="*/ 754 w 768"/>
                <a:gd name="T123" fmla="*/ 76 h 109"/>
                <a:gd name="T124" fmla="*/ 768 w 768"/>
                <a:gd name="T1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8" h="109">
                  <a:moveTo>
                    <a:pt x="58" y="75"/>
                  </a:moveTo>
                  <a:cubicBezTo>
                    <a:pt x="58" y="76"/>
                    <a:pt x="58" y="76"/>
                    <a:pt x="58" y="77"/>
                  </a:cubicBezTo>
                  <a:cubicBezTo>
                    <a:pt x="58" y="77"/>
                    <a:pt x="58" y="78"/>
                    <a:pt x="58" y="78"/>
                  </a:cubicBezTo>
                  <a:cubicBezTo>
                    <a:pt x="58" y="79"/>
                    <a:pt x="58" y="79"/>
                    <a:pt x="58" y="79"/>
                  </a:cubicBezTo>
                  <a:cubicBezTo>
                    <a:pt x="58" y="80"/>
                    <a:pt x="57" y="80"/>
                    <a:pt x="57" y="80"/>
                  </a:cubicBezTo>
                  <a:cubicBezTo>
                    <a:pt x="56" y="81"/>
                    <a:pt x="56" y="81"/>
                    <a:pt x="54" y="82"/>
                  </a:cubicBezTo>
                  <a:cubicBezTo>
                    <a:pt x="53" y="83"/>
                    <a:pt x="51" y="84"/>
                    <a:pt x="49" y="85"/>
                  </a:cubicBezTo>
                  <a:cubicBezTo>
                    <a:pt x="47" y="86"/>
                    <a:pt x="45" y="86"/>
                    <a:pt x="42" y="87"/>
                  </a:cubicBezTo>
                  <a:cubicBezTo>
                    <a:pt x="40" y="87"/>
                    <a:pt x="37" y="88"/>
                    <a:pt x="34" y="88"/>
                  </a:cubicBezTo>
                  <a:cubicBezTo>
                    <a:pt x="29" y="88"/>
                    <a:pt x="24" y="87"/>
                    <a:pt x="20" y="85"/>
                  </a:cubicBezTo>
                  <a:cubicBezTo>
                    <a:pt x="16" y="83"/>
                    <a:pt x="12" y="81"/>
                    <a:pt x="9" y="77"/>
                  </a:cubicBezTo>
                  <a:cubicBezTo>
                    <a:pt x="6" y="74"/>
                    <a:pt x="4" y="70"/>
                    <a:pt x="2" y="65"/>
                  </a:cubicBezTo>
                  <a:cubicBezTo>
                    <a:pt x="0" y="60"/>
                    <a:pt x="0" y="54"/>
                    <a:pt x="0" y="47"/>
                  </a:cubicBezTo>
                  <a:cubicBezTo>
                    <a:pt x="0" y="41"/>
                    <a:pt x="1" y="35"/>
                    <a:pt x="2" y="29"/>
                  </a:cubicBezTo>
                  <a:cubicBezTo>
                    <a:pt x="4" y="24"/>
                    <a:pt x="6" y="20"/>
                    <a:pt x="10" y="16"/>
                  </a:cubicBezTo>
                  <a:cubicBezTo>
                    <a:pt x="13" y="12"/>
                    <a:pt x="16" y="10"/>
                    <a:pt x="21" y="8"/>
                  </a:cubicBezTo>
                  <a:cubicBezTo>
                    <a:pt x="25" y="6"/>
                    <a:pt x="30" y="5"/>
                    <a:pt x="35" y="5"/>
                  </a:cubicBezTo>
                  <a:cubicBezTo>
                    <a:pt x="38" y="5"/>
                    <a:pt x="40" y="5"/>
                    <a:pt x="42" y="5"/>
                  </a:cubicBezTo>
                  <a:cubicBezTo>
                    <a:pt x="44" y="6"/>
                    <a:pt x="46" y="6"/>
                    <a:pt x="48" y="7"/>
                  </a:cubicBezTo>
                  <a:cubicBezTo>
                    <a:pt x="50" y="8"/>
                    <a:pt x="52" y="9"/>
                    <a:pt x="53" y="9"/>
                  </a:cubicBezTo>
                  <a:cubicBezTo>
                    <a:pt x="55" y="10"/>
                    <a:pt x="56" y="11"/>
                    <a:pt x="56" y="12"/>
                  </a:cubicBezTo>
                  <a:cubicBezTo>
                    <a:pt x="57" y="12"/>
                    <a:pt x="57" y="13"/>
                    <a:pt x="57" y="13"/>
                  </a:cubicBezTo>
                  <a:cubicBezTo>
                    <a:pt x="57" y="13"/>
                    <a:pt x="58" y="13"/>
                    <a:pt x="58" y="14"/>
                  </a:cubicBezTo>
                  <a:cubicBezTo>
                    <a:pt x="58" y="14"/>
                    <a:pt x="58" y="15"/>
                    <a:pt x="58" y="15"/>
                  </a:cubicBezTo>
                  <a:cubicBezTo>
                    <a:pt x="58" y="16"/>
                    <a:pt x="58" y="16"/>
                    <a:pt x="58" y="17"/>
                  </a:cubicBezTo>
                  <a:cubicBezTo>
                    <a:pt x="58" y="18"/>
                    <a:pt x="58" y="19"/>
                    <a:pt x="58" y="19"/>
                  </a:cubicBezTo>
                  <a:cubicBezTo>
                    <a:pt x="58" y="20"/>
                    <a:pt x="58" y="20"/>
                    <a:pt x="58" y="21"/>
                  </a:cubicBezTo>
                  <a:cubicBezTo>
                    <a:pt x="57" y="21"/>
                    <a:pt x="57" y="22"/>
                    <a:pt x="57" y="22"/>
                  </a:cubicBezTo>
                  <a:cubicBezTo>
                    <a:pt x="57" y="22"/>
                    <a:pt x="56" y="22"/>
                    <a:pt x="56" y="22"/>
                  </a:cubicBezTo>
                  <a:cubicBezTo>
                    <a:pt x="56" y="22"/>
                    <a:pt x="55" y="22"/>
                    <a:pt x="54" y="21"/>
                  </a:cubicBezTo>
                  <a:cubicBezTo>
                    <a:pt x="53" y="20"/>
                    <a:pt x="51" y="19"/>
                    <a:pt x="50" y="18"/>
                  </a:cubicBezTo>
                  <a:cubicBezTo>
                    <a:pt x="48" y="17"/>
                    <a:pt x="46" y="16"/>
                    <a:pt x="44" y="15"/>
                  </a:cubicBezTo>
                  <a:cubicBezTo>
                    <a:pt x="41" y="15"/>
                    <a:pt x="38" y="14"/>
                    <a:pt x="35" y="14"/>
                  </a:cubicBezTo>
                  <a:cubicBezTo>
                    <a:pt x="31" y="14"/>
                    <a:pt x="28" y="15"/>
                    <a:pt x="25" y="16"/>
                  </a:cubicBezTo>
                  <a:cubicBezTo>
                    <a:pt x="22" y="18"/>
                    <a:pt x="20" y="20"/>
                    <a:pt x="18" y="23"/>
                  </a:cubicBezTo>
                  <a:cubicBezTo>
                    <a:pt x="16" y="25"/>
                    <a:pt x="14" y="29"/>
                    <a:pt x="13" y="33"/>
                  </a:cubicBezTo>
                  <a:cubicBezTo>
                    <a:pt x="12" y="37"/>
                    <a:pt x="11" y="42"/>
                    <a:pt x="11" y="47"/>
                  </a:cubicBezTo>
                  <a:cubicBezTo>
                    <a:pt x="11" y="52"/>
                    <a:pt x="12" y="56"/>
                    <a:pt x="13" y="60"/>
                  </a:cubicBezTo>
                  <a:cubicBezTo>
                    <a:pt x="14" y="64"/>
                    <a:pt x="15" y="67"/>
                    <a:pt x="17" y="70"/>
                  </a:cubicBezTo>
                  <a:cubicBezTo>
                    <a:pt x="20" y="73"/>
                    <a:pt x="22" y="75"/>
                    <a:pt x="25" y="76"/>
                  </a:cubicBezTo>
                  <a:cubicBezTo>
                    <a:pt x="28" y="77"/>
                    <a:pt x="32" y="78"/>
                    <a:pt x="35" y="78"/>
                  </a:cubicBezTo>
                  <a:cubicBezTo>
                    <a:pt x="39" y="78"/>
                    <a:pt x="41" y="78"/>
                    <a:pt x="44" y="77"/>
                  </a:cubicBezTo>
                  <a:cubicBezTo>
                    <a:pt x="46" y="76"/>
                    <a:pt x="48" y="75"/>
                    <a:pt x="50" y="74"/>
                  </a:cubicBezTo>
                  <a:cubicBezTo>
                    <a:pt x="52" y="73"/>
                    <a:pt x="53" y="72"/>
                    <a:pt x="54" y="72"/>
                  </a:cubicBezTo>
                  <a:cubicBezTo>
                    <a:pt x="55" y="71"/>
                    <a:pt x="56" y="70"/>
                    <a:pt x="57" y="70"/>
                  </a:cubicBezTo>
                  <a:cubicBezTo>
                    <a:pt x="57" y="70"/>
                    <a:pt x="57" y="71"/>
                    <a:pt x="57" y="71"/>
                  </a:cubicBezTo>
                  <a:cubicBezTo>
                    <a:pt x="58" y="71"/>
                    <a:pt x="58" y="71"/>
                    <a:pt x="58" y="71"/>
                  </a:cubicBezTo>
                  <a:cubicBezTo>
                    <a:pt x="58" y="72"/>
                    <a:pt x="58" y="72"/>
                    <a:pt x="58" y="73"/>
                  </a:cubicBezTo>
                  <a:cubicBezTo>
                    <a:pt x="58" y="73"/>
                    <a:pt x="58" y="74"/>
                    <a:pt x="58" y="75"/>
                  </a:cubicBezTo>
                  <a:close/>
                  <a:moveTo>
                    <a:pt x="116" y="85"/>
                  </a:moveTo>
                  <a:cubicBezTo>
                    <a:pt x="116" y="85"/>
                    <a:pt x="116" y="86"/>
                    <a:pt x="115" y="86"/>
                  </a:cubicBezTo>
                  <a:cubicBezTo>
                    <a:pt x="115" y="86"/>
                    <a:pt x="115" y="86"/>
                    <a:pt x="115" y="87"/>
                  </a:cubicBezTo>
                  <a:cubicBezTo>
                    <a:pt x="114" y="87"/>
                    <a:pt x="114" y="87"/>
                    <a:pt x="113" y="87"/>
                  </a:cubicBezTo>
                  <a:cubicBezTo>
                    <a:pt x="112" y="87"/>
                    <a:pt x="111" y="87"/>
                    <a:pt x="110" y="87"/>
                  </a:cubicBezTo>
                  <a:cubicBezTo>
                    <a:pt x="109" y="87"/>
                    <a:pt x="109" y="87"/>
                    <a:pt x="108" y="87"/>
                  </a:cubicBezTo>
                  <a:cubicBezTo>
                    <a:pt x="107" y="87"/>
                    <a:pt x="107" y="87"/>
                    <a:pt x="106" y="87"/>
                  </a:cubicBezTo>
                  <a:cubicBezTo>
                    <a:pt x="106" y="86"/>
                    <a:pt x="106" y="86"/>
                    <a:pt x="106" y="86"/>
                  </a:cubicBezTo>
                  <a:cubicBezTo>
                    <a:pt x="105" y="86"/>
                    <a:pt x="105" y="85"/>
                    <a:pt x="105" y="85"/>
                  </a:cubicBezTo>
                  <a:lnTo>
                    <a:pt x="105" y="52"/>
                  </a:lnTo>
                  <a:cubicBezTo>
                    <a:pt x="105" y="49"/>
                    <a:pt x="105" y="46"/>
                    <a:pt x="105" y="44"/>
                  </a:cubicBezTo>
                  <a:cubicBezTo>
                    <a:pt x="104" y="42"/>
                    <a:pt x="103" y="41"/>
                    <a:pt x="102" y="39"/>
                  </a:cubicBezTo>
                  <a:cubicBezTo>
                    <a:pt x="101" y="38"/>
                    <a:pt x="100" y="37"/>
                    <a:pt x="99" y="36"/>
                  </a:cubicBezTo>
                  <a:cubicBezTo>
                    <a:pt x="97" y="35"/>
                    <a:pt x="95" y="35"/>
                    <a:pt x="93" y="35"/>
                  </a:cubicBezTo>
                  <a:cubicBezTo>
                    <a:pt x="91" y="35"/>
                    <a:pt x="88" y="36"/>
                    <a:pt x="86" y="38"/>
                  </a:cubicBezTo>
                  <a:cubicBezTo>
                    <a:pt x="83" y="40"/>
                    <a:pt x="80" y="42"/>
                    <a:pt x="77" y="46"/>
                  </a:cubicBezTo>
                  <a:lnTo>
                    <a:pt x="77" y="85"/>
                  </a:lnTo>
                  <a:cubicBezTo>
                    <a:pt x="77" y="85"/>
                    <a:pt x="77" y="86"/>
                    <a:pt x="77" y="86"/>
                  </a:cubicBezTo>
                  <a:cubicBezTo>
                    <a:pt x="77" y="86"/>
                    <a:pt x="77" y="86"/>
                    <a:pt x="76" y="87"/>
                  </a:cubicBezTo>
                  <a:cubicBezTo>
                    <a:pt x="76" y="87"/>
                    <a:pt x="76" y="87"/>
                    <a:pt x="75" y="87"/>
                  </a:cubicBezTo>
                  <a:cubicBezTo>
                    <a:pt x="74" y="87"/>
                    <a:pt x="73" y="87"/>
                    <a:pt x="72" y="87"/>
                  </a:cubicBezTo>
                  <a:cubicBezTo>
                    <a:pt x="71" y="87"/>
                    <a:pt x="70" y="87"/>
                    <a:pt x="70" y="87"/>
                  </a:cubicBezTo>
                  <a:cubicBezTo>
                    <a:pt x="69" y="87"/>
                    <a:pt x="69" y="87"/>
                    <a:pt x="68" y="87"/>
                  </a:cubicBezTo>
                  <a:cubicBezTo>
                    <a:pt x="68" y="86"/>
                    <a:pt x="68" y="86"/>
                    <a:pt x="67" y="86"/>
                  </a:cubicBezTo>
                  <a:cubicBezTo>
                    <a:pt x="67" y="86"/>
                    <a:pt x="67" y="85"/>
                    <a:pt x="67" y="85"/>
                  </a:cubicBezTo>
                  <a:lnTo>
                    <a:pt x="67" y="2"/>
                  </a:lnTo>
                  <a:cubicBezTo>
                    <a:pt x="67" y="1"/>
                    <a:pt x="67" y="1"/>
                    <a:pt x="67" y="1"/>
                  </a:cubicBezTo>
                  <a:cubicBezTo>
                    <a:pt x="68" y="0"/>
                    <a:pt x="68" y="0"/>
                    <a:pt x="68" y="0"/>
                  </a:cubicBezTo>
                  <a:cubicBezTo>
                    <a:pt x="69" y="0"/>
                    <a:pt x="69" y="0"/>
                    <a:pt x="70" y="0"/>
                  </a:cubicBezTo>
                  <a:cubicBezTo>
                    <a:pt x="70" y="0"/>
                    <a:pt x="71" y="0"/>
                    <a:pt x="72" y="0"/>
                  </a:cubicBezTo>
                  <a:cubicBezTo>
                    <a:pt x="73" y="0"/>
                    <a:pt x="74" y="0"/>
                    <a:pt x="75" y="0"/>
                  </a:cubicBezTo>
                  <a:cubicBezTo>
                    <a:pt x="76" y="0"/>
                    <a:pt x="76" y="0"/>
                    <a:pt x="76" y="0"/>
                  </a:cubicBezTo>
                  <a:cubicBezTo>
                    <a:pt x="77" y="0"/>
                    <a:pt x="77" y="0"/>
                    <a:pt x="77" y="1"/>
                  </a:cubicBezTo>
                  <a:cubicBezTo>
                    <a:pt x="77" y="1"/>
                    <a:pt x="77" y="1"/>
                    <a:pt x="77" y="2"/>
                  </a:cubicBezTo>
                  <a:lnTo>
                    <a:pt x="77" y="35"/>
                  </a:lnTo>
                  <a:cubicBezTo>
                    <a:pt x="80" y="32"/>
                    <a:pt x="83" y="30"/>
                    <a:pt x="86" y="28"/>
                  </a:cubicBezTo>
                  <a:cubicBezTo>
                    <a:pt x="89" y="27"/>
                    <a:pt x="92" y="26"/>
                    <a:pt x="95" y="26"/>
                  </a:cubicBezTo>
                  <a:cubicBezTo>
                    <a:pt x="99" y="26"/>
                    <a:pt x="102" y="27"/>
                    <a:pt x="105" y="28"/>
                  </a:cubicBezTo>
                  <a:cubicBezTo>
                    <a:pt x="108" y="29"/>
                    <a:pt x="110" y="31"/>
                    <a:pt x="111" y="33"/>
                  </a:cubicBezTo>
                  <a:cubicBezTo>
                    <a:pt x="113" y="35"/>
                    <a:pt x="114" y="38"/>
                    <a:pt x="115" y="41"/>
                  </a:cubicBezTo>
                  <a:cubicBezTo>
                    <a:pt x="115" y="43"/>
                    <a:pt x="116" y="47"/>
                    <a:pt x="116" y="51"/>
                  </a:cubicBezTo>
                  <a:lnTo>
                    <a:pt x="116" y="85"/>
                  </a:lnTo>
                  <a:close/>
                  <a:moveTo>
                    <a:pt x="174" y="85"/>
                  </a:moveTo>
                  <a:cubicBezTo>
                    <a:pt x="174" y="86"/>
                    <a:pt x="173" y="86"/>
                    <a:pt x="173" y="86"/>
                  </a:cubicBezTo>
                  <a:cubicBezTo>
                    <a:pt x="173" y="87"/>
                    <a:pt x="172" y="87"/>
                    <a:pt x="172" y="87"/>
                  </a:cubicBezTo>
                  <a:cubicBezTo>
                    <a:pt x="171" y="87"/>
                    <a:pt x="170" y="87"/>
                    <a:pt x="169" y="87"/>
                  </a:cubicBezTo>
                  <a:cubicBezTo>
                    <a:pt x="168" y="87"/>
                    <a:pt x="167" y="87"/>
                    <a:pt x="167" y="87"/>
                  </a:cubicBezTo>
                  <a:cubicBezTo>
                    <a:pt x="166" y="87"/>
                    <a:pt x="165" y="87"/>
                    <a:pt x="165" y="86"/>
                  </a:cubicBezTo>
                  <a:cubicBezTo>
                    <a:pt x="165" y="86"/>
                    <a:pt x="165" y="86"/>
                    <a:pt x="165" y="85"/>
                  </a:cubicBezTo>
                  <a:lnTo>
                    <a:pt x="165" y="80"/>
                  </a:lnTo>
                  <a:cubicBezTo>
                    <a:pt x="162" y="82"/>
                    <a:pt x="159" y="84"/>
                    <a:pt x="156" y="86"/>
                  </a:cubicBezTo>
                  <a:cubicBezTo>
                    <a:pt x="153" y="87"/>
                    <a:pt x="150" y="88"/>
                    <a:pt x="147" y="88"/>
                  </a:cubicBezTo>
                  <a:cubicBezTo>
                    <a:pt x="144" y="88"/>
                    <a:pt x="141" y="87"/>
                    <a:pt x="139" y="87"/>
                  </a:cubicBezTo>
                  <a:cubicBezTo>
                    <a:pt x="136" y="86"/>
                    <a:pt x="134" y="85"/>
                    <a:pt x="133" y="83"/>
                  </a:cubicBezTo>
                  <a:cubicBezTo>
                    <a:pt x="131" y="82"/>
                    <a:pt x="130" y="80"/>
                    <a:pt x="129" y="78"/>
                  </a:cubicBezTo>
                  <a:cubicBezTo>
                    <a:pt x="128" y="76"/>
                    <a:pt x="127" y="73"/>
                    <a:pt x="127" y="71"/>
                  </a:cubicBezTo>
                  <a:cubicBezTo>
                    <a:pt x="127" y="68"/>
                    <a:pt x="128" y="65"/>
                    <a:pt x="129" y="62"/>
                  </a:cubicBezTo>
                  <a:cubicBezTo>
                    <a:pt x="131" y="60"/>
                    <a:pt x="132" y="58"/>
                    <a:pt x="135" y="57"/>
                  </a:cubicBezTo>
                  <a:cubicBezTo>
                    <a:pt x="137" y="55"/>
                    <a:pt x="140" y="54"/>
                    <a:pt x="144" y="53"/>
                  </a:cubicBezTo>
                  <a:cubicBezTo>
                    <a:pt x="147" y="52"/>
                    <a:pt x="151" y="52"/>
                    <a:pt x="156" y="52"/>
                  </a:cubicBezTo>
                  <a:lnTo>
                    <a:pt x="163" y="52"/>
                  </a:lnTo>
                  <a:lnTo>
                    <a:pt x="163" y="48"/>
                  </a:lnTo>
                  <a:cubicBezTo>
                    <a:pt x="163" y="46"/>
                    <a:pt x="163" y="44"/>
                    <a:pt x="163" y="42"/>
                  </a:cubicBezTo>
                  <a:cubicBezTo>
                    <a:pt x="162" y="40"/>
                    <a:pt x="161" y="39"/>
                    <a:pt x="160" y="38"/>
                  </a:cubicBezTo>
                  <a:cubicBezTo>
                    <a:pt x="159" y="37"/>
                    <a:pt x="158" y="36"/>
                    <a:pt x="156" y="35"/>
                  </a:cubicBezTo>
                  <a:cubicBezTo>
                    <a:pt x="155" y="35"/>
                    <a:pt x="153" y="34"/>
                    <a:pt x="150" y="34"/>
                  </a:cubicBezTo>
                  <a:cubicBezTo>
                    <a:pt x="148" y="34"/>
                    <a:pt x="146" y="35"/>
                    <a:pt x="144" y="35"/>
                  </a:cubicBezTo>
                  <a:cubicBezTo>
                    <a:pt x="142" y="36"/>
                    <a:pt x="140" y="37"/>
                    <a:pt x="138" y="37"/>
                  </a:cubicBezTo>
                  <a:cubicBezTo>
                    <a:pt x="137" y="38"/>
                    <a:pt x="135" y="39"/>
                    <a:pt x="134" y="39"/>
                  </a:cubicBezTo>
                  <a:cubicBezTo>
                    <a:pt x="133" y="40"/>
                    <a:pt x="133" y="40"/>
                    <a:pt x="132" y="40"/>
                  </a:cubicBezTo>
                  <a:cubicBezTo>
                    <a:pt x="132" y="40"/>
                    <a:pt x="132" y="40"/>
                    <a:pt x="131" y="40"/>
                  </a:cubicBezTo>
                  <a:cubicBezTo>
                    <a:pt x="131" y="40"/>
                    <a:pt x="131" y="40"/>
                    <a:pt x="131" y="39"/>
                  </a:cubicBezTo>
                  <a:cubicBezTo>
                    <a:pt x="130" y="39"/>
                    <a:pt x="130" y="38"/>
                    <a:pt x="130" y="38"/>
                  </a:cubicBezTo>
                  <a:cubicBezTo>
                    <a:pt x="130" y="37"/>
                    <a:pt x="130" y="37"/>
                    <a:pt x="130" y="36"/>
                  </a:cubicBezTo>
                  <a:cubicBezTo>
                    <a:pt x="130" y="35"/>
                    <a:pt x="130" y="34"/>
                    <a:pt x="130" y="34"/>
                  </a:cubicBezTo>
                  <a:cubicBezTo>
                    <a:pt x="130" y="33"/>
                    <a:pt x="131" y="33"/>
                    <a:pt x="131" y="32"/>
                  </a:cubicBezTo>
                  <a:cubicBezTo>
                    <a:pt x="132" y="32"/>
                    <a:pt x="133" y="31"/>
                    <a:pt x="134" y="30"/>
                  </a:cubicBezTo>
                  <a:cubicBezTo>
                    <a:pt x="136" y="29"/>
                    <a:pt x="137" y="29"/>
                    <a:pt x="139" y="28"/>
                  </a:cubicBezTo>
                  <a:cubicBezTo>
                    <a:pt x="141" y="28"/>
                    <a:pt x="143" y="27"/>
                    <a:pt x="145" y="27"/>
                  </a:cubicBezTo>
                  <a:cubicBezTo>
                    <a:pt x="147" y="26"/>
                    <a:pt x="149" y="26"/>
                    <a:pt x="151" y="26"/>
                  </a:cubicBezTo>
                  <a:cubicBezTo>
                    <a:pt x="155" y="26"/>
                    <a:pt x="159" y="27"/>
                    <a:pt x="162" y="27"/>
                  </a:cubicBezTo>
                  <a:cubicBezTo>
                    <a:pt x="165" y="28"/>
                    <a:pt x="167" y="30"/>
                    <a:pt x="169" y="31"/>
                  </a:cubicBezTo>
                  <a:cubicBezTo>
                    <a:pt x="170" y="33"/>
                    <a:pt x="172" y="35"/>
                    <a:pt x="172" y="38"/>
                  </a:cubicBezTo>
                  <a:cubicBezTo>
                    <a:pt x="173" y="41"/>
                    <a:pt x="174" y="44"/>
                    <a:pt x="174" y="47"/>
                  </a:cubicBezTo>
                  <a:lnTo>
                    <a:pt x="174" y="85"/>
                  </a:lnTo>
                  <a:close/>
                  <a:moveTo>
                    <a:pt x="163" y="59"/>
                  </a:moveTo>
                  <a:lnTo>
                    <a:pt x="154" y="59"/>
                  </a:lnTo>
                  <a:cubicBezTo>
                    <a:pt x="152" y="59"/>
                    <a:pt x="149" y="60"/>
                    <a:pt x="147" y="60"/>
                  </a:cubicBezTo>
                  <a:cubicBezTo>
                    <a:pt x="145" y="61"/>
                    <a:pt x="143" y="61"/>
                    <a:pt x="142" y="62"/>
                  </a:cubicBezTo>
                  <a:cubicBezTo>
                    <a:pt x="141" y="63"/>
                    <a:pt x="140" y="64"/>
                    <a:pt x="139" y="66"/>
                  </a:cubicBezTo>
                  <a:cubicBezTo>
                    <a:pt x="138" y="67"/>
                    <a:pt x="138" y="69"/>
                    <a:pt x="138" y="70"/>
                  </a:cubicBezTo>
                  <a:cubicBezTo>
                    <a:pt x="138" y="73"/>
                    <a:pt x="139" y="75"/>
                    <a:pt x="141" y="77"/>
                  </a:cubicBezTo>
                  <a:cubicBezTo>
                    <a:pt x="143" y="79"/>
                    <a:pt x="145" y="80"/>
                    <a:pt x="148" y="80"/>
                  </a:cubicBezTo>
                  <a:cubicBezTo>
                    <a:pt x="151" y="80"/>
                    <a:pt x="154" y="79"/>
                    <a:pt x="156" y="78"/>
                  </a:cubicBezTo>
                  <a:cubicBezTo>
                    <a:pt x="158" y="76"/>
                    <a:pt x="161" y="74"/>
                    <a:pt x="163" y="71"/>
                  </a:cubicBezTo>
                  <a:lnTo>
                    <a:pt x="163" y="59"/>
                  </a:lnTo>
                  <a:close/>
                  <a:moveTo>
                    <a:pt x="244" y="85"/>
                  </a:moveTo>
                  <a:cubicBezTo>
                    <a:pt x="244" y="85"/>
                    <a:pt x="244" y="86"/>
                    <a:pt x="243" y="86"/>
                  </a:cubicBezTo>
                  <a:cubicBezTo>
                    <a:pt x="243" y="86"/>
                    <a:pt x="243" y="86"/>
                    <a:pt x="243" y="87"/>
                  </a:cubicBezTo>
                  <a:cubicBezTo>
                    <a:pt x="242" y="87"/>
                    <a:pt x="242" y="87"/>
                    <a:pt x="241" y="87"/>
                  </a:cubicBezTo>
                  <a:cubicBezTo>
                    <a:pt x="240" y="87"/>
                    <a:pt x="239" y="87"/>
                    <a:pt x="238" y="87"/>
                  </a:cubicBezTo>
                  <a:cubicBezTo>
                    <a:pt x="237" y="87"/>
                    <a:pt x="237" y="87"/>
                    <a:pt x="236" y="87"/>
                  </a:cubicBezTo>
                  <a:cubicBezTo>
                    <a:pt x="235" y="87"/>
                    <a:pt x="235" y="87"/>
                    <a:pt x="234" y="87"/>
                  </a:cubicBezTo>
                  <a:cubicBezTo>
                    <a:pt x="234" y="86"/>
                    <a:pt x="234" y="86"/>
                    <a:pt x="234" y="86"/>
                  </a:cubicBezTo>
                  <a:cubicBezTo>
                    <a:pt x="233" y="86"/>
                    <a:pt x="233" y="85"/>
                    <a:pt x="233" y="85"/>
                  </a:cubicBezTo>
                  <a:lnTo>
                    <a:pt x="233" y="52"/>
                  </a:lnTo>
                  <a:cubicBezTo>
                    <a:pt x="233" y="49"/>
                    <a:pt x="233" y="46"/>
                    <a:pt x="233" y="44"/>
                  </a:cubicBezTo>
                  <a:cubicBezTo>
                    <a:pt x="232" y="42"/>
                    <a:pt x="231" y="41"/>
                    <a:pt x="230" y="39"/>
                  </a:cubicBezTo>
                  <a:cubicBezTo>
                    <a:pt x="229" y="38"/>
                    <a:pt x="228" y="37"/>
                    <a:pt x="227" y="36"/>
                  </a:cubicBezTo>
                  <a:cubicBezTo>
                    <a:pt x="225" y="35"/>
                    <a:pt x="223" y="35"/>
                    <a:pt x="221" y="35"/>
                  </a:cubicBezTo>
                  <a:cubicBezTo>
                    <a:pt x="219" y="35"/>
                    <a:pt x="216" y="36"/>
                    <a:pt x="214" y="38"/>
                  </a:cubicBezTo>
                  <a:cubicBezTo>
                    <a:pt x="211" y="40"/>
                    <a:pt x="208" y="42"/>
                    <a:pt x="205" y="46"/>
                  </a:cubicBezTo>
                  <a:lnTo>
                    <a:pt x="205" y="85"/>
                  </a:lnTo>
                  <a:cubicBezTo>
                    <a:pt x="205" y="85"/>
                    <a:pt x="205" y="86"/>
                    <a:pt x="205" y="86"/>
                  </a:cubicBezTo>
                  <a:cubicBezTo>
                    <a:pt x="205" y="86"/>
                    <a:pt x="205" y="86"/>
                    <a:pt x="204" y="87"/>
                  </a:cubicBezTo>
                  <a:cubicBezTo>
                    <a:pt x="204" y="87"/>
                    <a:pt x="204" y="87"/>
                    <a:pt x="203" y="87"/>
                  </a:cubicBezTo>
                  <a:cubicBezTo>
                    <a:pt x="202" y="87"/>
                    <a:pt x="201" y="87"/>
                    <a:pt x="200" y="87"/>
                  </a:cubicBezTo>
                  <a:cubicBezTo>
                    <a:pt x="199" y="87"/>
                    <a:pt x="198" y="87"/>
                    <a:pt x="198" y="87"/>
                  </a:cubicBezTo>
                  <a:cubicBezTo>
                    <a:pt x="197" y="87"/>
                    <a:pt x="197" y="87"/>
                    <a:pt x="196" y="87"/>
                  </a:cubicBezTo>
                  <a:cubicBezTo>
                    <a:pt x="196" y="86"/>
                    <a:pt x="196" y="86"/>
                    <a:pt x="195" y="86"/>
                  </a:cubicBezTo>
                  <a:cubicBezTo>
                    <a:pt x="195" y="86"/>
                    <a:pt x="195" y="85"/>
                    <a:pt x="195" y="85"/>
                  </a:cubicBezTo>
                  <a:lnTo>
                    <a:pt x="195" y="29"/>
                  </a:lnTo>
                  <a:cubicBezTo>
                    <a:pt x="195" y="29"/>
                    <a:pt x="195" y="28"/>
                    <a:pt x="195" y="28"/>
                  </a:cubicBezTo>
                  <a:cubicBezTo>
                    <a:pt x="195" y="28"/>
                    <a:pt x="196" y="28"/>
                    <a:pt x="196" y="27"/>
                  </a:cubicBezTo>
                  <a:cubicBezTo>
                    <a:pt x="196" y="27"/>
                    <a:pt x="197" y="27"/>
                    <a:pt x="198" y="27"/>
                  </a:cubicBezTo>
                  <a:cubicBezTo>
                    <a:pt x="198" y="27"/>
                    <a:pt x="199" y="27"/>
                    <a:pt x="200" y="27"/>
                  </a:cubicBezTo>
                  <a:cubicBezTo>
                    <a:pt x="201" y="27"/>
                    <a:pt x="202" y="27"/>
                    <a:pt x="202" y="27"/>
                  </a:cubicBezTo>
                  <a:cubicBezTo>
                    <a:pt x="203" y="27"/>
                    <a:pt x="203" y="27"/>
                    <a:pt x="204" y="27"/>
                  </a:cubicBezTo>
                  <a:cubicBezTo>
                    <a:pt x="204" y="28"/>
                    <a:pt x="204" y="28"/>
                    <a:pt x="204" y="28"/>
                  </a:cubicBezTo>
                  <a:cubicBezTo>
                    <a:pt x="204" y="28"/>
                    <a:pt x="204" y="29"/>
                    <a:pt x="204" y="29"/>
                  </a:cubicBezTo>
                  <a:lnTo>
                    <a:pt x="204" y="36"/>
                  </a:lnTo>
                  <a:cubicBezTo>
                    <a:pt x="208" y="33"/>
                    <a:pt x="211" y="30"/>
                    <a:pt x="214" y="29"/>
                  </a:cubicBezTo>
                  <a:cubicBezTo>
                    <a:pt x="217" y="27"/>
                    <a:pt x="220" y="26"/>
                    <a:pt x="223" y="26"/>
                  </a:cubicBezTo>
                  <a:cubicBezTo>
                    <a:pt x="227" y="26"/>
                    <a:pt x="230" y="27"/>
                    <a:pt x="233" y="28"/>
                  </a:cubicBezTo>
                  <a:cubicBezTo>
                    <a:pt x="236" y="29"/>
                    <a:pt x="238" y="31"/>
                    <a:pt x="239" y="33"/>
                  </a:cubicBezTo>
                  <a:cubicBezTo>
                    <a:pt x="241" y="35"/>
                    <a:pt x="242" y="38"/>
                    <a:pt x="243" y="41"/>
                  </a:cubicBezTo>
                  <a:cubicBezTo>
                    <a:pt x="243" y="43"/>
                    <a:pt x="244" y="47"/>
                    <a:pt x="244" y="51"/>
                  </a:cubicBezTo>
                  <a:lnTo>
                    <a:pt x="244" y="85"/>
                  </a:lnTo>
                  <a:close/>
                  <a:moveTo>
                    <a:pt x="322" y="31"/>
                  </a:moveTo>
                  <a:cubicBezTo>
                    <a:pt x="322" y="33"/>
                    <a:pt x="322" y="34"/>
                    <a:pt x="322" y="35"/>
                  </a:cubicBezTo>
                  <a:cubicBezTo>
                    <a:pt x="321" y="35"/>
                    <a:pt x="321" y="36"/>
                    <a:pt x="320" y="36"/>
                  </a:cubicBezTo>
                  <a:lnTo>
                    <a:pt x="312" y="36"/>
                  </a:lnTo>
                  <a:cubicBezTo>
                    <a:pt x="313" y="37"/>
                    <a:pt x="314" y="39"/>
                    <a:pt x="315" y="41"/>
                  </a:cubicBezTo>
                  <a:cubicBezTo>
                    <a:pt x="316" y="42"/>
                    <a:pt x="316" y="44"/>
                    <a:pt x="316" y="46"/>
                  </a:cubicBezTo>
                  <a:cubicBezTo>
                    <a:pt x="316" y="49"/>
                    <a:pt x="315" y="52"/>
                    <a:pt x="314" y="55"/>
                  </a:cubicBezTo>
                  <a:cubicBezTo>
                    <a:pt x="313" y="57"/>
                    <a:pt x="312" y="59"/>
                    <a:pt x="310" y="61"/>
                  </a:cubicBezTo>
                  <a:cubicBezTo>
                    <a:pt x="308" y="63"/>
                    <a:pt x="306" y="64"/>
                    <a:pt x="303" y="65"/>
                  </a:cubicBezTo>
                  <a:cubicBezTo>
                    <a:pt x="300" y="66"/>
                    <a:pt x="297" y="66"/>
                    <a:pt x="294" y="66"/>
                  </a:cubicBezTo>
                  <a:cubicBezTo>
                    <a:pt x="292" y="66"/>
                    <a:pt x="290" y="66"/>
                    <a:pt x="288" y="66"/>
                  </a:cubicBezTo>
                  <a:cubicBezTo>
                    <a:pt x="286" y="65"/>
                    <a:pt x="284" y="64"/>
                    <a:pt x="283" y="63"/>
                  </a:cubicBezTo>
                  <a:cubicBezTo>
                    <a:pt x="282" y="64"/>
                    <a:pt x="281" y="65"/>
                    <a:pt x="281" y="66"/>
                  </a:cubicBezTo>
                  <a:cubicBezTo>
                    <a:pt x="280" y="67"/>
                    <a:pt x="280" y="68"/>
                    <a:pt x="280" y="69"/>
                  </a:cubicBezTo>
                  <a:cubicBezTo>
                    <a:pt x="280" y="71"/>
                    <a:pt x="281" y="72"/>
                    <a:pt x="282" y="73"/>
                  </a:cubicBezTo>
                  <a:cubicBezTo>
                    <a:pt x="284" y="74"/>
                    <a:pt x="285" y="74"/>
                    <a:pt x="288" y="74"/>
                  </a:cubicBezTo>
                  <a:lnTo>
                    <a:pt x="302" y="75"/>
                  </a:lnTo>
                  <a:cubicBezTo>
                    <a:pt x="305" y="75"/>
                    <a:pt x="308" y="75"/>
                    <a:pt x="310" y="76"/>
                  </a:cubicBezTo>
                  <a:cubicBezTo>
                    <a:pt x="312" y="77"/>
                    <a:pt x="314" y="78"/>
                    <a:pt x="316" y="79"/>
                  </a:cubicBezTo>
                  <a:cubicBezTo>
                    <a:pt x="318" y="80"/>
                    <a:pt x="319" y="82"/>
                    <a:pt x="320" y="84"/>
                  </a:cubicBezTo>
                  <a:cubicBezTo>
                    <a:pt x="321" y="86"/>
                    <a:pt x="322" y="88"/>
                    <a:pt x="322" y="90"/>
                  </a:cubicBezTo>
                  <a:cubicBezTo>
                    <a:pt x="322" y="93"/>
                    <a:pt x="321" y="95"/>
                    <a:pt x="320" y="98"/>
                  </a:cubicBezTo>
                  <a:cubicBezTo>
                    <a:pt x="319" y="100"/>
                    <a:pt x="317" y="102"/>
                    <a:pt x="315" y="104"/>
                  </a:cubicBezTo>
                  <a:cubicBezTo>
                    <a:pt x="313" y="106"/>
                    <a:pt x="310" y="107"/>
                    <a:pt x="306" y="108"/>
                  </a:cubicBezTo>
                  <a:cubicBezTo>
                    <a:pt x="303" y="109"/>
                    <a:pt x="299" y="109"/>
                    <a:pt x="294" y="109"/>
                  </a:cubicBezTo>
                  <a:cubicBezTo>
                    <a:pt x="290" y="109"/>
                    <a:pt x="286" y="109"/>
                    <a:pt x="283" y="108"/>
                  </a:cubicBezTo>
                  <a:cubicBezTo>
                    <a:pt x="279" y="108"/>
                    <a:pt x="277" y="107"/>
                    <a:pt x="275" y="105"/>
                  </a:cubicBezTo>
                  <a:cubicBezTo>
                    <a:pt x="273" y="104"/>
                    <a:pt x="271" y="102"/>
                    <a:pt x="270" y="100"/>
                  </a:cubicBezTo>
                  <a:cubicBezTo>
                    <a:pt x="269" y="99"/>
                    <a:pt x="269" y="97"/>
                    <a:pt x="269" y="94"/>
                  </a:cubicBezTo>
                  <a:cubicBezTo>
                    <a:pt x="269" y="93"/>
                    <a:pt x="269" y="92"/>
                    <a:pt x="269" y="90"/>
                  </a:cubicBezTo>
                  <a:cubicBezTo>
                    <a:pt x="270" y="89"/>
                    <a:pt x="270" y="88"/>
                    <a:pt x="271" y="87"/>
                  </a:cubicBezTo>
                  <a:cubicBezTo>
                    <a:pt x="272" y="86"/>
                    <a:pt x="273" y="84"/>
                    <a:pt x="274" y="83"/>
                  </a:cubicBezTo>
                  <a:cubicBezTo>
                    <a:pt x="275" y="82"/>
                    <a:pt x="276" y="81"/>
                    <a:pt x="277" y="80"/>
                  </a:cubicBezTo>
                  <a:cubicBezTo>
                    <a:pt x="275" y="79"/>
                    <a:pt x="274" y="78"/>
                    <a:pt x="273" y="76"/>
                  </a:cubicBezTo>
                  <a:cubicBezTo>
                    <a:pt x="272" y="75"/>
                    <a:pt x="271" y="73"/>
                    <a:pt x="271" y="71"/>
                  </a:cubicBezTo>
                  <a:cubicBezTo>
                    <a:pt x="271" y="69"/>
                    <a:pt x="272" y="66"/>
                    <a:pt x="273" y="64"/>
                  </a:cubicBezTo>
                  <a:cubicBezTo>
                    <a:pt x="274" y="62"/>
                    <a:pt x="275" y="61"/>
                    <a:pt x="276" y="59"/>
                  </a:cubicBezTo>
                  <a:cubicBezTo>
                    <a:pt x="275" y="57"/>
                    <a:pt x="274" y="56"/>
                    <a:pt x="273" y="54"/>
                  </a:cubicBezTo>
                  <a:cubicBezTo>
                    <a:pt x="273" y="52"/>
                    <a:pt x="272" y="49"/>
                    <a:pt x="272" y="47"/>
                  </a:cubicBezTo>
                  <a:cubicBezTo>
                    <a:pt x="272" y="43"/>
                    <a:pt x="273" y="41"/>
                    <a:pt x="274" y="38"/>
                  </a:cubicBezTo>
                  <a:cubicBezTo>
                    <a:pt x="275" y="36"/>
                    <a:pt x="277" y="33"/>
                    <a:pt x="278" y="32"/>
                  </a:cubicBezTo>
                  <a:cubicBezTo>
                    <a:pt x="280" y="30"/>
                    <a:pt x="283" y="29"/>
                    <a:pt x="285" y="28"/>
                  </a:cubicBezTo>
                  <a:cubicBezTo>
                    <a:pt x="288" y="27"/>
                    <a:pt x="291" y="26"/>
                    <a:pt x="294" y="26"/>
                  </a:cubicBezTo>
                  <a:cubicBezTo>
                    <a:pt x="296" y="26"/>
                    <a:pt x="297" y="26"/>
                    <a:pt x="299" y="26"/>
                  </a:cubicBezTo>
                  <a:cubicBezTo>
                    <a:pt x="300" y="27"/>
                    <a:pt x="302" y="27"/>
                    <a:pt x="303" y="27"/>
                  </a:cubicBezTo>
                  <a:lnTo>
                    <a:pt x="320" y="27"/>
                  </a:lnTo>
                  <a:cubicBezTo>
                    <a:pt x="321" y="27"/>
                    <a:pt x="321" y="28"/>
                    <a:pt x="322" y="28"/>
                  </a:cubicBezTo>
                  <a:cubicBezTo>
                    <a:pt x="322" y="29"/>
                    <a:pt x="322" y="30"/>
                    <a:pt x="322" y="31"/>
                  </a:cubicBezTo>
                  <a:close/>
                  <a:moveTo>
                    <a:pt x="306" y="46"/>
                  </a:moveTo>
                  <a:cubicBezTo>
                    <a:pt x="306" y="42"/>
                    <a:pt x="305" y="39"/>
                    <a:pt x="303" y="37"/>
                  </a:cubicBezTo>
                  <a:cubicBezTo>
                    <a:pt x="301" y="35"/>
                    <a:pt x="298" y="34"/>
                    <a:pt x="294" y="34"/>
                  </a:cubicBezTo>
                  <a:cubicBezTo>
                    <a:pt x="292" y="34"/>
                    <a:pt x="290" y="34"/>
                    <a:pt x="289" y="35"/>
                  </a:cubicBezTo>
                  <a:cubicBezTo>
                    <a:pt x="287" y="36"/>
                    <a:pt x="286" y="37"/>
                    <a:pt x="285" y="38"/>
                  </a:cubicBezTo>
                  <a:cubicBezTo>
                    <a:pt x="284" y="39"/>
                    <a:pt x="283" y="40"/>
                    <a:pt x="283" y="42"/>
                  </a:cubicBezTo>
                  <a:cubicBezTo>
                    <a:pt x="282" y="43"/>
                    <a:pt x="282" y="45"/>
                    <a:pt x="282" y="47"/>
                  </a:cubicBezTo>
                  <a:cubicBezTo>
                    <a:pt x="282" y="50"/>
                    <a:pt x="283" y="53"/>
                    <a:pt x="285" y="55"/>
                  </a:cubicBezTo>
                  <a:cubicBezTo>
                    <a:pt x="287" y="57"/>
                    <a:pt x="290" y="59"/>
                    <a:pt x="294" y="59"/>
                  </a:cubicBezTo>
                  <a:cubicBezTo>
                    <a:pt x="296" y="59"/>
                    <a:pt x="298" y="58"/>
                    <a:pt x="299" y="58"/>
                  </a:cubicBezTo>
                  <a:cubicBezTo>
                    <a:pt x="301" y="57"/>
                    <a:pt x="302" y="56"/>
                    <a:pt x="303" y="55"/>
                  </a:cubicBezTo>
                  <a:cubicBezTo>
                    <a:pt x="304" y="54"/>
                    <a:pt x="305" y="52"/>
                    <a:pt x="305" y="51"/>
                  </a:cubicBezTo>
                  <a:cubicBezTo>
                    <a:pt x="306" y="49"/>
                    <a:pt x="306" y="48"/>
                    <a:pt x="306" y="46"/>
                  </a:cubicBezTo>
                  <a:close/>
                  <a:moveTo>
                    <a:pt x="311" y="91"/>
                  </a:moveTo>
                  <a:cubicBezTo>
                    <a:pt x="311" y="88"/>
                    <a:pt x="310" y="87"/>
                    <a:pt x="308" y="85"/>
                  </a:cubicBezTo>
                  <a:cubicBezTo>
                    <a:pt x="306" y="84"/>
                    <a:pt x="304" y="83"/>
                    <a:pt x="300" y="83"/>
                  </a:cubicBezTo>
                  <a:lnTo>
                    <a:pt x="286" y="83"/>
                  </a:lnTo>
                  <a:cubicBezTo>
                    <a:pt x="284" y="84"/>
                    <a:pt x="283" y="85"/>
                    <a:pt x="282" y="86"/>
                  </a:cubicBezTo>
                  <a:cubicBezTo>
                    <a:pt x="282" y="87"/>
                    <a:pt x="281" y="87"/>
                    <a:pt x="280" y="88"/>
                  </a:cubicBezTo>
                  <a:cubicBezTo>
                    <a:pt x="280" y="89"/>
                    <a:pt x="280" y="90"/>
                    <a:pt x="279" y="91"/>
                  </a:cubicBezTo>
                  <a:cubicBezTo>
                    <a:pt x="279" y="92"/>
                    <a:pt x="279" y="92"/>
                    <a:pt x="279" y="93"/>
                  </a:cubicBezTo>
                  <a:cubicBezTo>
                    <a:pt x="279" y="96"/>
                    <a:pt x="280" y="98"/>
                    <a:pt x="283" y="100"/>
                  </a:cubicBezTo>
                  <a:cubicBezTo>
                    <a:pt x="286" y="101"/>
                    <a:pt x="290" y="102"/>
                    <a:pt x="295" y="102"/>
                  </a:cubicBezTo>
                  <a:cubicBezTo>
                    <a:pt x="298" y="102"/>
                    <a:pt x="300" y="101"/>
                    <a:pt x="303" y="101"/>
                  </a:cubicBezTo>
                  <a:cubicBezTo>
                    <a:pt x="305" y="100"/>
                    <a:pt x="306" y="99"/>
                    <a:pt x="308" y="98"/>
                  </a:cubicBezTo>
                  <a:cubicBezTo>
                    <a:pt x="309" y="97"/>
                    <a:pt x="310" y="96"/>
                    <a:pt x="310" y="95"/>
                  </a:cubicBezTo>
                  <a:cubicBezTo>
                    <a:pt x="311" y="94"/>
                    <a:pt x="311" y="92"/>
                    <a:pt x="311" y="91"/>
                  </a:cubicBezTo>
                  <a:close/>
                  <a:moveTo>
                    <a:pt x="371" y="55"/>
                  </a:moveTo>
                  <a:cubicBezTo>
                    <a:pt x="371" y="56"/>
                    <a:pt x="371" y="57"/>
                    <a:pt x="370" y="58"/>
                  </a:cubicBezTo>
                  <a:cubicBezTo>
                    <a:pt x="369" y="59"/>
                    <a:pt x="368" y="59"/>
                    <a:pt x="367" y="59"/>
                  </a:cubicBezTo>
                  <a:lnTo>
                    <a:pt x="330" y="59"/>
                  </a:lnTo>
                  <a:cubicBezTo>
                    <a:pt x="330" y="62"/>
                    <a:pt x="330" y="65"/>
                    <a:pt x="331" y="67"/>
                  </a:cubicBezTo>
                  <a:cubicBezTo>
                    <a:pt x="332" y="70"/>
                    <a:pt x="333" y="72"/>
                    <a:pt x="334" y="74"/>
                  </a:cubicBezTo>
                  <a:cubicBezTo>
                    <a:pt x="336" y="76"/>
                    <a:pt x="338" y="77"/>
                    <a:pt x="340" y="78"/>
                  </a:cubicBezTo>
                  <a:cubicBezTo>
                    <a:pt x="342" y="79"/>
                    <a:pt x="345" y="79"/>
                    <a:pt x="349" y="79"/>
                  </a:cubicBezTo>
                  <a:cubicBezTo>
                    <a:pt x="351" y="79"/>
                    <a:pt x="354" y="79"/>
                    <a:pt x="356" y="79"/>
                  </a:cubicBezTo>
                  <a:cubicBezTo>
                    <a:pt x="358" y="78"/>
                    <a:pt x="360" y="78"/>
                    <a:pt x="361" y="77"/>
                  </a:cubicBezTo>
                  <a:cubicBezTo>
                    <a:pt x="363" y="77"/>
                    <a:pt x="364" y="76"/>
                    <a:pt x="365" y="76"/>
                  </a:cubicBezTo>
                  <a:cubicBezTo>
                    <a:pt x="366" y="75"/>
                    <a:pt x="367" y="75"/>
                    <a:pt x="367" y="75"/>
                  </a:cubicBezTo>
                  <a:cubicBezTo>
                    <a:pt x="367" y="75"/>
                    <a:pt x="368" y="75"/>
                    <a:pt x="368" y="75"/>
                  </a:cubicBezTo>
                  <a:cubicBezTo>
                    <a:pt x="368" y="76"/>
                    <a:pt x="368" y="76"/>
                    <a:pt x="368" y="76"/>
                  </a:cubicBezTo>
                  <a:cubicBezTo>
                    <a:pt x="369" y="76"/>
                    <a:pt x="369" y="77"/>
                    <a:pt x="369" y="77"/>
                  </a:cubicBezTo>
                  <a:cubicBezTo>
                    <a:pt x="369" y="78"/>
                    <a:pt x="369" y="78"/>
                    <a:pt x="369" y="79"/>
                  </a:cubicBezTo>
                  <a:cubicBezTo>
                    <a:pt x="369" y="80"/>
                    <a:pt x="369" y="80"/>
                    <a:pt x="369" y="81"/>
                  </a:cubicBezTo>
                  <a:cubicBezTo>
                    <a:pt x="369" y="81"/>
                    <a:pt x="369" y="81"/>
                    <a:pt x="369" y="82"/>
                  </a:cubicBezTo>
                  <a:cubicBezTo>
                    <a:pt x="369" y="82"/>
                    <a:pt x="368" y="82"/>
                    <a:pt x="368" y="83"/>
                  </a:cubicBezTo>
                  <a:cubicBezTo>
                    <a:pt x="368" y="83"/>
                    <a:pt x="368" y="83"/>
                    <a:pt x="368" y="83"/>
                  </a:cubicBezTo>
                  <a:cubicBezTo>
                    <a:pt x="367" y="83"/>
                    <a:pt x="367" y="84"/>
                    <a:pt x="366" y="84"/>
                  </a:cubicBezTo>
                  <a:cubicBezTo>
                    <a:pt x="365" y="85"/>
                    <a:pt x="363" y="85"/>
                    <a:pt x="361" y="86"/>
                  </a:cubicBezTo>
                  <a:cubicBezTo>
                    <a:pt x="360" y="86"/>
                    <a:pt x="357" y="87"/>
                    <a:pt x="355" y="87"/>
                  </a:cubicBezTo>
                  <a:cubicBezTo>
                    <a:pt x="353" y="88"/>
                    <a:pt x="350" y="88"/>
                    <a:pt x="348" y="88"/>
                  </a:cubicBezTo>
                  <a:cubicBezTo>
                    <a:pt x="343" y="88"/>
                    <a:pt x="339" y="87"/>
                    <a:pt x="335" y="86"/>
                  </a:cubicBezTo>
                  <a:cubicBezTo>
                    <a:pt x="332" y="85"/>
                    <a:pt x="329" y="83"/>
                    <a:pt x="327" y="80"/>
                  </a:cubicBezTo>
                  <a:cubicBezTo>
                    <a:pt x="324" y="78"/>
                    <a:pt x="322" y="74"/>
                    <a:pt x="321" y="71"/>
                  </a:cubicBezTo>
                  <a:cubicBezTo>
                    <a:pt x="320" y="67"/>
                    <a:pt x="319" y="62"/>
                    <a:pt x="319" y="57"/>
                  </a:cubicBezTo>
                  <a:cubicBezTo>
                    <a:pt x="319" y="52"/>
                    <a:pt x="320" y="48"/>
                    <a:pt x="321" y="44"/>
                  </a:cubicBezTo>
                  <a:cubicBezTo>
                    <a:pt x="323" y="40"/>
                    <a:pt x="324" y="37"/>
                    <a:pt x="327" y="34"/>
                  </a:cubicBezTo>
                  <a:cubicBezTo>
                    <a:pt x="329" y="32"/>
                    <a:pt x="332" y="30"/>
                    <a:pt x="335" y="28"/>
                  </a:cubicBezTo>
                  <a:cubicBezTo>
                    <a:pt x="339" y="27"/>
                    <a:pt x="342" y="26"/>
                    <a:pt x="346" y="26"/>
                  </a:cubicBezTo>
                  <a:cubicBezTo>
                    <a:pt x="351" y="26"/>
                    <a:pt x="355" y="27"/>
                    <a:pt x="358" y="28"/>
                  </a:cubicBezTo>
                  <a:cubicBezTo>
                    <a:pt x="361" y="30"/>
                    <a:pt x="363" y="31"/>
                    <a:pt x="365" y="34"/>
                  </a:cubicBezTo>
                  <a:cubicBezTo>
                    <a:pt x="367" y="36"/>
                    <a:pt x="369" y="39"/>
                    <a:pt x="370" y="42"/>
                  </a:cubicBezTo>
                  <a:cubicBezTo>
                    <a:pt x="371" y="46"/>
                    <a:pt x="371" y="49"/>
                    <a:pt x="371" y="53"/>
                  </a:cubicBezTo>
                  <a:lnTo>
                    <a:pt x="371" y="55"/>
                  </a:lnTo>
                  <a:close/>
                  <a:moveTo>
                    <a:pt x="361" y="51"/>
                  </a:moveTo>
                  <a:cubicBezTo>
                    <a:pt x="361" y="46"/>
                    <a:pt x="360" y="42"/>
                    <a:pt x="357" y="39"/>
                  </a:cubicBezTo>
                  <a:cubicBezTo>
                    <a:pt x="355" y="36"/>
                    <a:pt x="351" y="34"/>
                    <a:pt x="346" y="34"/>
                  </a:cubicBezTo>
                  <a:cubicBezTo>
                    <a:pt x="343" y="34"/>
                    <a:pt x="341" y="35"/>
                    <a:pt x="339" y="36"/>
                  </a:cubicBezTo>
                  <a:cubicBezTo>
                    <a:pt x="337" y="37"/>
                    <a:pt x="336" y="38"/>
                    <a:pt x="334" y="39"/>
                  </a:cubicBezTo>
                  <a:cubicBezTo>
                    <a:pt x="333" y="41"/>
                    <a:pt x="332" y="43"/>
                    <a:pt x="331" y="45"/>
                  </a:cubicBezTo>
                  <a:cubicBezTo>
                    <a:pt x="331" y="47"/>
                    <a:pt x="330" y="49"/>
                    <a:pt x="330" y="51"/>
                  </a:cubicBezTo>
                  <a:lnTo>
                    <a:pt x="361" y="51"/>
                  </a:lnTo>
                  <a:close/>
                  <a:moveTo>
                    <a:pt x="435" y="85"/>
                  </a:moveTo>
                  <a:cubicBezTo>
                    <a:pt x="435" y="85"/>
                    <a:pt x="435" y="86"/>
                    <a:pt x="435" y="86"/>
                  </a:cubicBezTo>
                  <a:cubicBezTo>
                    <a:pt x="435" y="86"/>
                    <a:pt x="435" y="86"/>
                    <a:pt x="434" y="87"/>
                  </a:cubicBezTo>
                  <a:cubicBezTo>
                    <a:pt x="434" y="87"/>
                    <a:pt x="434" y="87"/>
                    <a:pt x="433" y="87"/>
                  </a:cubicBezTo>
                  <a:cubicBezTo>
                    <a:pt x="432" y="87"/>
                    <a:pt x="432" y="87"/>
                    <a:pt x="431" y="87"/>
                  </a:cubicBezTo>
                  <a:cubicBezTo>
                    <a:pt x="430" y="87"/>
                    <a:pt x="429" y="87"/>
                    <a:pt x="429" y="87"/>
                  </a:cubicBezTo>
                  <a:cubicBezTo>
                    <a:pt x="428" y="87"/>
                    <a:pt x="428" y="87"/>
                    <a:pt x="427" y="87"/>
                  </a:cubicBezTo>
                  <a:cubicBezTo>
                    <a:pt x="427" y="86"/>
                    <a:pt x="427" y="86"/>
                    <a:pt x="426" y="86"/>
                  </a:cubicBezTo>
                  <a:cubicBezTo>
                    <a:pt x="426" y="86"/>
                    <a:pt x="426" y="85"/>
                    <a:pt x="426" y="85"/>
                  </a:cubicBezTo>
                  <a:lnTo>
                    <a:pt x="426" y="78"/>
                  </a:lnTo>
                  <a:cubicBezTo>
                    <a:pt x="423" y="81"/>
                    <a:pt x="420" y="83"/>
                    <a:pt x="417" y="85"/>
                  </a:cubicBezTo>
                  <a:cubicBezTo>
                    <a:pt x="414" y="87"/>
                    <a:pt x="410" y="88"/>
                    <a:pt x="406" y="88"/>
                  </a:cubicBezTo>
                  <a:cubicBezTo>
                    <a:pt x="402" y="88"/>
                    <a:pt x="399" y="87"/>
                    <a:pt x="396" y="85"/>
                  </a:cubicBezTo>
                  <a:cubicBezTo>
                    <a:pt x="393" y="84"/>
                    <a:pt x="391" y="82"/>
                    <a:pt x="389" y="79"/>
                  </a:cubicBezTo>
                  <a:cubicBezTo>
                    <a:pt x="387" y="76"/>
                    <a:pt x="386" y="73"/>
                    <a:pt x="385" y="69"/>
                  </a:cubicBezTo>
                  <a:cubicBezTo>
                    <a:pt x="384" y="66"/>
                    <a:pt x="384" y="62"/>
                    <a:pt x="384" y="58"/>
                  </a:cubicBezTo>
                  <a:cubicBezTo>
                    <a:pt x="384" y="53"/>
                    <a:pt x="384" y="48"/>
                    <a:pt x="385" y="45"/>
                  </a:cubicBezTo>
                  <a:cubicBezTo>
                    <a:pt x="386" y="41"/>
                    <a:pt x="388" y="37"/>
                    <a:pt x="390" y="35"/>
                  </a:cubicBezTo>
                  <a:cubicBezTo>
                    <a:pt x="392" y="32"/>
                    <a:pt x="394" y="30"/>
                    <a:pt x="397" y="28"/>
                  </a:cubicBezTo>
                  <a:cubicBezTo>
                    <a:pt x="400" y="27"/>
                    <a:pt x="404" y="26"/>
                    <a:pt x="408" y="26"/>
                  </a:cubicBezTo>
                  <a:cubicBezTo>
                    <a:pt x="411" y="26"/>
                    <a:pt x="414" y="27"/>
                    <a:pt x="417" y="28"/>
                  </a:cubicBezTo>
                  <a:cubicBezTo>
                    <a:pt x="420" y="30"/>
                    <a:pt x="422" y="32"/>
                    <a:pt x="425" y="35"/>
                  </a:cubicBezTo>
                  <a:lnTo>
                    <a:pt x="425" y="2"/>
                  </a:lnTo>
                  <a:cubicBezTo>
                    <a:pt x="425" y="2"/>
                    <a:pt x="425" y="1"/>
                    <a:pt x="425" y="1"/>
                  </a:cubicBezTo>
                  <a:cubicBezTo>
                    <a:pt x="425" y="1"/>
                    <a:pt x="426" y="1"/>
                    <a:pt x="426" y="0"/>
                  </a:cubicBezTo>
                  <a:cubicBezTo>
                    <a:pt x="426" y="0"/>
                    <a:pt x="427" y="0"/>
                    <a:pt x="428" y="0"/>
                  </a:cubicBezTo>
                  <a:cubicBezTo>
                    <a:pt x="428" y="0"/>
                    <a:pt x="429" y="0"/>
                    <a:pt x="430" y="0"/>
                  </a:cubicBezTo>
                  <a:cubicBezTo>
                    <a:pt x="431" y="0"/>
                    <a:pt x="432" y="0"/>
                    <a:pt x="433" y="0"/>
                  </a:cubicBezTo>
                  <a:cubicBezTo>
                    <a:pt x="433" y="0"/>
                    <a:pt x="434" y="0"/>
                    <a:pt x="434" y="0"/>
                  </a:cubicBezTo>
                  <a:cubicBezTo>
                    <a:pt x="435" y="1"/>
                    <a:pt x="435" y="1"/>
                    <a:pt x="435" y="1"/>
                  </a:cubicBezTo>
                  <a:cubicBezTo>
                    <a:pt x="435" y="1"/>
                    <a:pt x="435" y="2"/>
                    <a:pt x="435" y="2"/>
                  </a:cubicBezTo>
                  <a:lnTo>
                    <a:pt x="435" y="85"/>
                  </a:lnTo>
                  <a:close/>
                  <a:moveTo>
                    <a:pt x="425" y="46"/>
                  </a:moveTo>
                  <a:cubicBezTo>
                    <a:pt x="422" y="42"/>
                    <a:pt x="420" y="39"/>
                    <a:pt x="417" y="38"/>
                  </a:cubicBezTo>
                  <a:cubicBezTo>
                    <a:pt x="414" y="36"/>
                    <a:pt x="412" y="35"/>
                    <a:pt x="409" y="35"/>
                  </a:cubicBezTo>
                  <a:cubicBezTo>
                    <a:pt x="406" y="35"/>
                    <a:pt x="404" y="36"/>
                    <a:pt x="402" y="37"/>
                  </a:cubicBezTo>
                  <a:cubicBezTo>
                    <a:pt x="400" y="38"/>
                    <a:pt x="399" y="40"/>
                    <a:pt x="398" y="42"/>
                  </a:cubicBezTo>
                  <a:cubicBezTo>
                    <a:pt x="396" y="44"/>
                    <a:pt x="396" y="46"/>
                    <a:pt x="395" y="49"/>
                  </a:cubicBezTo>
                  <a:cubicBezTo>
                    <a:pt x="395" y="51"/>
                    <a:pt x="394" y="54"/>
                    <a:pt x="394" y="57"/>
                  </a:cubicBezTo>
                  <a:cubicBezTo>
                    <a:pt x="394" y="59"/>
                    <a:pt x="395" y="62"/>
                    <a:pt x="395" y="65"/>
                  </a:cubicBezTo>
                  <a:cubicBezTo>
                    <a:pt x="395" y="68"/>
                    <a:pt x="396" y="70"/>
                    <a:pt x="397" y="72"/>
                  </a:cubicBezTo>
                  <a:cubicBezTo>
                    <a:pt x="398" y="74"/>
                    <a:pt x="400" y="76"/>
                    <a:pt x="402" y="77"/>
                  </a:cubicBezTo>
                  <a:cubicBezTo>
                    <a:pt x="403" y="78"/>
                    <a:pt x="406" y="79"/>
                    <a:pt x="408" y="79"/>
                  </a:cubicBezTo>
                  <a:cubicBezTo>
                    <a:pt x="410" y="79"/>
                    <a:pt x="411" y="79"/>
                    <a:pt x="412" y="78"/>
                  </a:cubicBezTo>
                  <a:cubicBezTo>
                    <a:pt x="414" y="78"/>
                    <a:pt x="415" y="77"/>
                    <a:pt x="416" y="77"/>
                  </a:cubicBezTo>
                  <a:cubicBezTo>
                    <a:pt x="418" y="76"/>
                    <a:pt x="419" y="75"/>
                    <a:pt x="420" y="73"/>
                  </a:cubicBezTo>
                  <a:cubicBezTo>
                    <a:pt x="422" y="72"/>
                    <a:pt x="423" y="70"/>
                    <a:pt x="425" y="68"/>
                  </a:cubicBezTo>
                  <a:lnTo>
                    <a:pt x="425" y="46"/>
                  </a:lnTo>
                  <a:close/>
                  <a:moveTo>
                    <a:pt x="529" y="82"/>
                  </a:moveTo>
                  <a:cubicBezTo>
                    <a:pt x="529" y="83"/>
                    <a:pt x="529" y="84"/>
                    <a:pt x="529" y="84"/>
                  </a:cubicBezTo>
                  <a:cubicBezTo>
                    <a:pt x="529" y="85"/>
                    <a:pt x="529" y="85"/>
                    <a:pt x="529" y="86"/>
                  </a:cubicBezTo>
                  <a:cubicBezTo>
                    <a:pt x="529" y="86"/>
                    <a:pt x="528" y="86"/>
                    <a:pt x="528" y="86"/>
                  </a:cubicBezTo>
                  <a:cubicBezTo>
                    <a:pt x="528" y="87"/>
                    <a:pt x="528" y="87"/>
                    <a:pt x="527" y="87"/>
                  </a:cubicBezTo>
                  <a:lnTo>
                    <a:pt x="488" y="87"/>
                  </a:lnTo>
                  <a:cubicBezTo>
                    <a:pt x="487" y="87"/>
                    <a:pt x="487" y="86"/>
                    <a:pt x="486" y="86"/>
                  </a:cubicBezTo>
                  <a:cubicBezTo>
                    <a:pt x="485" y="85"/>
                    <a:pt x="484" y="84"/>
                    <a:pt x="484" y="82"/>
                  </a:cubicBezTo>
                  <a:lnTo>
                    <a:pt x="484" y="10"/>
                  </a:lnTo>
                  <a:cubicBezTo>
                    <a:pt x="484" y="9"/>
                    <a:pt x="485" y="7"/>
                    <a:pt x="486" y="7"/>
                  </a:cubicBezTo>
                  <a:cubicBezTo>
                    <a:pt x="487" y="6"/>
                    <a:pt x="487" y="6"/>
                    <a:pt x="488" y="6"/>
                  </a:cubicBezTo>
                  <a:lnTo>
                    <a:pt x="527" y="6"/>
                  </a:lnTo>
                  <a:cubicBezTo>
                    <a:pt x="527" y="6"/>
                    <a:pt x="527" y="6"/>
                    <a:pt x="528" y="6"/>
                  </a:cubicBezTo>
                  <a:cubicBezTo>
                    <a:pt x="528" y="6"/>
                    <a:pt x="528" y="6"/>
                    <a:pt x="528" y="7"/>
                  </a:cubicBezTo>
                  <a:cubicBezTo>
                    <a:pt x="528" y="7"/>
                    <a:pt x="529" y="8"/>
                    <a:pt x="529" y="8"/>
                  </a:cubicBezTo>
                  <a:cubicBezTo>
                    <a:pt x="529" y="9"/>
                    <a:pt x="529" y="10"/>
                    <a:pt x="529" y="10"/>
                  </a:cubicBezTo>
                  <a:cubicBezTo>
                    <a:pt x="529" y="11"/>
                    <a:pt x="529" y="12"/>
                    <a:pt x="529" y="12"/>
                  </a:cubicBezTo>
                  <a:cubicBezTo>
                    <a:pt x="529" y="13"/>
                    <a:pt x="528" y="13"/>
                    <a:pt x="528" y="14"/>
                  </a:cubicBezTo>
                  <a:cubicBezTo>
                    <a:pt x="528" y="14"/>
                    <a:pt x="528" y="14"/>
                    <a:pt x="528" y="14"/>
                  </a:cubicBezTo>
                  <a:cubicBezTo>
                    <a:pt x="527" y="15"/>
                    <a:pt x="527" y="15"/>
                    <a:pt x="527" y="15"/>
                  </a:cubicBezTo>
                  <a:lnTo>
                    <a:pt x="495" y="15"/>
                  </a:lnTo>
                  <a:lnTo>
                    <a:pt x="495" y="40"/>
                  </a:lnTo>
                  <a:lnTo>
                    <a:pt x="522" y="40"/>
                  </a:lnTo>
                  <a:cubicBezTo>
                    <a:pt x="523" y="40"/>
                    <a:pt x="523" y="40"/>
                    <a:pt x="523" y="40"/>
                  </a:cubicBezTo>
                  <a:cubicBezTo>
                    <a:pt x="523" y="41"/>
                    <a:pt x="524" y="41"/>
                    <a:pt x="524" y="41"/>
                  </a:cubicBezTo>
                  <a:cubicBezTo>
                    <a:pt x="524" y="42"/>
                    <a:pt x="524" y="42"/>
                    <a:pt x="524" y="43"/>
                  </a:cubicBezTo>
                  <a:cubicBezTo>
                    <a:pt x="524" y="43"/>
                    <a:pt x="524" y="44"/>
                    <a:pt x="524" y="45"/>
                  </a:cubicBezTo>
                  <a:cubicBezTo>
                    <a:pt x="524" y="45"/>
                    <a:pt x="524" y="46"/>
                    <a:pt x="524" y="47"/>
                  </a:cubicBezTo>
                  <a:cubicBezTo>
                    <a:pt x="524" y="47"/>
                    <a:pt x="524" y="48"/>
                    <a:pt x="524" y="48"/>
                  </a:cubicBezTo>
                  <a:cubicBezTo>
                    <a:pt x="524" y="48"/>
                    <a:pt x="523" y="48"/>
                    <a:pt x="523" y="49"/>
                  </a:cubicBezTo>
                  <a:cubicBezTo>
                    <a:pt x="523" y="49"/>
                    <a:pt x="523" y="49"/>
                    <a:pt x="522" y="49"/>
                  </a:cubicBezTo>
                  <a:lnTo>
                    <a:pt x="495" y="49"/>
                  </a:lnTo>
                  <a:lnTo>
                    <a:pt x="495" y="78"/>
                  </a:lnTo>
                  <a:lnTo>
                    <a:pt x="527" y="78"/>
                  </a:lnTo>
                  <a:cubicBezTo>
                    <a:pt x="528" y="78"/>
                    <a:pt x="528" y="78"/>
                    <a:pt x="528" y="78"/>
                  </a:cubicBezTo>
                  <a:cubicBezTo>
                    <a:pt x="528" y="78"/>
                    <a:pt x="529" y="78"/>
                    <a:pt x="529" y="79"/>
                  </a:cubicBezTo>
                  <a:cubicBezTo>
                    <a:pt x="529" y="79"/>
                    <a:pt x="529" y="80"/>
                    <a:pt x="529" y="80"/>
                  </a:cubicBezTo>
                  <a:cubicBezTo>
                    <a:pt x="529" y="81"/>
                    <a:pt x="529" y="81"/>
                    <a:pt x="529" y="82"/>
                  </a:cubicBezTo>
                  <a:close/>
                  <a:moveTo>
                    <a:pt x="593" y="29"/>
                  </a:moveTo>
                  <a:cubicBezTo>
                    <a:pt x="593" y="29"/>
                    <a:pt x="593" y="29"/>
                    <a:pt x="593" y="29"/>
                  </a:cubicBezTo>
                  <a:cubicBezTo>
                    <a:pt x="593" y="29"/>
                    <a:pt x="593" y="30"/>
                    <a:pt x="593" y="30"/>
                  </a:cubicBezTo>
                  <a:cubicBezTo>
                    <a:pt x="593" y="30"/>
                    <a:pt x="593" y="30"/>
                    <a:pt x="593" y="31"/>
                  </a:cubicBezTo>
                  <a:cubicBezTo>
                    <a:pt x="593" y="31"/>
                    <a:pt x="593" y="31"/>
                    <a:pt x="593" y="31"/>
                  </a:cubicBezTo>
                  <a:lnTo>
                    <a:pt x="574" y="85"/>
                  </a:lnTo>
                  <a:cubicBezTo>
                    <a:pt x="573" y="85"/>
                    <a:pt x="573" y="86"/>
                    <a:pt x="573" y="86"/>
                  </a:cubicBezTo>
                  <a:cubicBezTo>
                    <a:pt x="573" y="86"/>
                    <a:pt x="572" y="86"/>
                    <a:pt x="572" y="87"/>
                  </a:cubicBezTo>
                  <a:cubicBezTo>
                    <a:pt x="571" y="87"/>
                    <a:pt x="571" y="87"/>
                    <a:pt x="570" y="87"/>
                  </a:cubicBezTo>
                  <a:cubicBezTo>
                    <a:pt x="569" y="87"/>
                    <a:pt x="568" y="87"/>
                    <a:pt x="567" y="87"/>
                  </a:cubicBezTo>
                  <a:cubicBezTo>
                    <a:pt x="565" y="87"/>
                    <a:pt x="564" y="87"/>
                    <a:pt x="563" y="87"/>
                  </a:cubicBezTo>
                  <a:cubicBezTo>
                    <a:pt x="563" y="87"/>
                    <a:pt x="562" y="87"/>
                    <a:pt x="561" y="87"/>
                  </a:cubicBezTo>
                  <a:cubicBezTo>
                    <a:pt x="561" y="86"/>
                    <a:pt x="560" y="86"/>
                    <a:pt x="560" y="86"/>
                  </a:cubicBezTo>
                  <a:cubicBezTo>
                    <a:pt x="560" y="86"/>
                    <a:pt x="560" y="85"/>
                    <a:pt x="559" y="85"/>
                  </a:cubicBezTo>
                  <a:lnTo>
                    <a:pt x="540" y="31"/>
                  </a:lnTo>
                  <a:cubicBezTo>
                    <a:pt x="540" y="31"/>
                    <a:pt x="540" y="30"/>
                    <a:pt x="540" y="30"/>
                  </a:cubicBezTo>
                  <a:cubicBezTo>
                    <a:pt x="540" y="30"/>
                    <a:pt x="540" y="29"/>
                    <a:pt x="540" y="29"/>
                  </a:cubicBezTo>
                  <a:cubicBezTo>
                    <a:pt x="540" y="29"/>
                    <a:pt x="540" y="29"/>
                    <a:pt x="540" y="29"/>
                  </a:cubicBezTo>
                  <a:cubicBezTo>
                    <a:pt x="540" y="28"/>
                    <a:pt x="540" y="28"/>
                    <a:pt x="540" y="28"/>
                  </a:cubicBezTo>
                  <a:cubicBezTo>
                    <a:pt x="540" y="28"/>
                    <a:pt x="540" y="27"/>
                    <a:pt x="541" y="27"/>
                  </a:cubicBezTo>
                  <a:cubicBezTo>
                    <a:pt x="541" y="27"/>
                    <a:pt x="542" y="27"/>
                    <a:pt x="542" y="27"/>
                  </a:cubicBezTo>
                  <a:cubicBezTo>
                    <a:pt x="543" y="27"/>
                    <a:pt x="544" y="27"/>
                    <a:pt x="545" y="27"/>
                  </a:cubicBezTo>
                  <a:cubicBezTo>
                    <a:pt x="546" y="27"/>
                    <a:pt x="547" y="27"/>
                    <a:pt x="548" y="27"/>
                  </a:cubicBezTo>
                  <a:cubicBezTo>
                    <a:pt x="548" y="27"/>
                    <a:pt x="549" y="27"/>
                    <a:pt x="549" y="27"/>
                  </a:cubicBezTo>
                  <a:cubicBezTo>
                    <a:pt x="550" y="28"/>
                    <a:pt x="550" y="28"/>
                    <a:pt x="550" y="28"/>
                  </a:cubicBezTo>
                  <a:cubicBezTo>
                    <a:pt x="550" y="28"/>
                    <a:pt x="551" y="29"/>
                    <a:pt x="551" y="29"/>
                  </a:cubicBezTo>
                  <a:lnTo>
                    <a:pt x="567" y="75"/>
                  </a:lnTo>
                  <a:lnTo>
                    <a:pt x="567" y="76"/>
                  </a:lnTo>
                  <a:lnTo>
                    <a:pt x="567" y="75"/>
                  </a:lnTo>
                  <a:lnTo>
                    <a:pt x="583" y="29"/>
                  </a:lnTo>
                  <a:cubicBezTo>
                    <a:pt x="583" y="29"/>
                    <a:pt x="583" y="28"/>
                    <a:pt x="583" y="28"/>
                  </a:cubicBezTo>
                  <a:cubicBezTo>
                    <a:pt x="583" y="28"/>
                    <a:pt x="584" y="28"/>
                    <a:pt x="584" y="27"/>
                  </a:cubicBezTo>
                  <a:cubicBezTo>
                    <a:pt x="585" y="27"/>
                    <a:pt x="585" y="27"/>
                    <a:pt x="586" y="27"/>
                  </a:cubicBezTo>
                  <a:cubicBezTo>
                    <a:pt x="586" y="27"/>
                    <a:pt x="587" y="27"/>
                    <a:pt x="588" y="27"/>
                  </a:cubicBezTo>
                  <a:cubicBezTo>
                    <a:pt x="589" y="27"/>
                    <a:pt x="590" y="27"/>
                    <a:pt x="591" y="27"/>
                  </a:cubicBezTo>
                  <a:cubicBezTo>
                    <a:pt x="591" y="27"/>
                    <a:pt x="592" y="27"/>
                    <a:pt x="592" y="27"/>
                  </a:cubicBezTo>
                  <a:cubicBezTo>
                    <a:pt x="593" y="27"/>
                    <a:pt x="593" y="28"/>
                    <a:pt x="593" y="28"/>
                  </a:cubicBezTo>
                  <a:cubicBezTo>
                    <a:pt x="593" y="28"/>
                    <a:pt x="593" y="28"/>
                    <a:pt x="593" y="29"/>
                  </a:cubicBezTo>
                  <a:close/>
                  <a:moveTo>
                    <a:pt x="659" y="55"/>
                  </a:moveTo>
                  <a:cubicBezTo>
                    <a:pt x="659" y="56"/>
                    <a:pt x="659" y="57"/>
                    <a:pt x="658" y="58"/>
                  </a:cubicBezTo>
                  <a:cubicBezTo>
                    <a:pt x="657" y="59"/>
                    <a:pt x="656" y="59"/>
                    <a:pt x="655" y="59"/>
                  </a:cubicBezTo>
                  <a:lnTo>
                    <a:pt x="618" y="59"/>
                  </a:lnTo>
                  <a:cubicBezTo>
                    <a:pt x="618" y="62"/>
                    <a:pt x="618" y="65"/>
                    <a:pt x="619" y="67"/>
                  </a:cubicBezTo>
                  <a:cubicBezTo>
                    <a:pt x="620" y="70"/>
                    <a:pt x="621" y="72"/>
                    <a:pt x="622" y="74"/>
                  </a:cubicBezTo>
                  <a:cubicBezTo>
                    <a:pt x="624" y="76"/>
                    <a:pt x="626" y="77"/>
                    <a:pt x="628" y="78"/>
                  </a:cubicBezTo>
                  <a:cubicBezTo>
                    <a:pt x="630" y="79"/>
                    <a:pt x="633" y="79"/>
                    <a:pt x="637" y="79"/>
                  </a:cubicBezTo>
                  <a:cubicBezTo>
                    <a:pt x="639" y="79"/>
                    <a:pt x="642" y="79"/>
                    <a:pt x="644" y="79"/>
                  </a:cubicBezTo>
                  <a:cubicBezTo>
                    <a:pt x="646" y="78"/>
                    <a:pt x="648" y="78"/>
                    <a:pt x="649" y="77"/>
                  </a:cubicBezTo>
                  <a:cubicBezTo>
                    <a:pt x="651" y="77"/>
                    <a:pt x="652" y="76"/>
                    <a:pt x="653" y="76"/>
                  </a:cubicBezTo>
                  <a:cubicBezTo>
                    <a:pt x="654" y="75"/>
                    <a:pt x="655" y="75"/>
                    <a:pt x="655" y="75"/>
                  </a:cubicBezTo>
                  <a:cubicBezTo>
                    <a:pt x="655" y="75"/>
                    <a:pt x="656" y="75"/>
                    <a:pt x="656" y="75"/>
                  </a:cubicBezTo>
                  <a:cubicBezTo>
                    <a:pt x="656" y="76"/>
                    <a:pt x="656" y="76"/>
                    <a:pt x="656" y="76"/>
                  </a:cubicBezTo>
                  <a:cubicBezTo>
                    <a:pt x="657" y="76"/>
                    <a:pt x="657" y="77"/>
                    <a:pt x="657" y="77"/>
                  </a:cubicBezTo>
                  <a:cubicBezTo>
                    <a:pt x="657" y="78"/>
                    <a:pt x="657" y="78"/>
                    <a:pt x="657" y="79"/>
                  </a:cubicBezTo>
                  <a:cubicBezTo>
                    <a:pt x="657" y="80"/>
                    <a:pt x="657" y="80"/>
                    <a:pt x="657" y="81"/>
                  </a:cubicBezTo>
                  <a:cubicBezTo>
                    <a:pt x="657" y="81"/>
                    <a:pt x="657" y="81"/>
                    <a:pt x="657" y="82"/>
                  </a:cubicBezTo>
                  <a:cubicBezTo>
                    <a:pt x="657" y="82"/>
                    <a:pt x="656" y="82"/>
                    <a:pt x="656" y="83"/>
                  </a:cubicBezTo>
                  <a:cubicBezTo>
                    <a:pt x="656" y="83"/>
                    <a:pt x="656" y="83"/>
                    <a:pt x="656" y="83"/>
                  </a:cubicBezTo>
                  <a:cubicBezTo>
                    <a:pt x="655" y="83"/>
                    <a:pt x="655" y="84"/>
                    <a:pt x="654" y="84"/>
                  </a:cubicBezTo>
                  <a:cubicBezTo>
                    <a:pt x="653" y="85"/>
                    <a:pt x="651" y="85"/>
                    <a:pt x="649" y="86"/>
                  </a:cubicBezTo>
                  <a:cubicBezTo>
                    <a:pt x="648" y="86"/>
                    <a:pt x="645" y="87"/>
                    <a:pt x="643" y="87"/>
                  </a:cubicBezTo>
                  <a:cubicBezTo>
                    <a:pt x="641" y="88"/>
                    <a:pt x="638" y="88"/>
                    <a:pt x="636" y="88"/>
                  </a:cubicBezTo>
                  <a:cubicBezTo>
                    <a:pt x="631" y="88"/>
                    <a:pt x="627" y="87"/>
                    <a:pt x="623" y="86"/>
                  </a:cubicBezTo>
                  <a:cubicBezTo>
                    <a:pt x="620" y="85"/>
                    <a:pt x="617" y="83"/>
                    <a:pt x="615" y="80"/>
                  </a:cubicBezTo>
                  <a:cubicBezTo>
                    <a:pt x="612" y="78"/>
                    <a:pt x="610" y="74"/>
                    <a:pt x="609" y="71"/>
                  </a:cubicBezTo>
                  <a:cubicBezTo>
                    <a:pt x="608" y="67"/>
                    <a:pt x="607" y="62"/>
                    <a:pt x="607" y="57"/>
                  </a:cubicBezTo>
                  <a:cubicBezTo>
                    <a:pt x="607" y="52"/>
                    <a:pt x="608" y="48"/>
                    <a:pt x="609" y="44"/>
                  </a:cubicBezTo>
                  <a:cubicBezTo>
                    <a:pt x="611" y="40"/>
                    <a:pt x="612" y="37"/>
                    <a:pt x="615" y="34"/>
                  </a:cubicBezTo>
                  <a:cubicBezTo>
                    <a:pt x="617" y="32"/>
                    <a:pt x="620" y="30"/>
                    <a:pt x="623" y="28"/>
                  </a:cubicBezTo>
                  <a:cubicBezTo>
                    <a:pt x="627" y="27"/>
                    <a:pt x="630" y="26"/>
                    <a:pt x="634" y="26"/>
                  </a:cubicBezTo>
                  <a:cubicBezTo>
                    <a:pt x="639" y="26"/>
                    <a:pt x="643" y="27"/>
                    <a:pt x="646" y="28"/>
                  </a:cubicBezTo>
                  <a:cubicBezTo>
                    <a:pt x="649" y="30"/>
                    <a:pt x="651" y="31"/>
                    <a:pt x="653" y="34"/>
                  </a:cubicBezTo>
                  <a:cubicBezTo>
                    <a:pt x="655" y="36"/>
                    <a:pt x="657" y="39"/>
                    <a:pt x="658" y="42"/>
                  </a:cubicBezTo>
                  <a:cubicBezTo>
                    <a:pt x="659" y="46"/>
                    <a:pt x="659" y="49"/>
                    <a:pt x="659" y="53"/>
                  </a:cubicBezTo>
                  <a:lnTo>
                    <a:pt x="659" y="55"/>
                  </a:lnTo>
                  <a:close/>
                  <a:moveTo>
                    <a:pt x="649" y="51"/>
                  </a:moveTo>
                  <a:cubicBezTo>
                    <a:pt x="649" y="46"/>
                    <a:pt x="648" y="42"/>
                    <a:pt x="645" y="39"/>
                  </a:cubicBezTo>
                  <a:cubicBezTo>
                    <a:pt x="643" y="36"/>
                    <a:pt x="639" y="34"/>
                    <a:pt x="634" y="34"/>
                  </a:cubicBezTo>
                  <a:cubicBezTo>
                    <a:pt x="631" y="34"/>
                    <a:pt x="629" y="35"/>
                    <a:pt x="627" y="36"/>
                  </a:cubicBezTo>
                  <a:cubicBezTo>
                    <a:pt x="625" y="37"/>
                    <a:pt x="624" y="38"/>
                    <a:pt x="622" y="39"/>
                  </a:cubicBezTo>
                  <a:cubicBezTo>
                    <a:pt x="621" y="41"/>
                    <a:pt x="620" y="43"/>
                    <a:pt x="619" y="45"/>
                  </a:cubicBezTo>
                  <a:cubicBezTo>
                    <a:pt x="619" y="47"/>
                    <a:pt x="618" y="49"/>
                    <a:pt x="618" y="51"/>
                  </a:cubicBezTo>
                  <a:lnTo>
                    <a:pt x="649" y="51"/>
                  </a:lnTo>
                  <a:close/>
                  <a:moveTo>
                    <a:pt x="724" y="85"/>
                  </a:moveTo>
                  <a:cubicBezTo>
                    <a:pt x="724" y="85"/>
                    <a:pt x="724" y="86"/>
                    <a:pt x="723" y="86"/>
                  </a:cubicBezTo>
                  <a:cubicBezTo>
                    <a:pt x="723" y="86"/>
                    <a:pt x="723" y="86"/>
                    <a:pt x="723" y="87"/>
                  </a:cubicBezTo>
                  <a:cubicBezTo>
                    <a:pt x="722" y="87"/>
                    <a:pt x="722" y="87"/>
                    <a:pt x="721" y="87"/>
                  </a:cubicBezTo>
                  <a:cubicBezTo>
                    <a:pt x="720" y="87"/>
                    <a:pt x="719" y="87"/>
                    <a:pt x="718" y="87"/>
                  </a:cubicBezTo>
                  <a:cubicBezTo>
                    <a:pt x="717" y="87"/>
                    <a:pt x="717" y="87"/>
                    <a:pt x="716" y="87"/>
                  </a:cubicBezTo>
                  <a:cubicBezTo>
                    <a:pt x="715" y="87"/>
                    <a:pt x="715" y="87"/>
                    <a:pt x="714" y="87"/>
                  </a:cubicBezTo>
                  <a:cubicBezTo>
                    <a:pt x="714" y="86"/>
                    <a:pt x="714" y="86"/>
                    <a:pt x="714" y="86"/>
                  </a:cubicBezTo>
                  <a:cubicBezTo>
                    <a:pt x="713" y="86"/>
                    <a:pt x="713" y="85"/>
                    <a:pt x="713" y="85"/>
                  </a:cubicBezTo>
                  <a:lnTo>
                    <a:pt x="713" y="52"/>
                  </a:lnTo>
                  <a:cubicBezTo>
                    <a:pt x="713" y="49"/>
                    <a:pt x="713" y="46"/>
                    <a:pt x="713" y="44"/>
                  </a:cubicBezTo>
                  <a:cubicBezTo>
                    <a:pt x="712" y="42"/>
                    <a:pt x="711" y="41"/>
                    <a:pt x="710" y="39"/>
                  </a:cubicBezTo>
                  <a:cubicBezTo>
                    <a:pt x="709" y="38"/>
                    <a:pt x="708" y="37"/>
                    <a:pt x="707" y="36"/>
                  </a:cubicBezTo>
                  <a:cubicBezTo>
                    <a:pt x="705" y="35"/>
                    <a:pt x="703" y="35"/>
                    <a:pt x="701" y="35"/>
                  </a:cubicBezTo>
                  <a:cubicBezTo>
                    <a:pt x="699" y="35"/>
                    <a:pt x="696" y="36"/>
                    <a:pt x="694" y="38"/>
                  </a:cubicBezTo>
                  <a:cubicBezTo>
                    <a:pt x="691" y="40"/>
                    <a:pt x="688" y="42"/>
                    <a:pt x="685" y="46"/>
                  </a:cubicBezTo>
                  <a:lnTo>
                    <a:pt x="685" y="85"/>
                  </a:lnTo>
                  <a:cubicBezTo>
                    <a:pt x="685" y="85"/>
                    <a:pt x="685" y="86"/>
                    <a:pt x="685" y="86"/>
                  </a:cubicBezTo>
                  <a:cubicBezTo>
                    <a:pt x="685" y="86"/>
                    <a:pt x="685" y="86"/>
                    <a:pt x="684" y="87"/>
                  </a:cubicBezTo>
                  <a:cubicBezTo>
                    <a:pt x="684" y="87"/>
                    <a:pt x="684" y="87"/>
                    <a:pt x="683" y="87"/>
                  </a:cubicBezTo>
                  <a:cubicBezTo>
                    <a:pt x="682" y="87"/>
                    <a:pt x="681" y="87"/>
                    <a:pt x="680" y="87"/>
                  </a:cubicBezTo>
                  <a:cubicBezTo>
                    <a:pt x="679" y="87"/>
                    <a:pt x="678" y="87"/>
                    <a:pt x="678" y="87"/>
                  </a:cubicBezTo>
                  <a:cubicBezTo>
                    <a:pt x="677" y="87"/>
                    <a:pt x="677" y="87"/>
                    <a:pt x="676" y="87"/>
                  </a:cubicBezTo>
                  <a:cubicBezTo>
                    <a:pt x="676" y="86"/>
                    <a:pt x="676" y="86"/>
                    <a:pt x="675" y="86"/>
                  </a:cubicBezTo>
                  <a:cubicBezTo>
                    <a:pt x="675" y="86"/>
                    <a:pt x="675" y="85"/>
                    <a:pt x="675" y="85"/>
                  </a:cubicBezTo>
                  <a:lnTo>
                    <a:pt x="675" y="29"/>
                  </a:lnTo>
                  <a:cubicBezTo>
                    <a:pt x="675" y="29"/>
                    <a:pt x="675" y="28"/>
                    <a:pt x="675" y="28"/>
                  </a:cubicBezTo>
                  <a:cubicBezTo>
                    <a:pt x="675" y="28"/>
                    <a:pt x="676" y="28"/>
                    <a:pt x="676" y="27"/>
                  </a:cubicBezTo>
                  <a:cubicBezTo>
                    <a:pt x="676" y="27"/>
                    <a:pt x="677" y="27"/>
                    <a:pt x="678" y="27"/>
                  </a:cubicBezTo>
                  <a:cubicBezTo>
                    <a:pt x="678" y="27"/>
                    <a:pt x="679" y="27"/>
                    <a:pt x="680" y="27"/>
                  </a:cubicBezTo>
                  <a:cubicBezTo>
                    <a:pt x="681" y="27"/>
                    <a:pt x="682" y="27"/>
                    <a:pt x="682" y="27"/>
                  </a:cubicBezTo>
                  <a:cubicBezTo>
                    <a:pt x="683" y="27"/>
                    <a:pt x="683" y="27"/>
                    <a:pt x="684" y="27"/>
                  </a:cubicBezTo>
                  <a:cubicBezTo>
                    <a:pt x="684" y="28"/>
                    <a:pt x="684" y="28"/>
                    <a:pt x="684" y="28"/>
                  </a:cubicBezTo>
                  <a:cubicBezTo>
                    <a:pt x="684" y="28"/>
                    <a:pt x="684" y="29"/>
                    <a:pt x="684" y="29"/>
                  </a:cubicBezTo>
                  <a:lnTo>
                    <a:pt x="684" y="36"/>
                  </a:lnTo>
                  <a:cubicBezTo>
                    <a:pt x="688" y="33"/>
                    <a:pt x="691" y="30"/>
                    <a:pt x="694" y="29"/>
                  </a:cubicBezTo>
                  <a:cubicBezTo>
                    <a:pt x="697" y="27"/>
                    <a:pt x="700" y="26"/>
                    <a:pt x="703" y="26"/>
                  </a:cubicBezTo>
                  <a:cubicBezTo>
                    <a:pt x="707" y="26"/>
                    <a:pt x="710" y="27"/>
                    <a:pt x="713" y="28"/>
                  </a:cubicBezTo>
                  <a:cubicBezTo>
                    <a:pt x="716" y="29"/>
                    <a:pt x="718" y="31"/>
                    <a:pt x="719" y="33"/>
                  </a:cubicBezTo>
                  <a:cubicBezTo>
                    <a:pt x="721" y="35"/>
                    <a:pt x="722" y="38"/>
                    <a:pt x="723" y="41"/>
                  </a:cubicBezTo>
                  <a:cubicBezTo>
                    <a:pt x="723" y="43"/>
                    <a:pt x="724" y="47"/>
                    <a:pt x="724" y="51"/>
                  </a:cubicBezTo>
                  <a:lnTo>
                    <a:pt x="724" y="85"/>
                  </a:lnTo>
                  <a:close/>
                  <a:moveTo>
                    <a:pt x="768" y="81"/>
                  </a:moveTo>
                  <a:cubicBezTo>
                    <a:pt x="768" y="82"/>
                    <a:pt x="768" y="83"/>
                    <a:pt x="768" y="84"/>
                  </a:cubicBezTo>
                  <a:cubicBezTo>
                    <a:pt x="768" y="85"/>
                    <a:pt x="768" y="85"/>
                    <a:pt x="767" y="85"/>
                  </a:cubicBezTo>
                  <a:cubicBezTo>
                    <a:pt x="767" y="86"/>
                    <a:pt x="767" y="86"/>
                    <a:pt x="766" y="86"/>
                  </a:cubicBezTo>
                  <a:cubicBezTo>
                    <a:pt x="765" y="87"/>
                    <a:pt x="765" y="87"/>
                    <a:pt x="764" y="87"/>
                  </a:cubicBezTo>
                  <a:cubicBezTo>
                    <a:pt x="763" y="87"/>
                    <a:pt x="762" y="87"/>
                    <a:pt x="761" y="88"/>
                  </a:cubicBezTo>
                  <a:cubicBezTo>
                    <a:pt x="760" y="88"/>
                    <a:pt x="759" y="88"/>
                    <a:pt x="758" y="88"/>
                  </a:cubicBezTo>
                  <a:cubicBezTo>
                    <a:pt x="755" y="88"/>
                    <a:pt x="753" y="87"/>
                    <a:pt x="751" y="87"/>
                  </a:cubicBezTo>
                  <a:cubicBezTo>
                    <a:pt x="748" y="86"/>
                    <a:pt x="747" y="85"/>
                    <a:pt x="745" y="83"/>
                  </a:cubicBezTo>
                  <a:cubicBezTo>
                    <a:pt x="744" y="82"/>
                    <a:pt x="743" y="80"/>
                    <a:pt x="743" y="77"/>
                  </a:cubicBezTo>
                  <a:cubicBezTo>
                    <a:pt x="742" y="75"/>
                    <a:pt x="742" y="72"/>
                    <a:pt x="742" y="69"/>
                  </a:cubicBezTo>
                  <a:lnTo>
                    <a:pt x="742" y="36"/>
                  </a:lnTo>
                  <a:lnTo>
                    <a:pt x="734" y="36"/>
                  </a:lnTo>
                  <a:cubicBezTo>
                    <a:pt x="733" y="36"/>
                    <a:pt x="733" y="35"/>
                    <a:pt x="732" y="35"/>
                  </a:cubicBezTo>
                  <a:cubicBezTo>
                    <a:pt x="732" y="34"/>
                    <a:pt x="732" y="33"/>
                    <a:pt x="732" y="32"/>
                  </a:cubicBezTo>
                  <a:cubicBezTo>
                    <a:pt x="732" y="31"/>
                    <a:pt x="732" y="30"/>
                    <a:pt x="732" y="30"/>
                  </a:cubicBezTo>
                  <a:cubicBezTo>
                    <a:pt x="732" y="29"/>
                    <a:pt x="732" y="29"/>
                    <a:pt x="732" y="28"/>
                  </a:cubicBezTo>
                  <a:cubicBezTo>
                    <a:pt x="732" y="28"/>
                    <a:pt x="733" y="28"/>
                    <a:pt x="733" y="27"/>
                  </a:cubicBezTo>
                  <a:cubicBezTo>
                    <a:pt x="733" y="27"/>
                    <a:pt x="733" y="27"/>
                    <a:pt x="734" y="27"/>
                  </a:cubicBezTo>
                  <a:lnTo>
                    <a:pt x="742" y="27"/>
                  </a:lnTo>
                  <a:lnTo>
                    <a:pt x="742" y="14"/>
                  </a:lnTo>
                  <a:cubicBezTo>
                    <a:pt x="742" y="14"/>
                    <a:pt x="742" y="13"/>
                    <a:pt x="742" y="13"/>
                  </a:cubicBezTo>
                  <a:cubicBezTo>
                    <a:pt x="742" y="13"/>
                    <a:pt x="742" y="13"/>
                    <a:pt x="743" y="12"/>
                  </a:cubicBezTo>
                  <a:cubicBezTo>
                    <a:pt x="743" y="12"/>
                    <a:pt x="744" y="12"/>
                    <a:pt x="744" y="12"/>
                  </a:cubicBezTo>
                  <a:cubicBezTo>
                    <a:pt x="745" y="12"/>
                    <a:pt x="746" y="12"/>
                    <a:pt x="747" y="12"/>
                  </a:cubicBezTo>
                  <a:cubicBezTo>
                    <a:pt x="748" y="12"/>
                    <a:pt x="749" y="12"/>
                    <a:pt x="749" y="12"/>
                  </a:cubicBezTo>
                  <a:cubicBezTo>
                    <a:pt x="750" y="12"/>
                    <a:pt x="750" y="12"/>
                    <a:pt x="751" y="12"/>
                  </a:cubicBezTo>
                  <a:cubicBezTo>
                    <a:pt x="751" y="13"/>
                    <a:pt x="752" y="13"/>
                    <a:pt x="752" y="13"/>
                  </a:cubicBezTo>
                  <a:cubicBezTo>
                    <a:pt x="752" y="13"/>
                    <a:pt x="752" y="14"/>
                    <a:pt x="752" y="14"/>
                  </a:cubicBezTo>
                  <a:lnTo>
                    <a:pt x="752" y="27"/>
                  </a:lnTo>
                  <a:lnTo>
                    <a:pt x="766" y="27"/>
                  </a:lnTo>
                  <a:cubicBezTo>
                    <a:pt x="767" y="27"/>
                    <a:pt x="767" y="27"/>
                    <a:pt x="767" y="27"/>
                  </a:cubicBezTo>
                  <a:cubicBezTo>
                    <a:pt x="767" y="28"/>
                    <a:pt x="768" y="28"/>
                    <a:pt x="768" y="28"/>
                  </a:cubicBezTo>
                  <a:cubicBezTo>
                    <a:pt x="768" y="29"/>
                    <a:pt x="768" y="29"/>
                    <a:pt x="768" y="30"/>
                  </a:cubicBezTo>
                  <a:cubicBezTo>
                    <a:pt x="768" y="30"/>
                    <a:pt x="768" y="31"/>
                    <a:pt x="768" y="32"/>
                  </a:cubicBezTo>
                  <a:cubicBezTo>
                    <a:pt x="768" y="33"/>
                    <a:pt x="768" y="34"/>
                    <a:pt x="768" y="35"/>
                  </a:cubicBezTo>
                  <a:cubicBezTo>
                    <a:pt x="767" y="35"/>
                    <a:pt x="767" y="36"/>
                    <a:pt x="766" y="36"/>
                  </a:cubicBezTo>
                  <a:lnTo>
                    <a:pt x="752" y="36"/>
                  </a:lnTo>
                  <a:lnTo>
                    <a:pt x="752" y="67"/>
                  </a:lnTo>
                  <a:cubicBezTo>
                    <a:pt x="752" y="71"/>
                    <a:pt x="753" y="74"/>
                    <a:pt x="754" y="76"/>
                  </a:cubicBezTo>
                  <a:cubicBezTo>
                    <a:pt x="755" y="78"/>
                    <a:pt x="757" y="79"/>
                    <a:pt x="760" y="79"/>
                  </a:cubicBezTo>
                  <a:cubicBezTo>
                    <a:pt x="761" y="79"/>
                    <a:pt x="762" y="79"/>
                    <a:pt x="762" y="79"/>
                  </a:cubicBezTo>
                  <a:cubicBezTo>
                    <a:pt x="763" y="78"/>
                    <a:pt x="764" y="78"/>
                    <a:pt x="764" y="78"/>
                  </a:cubicBezTo>
                  <a:cubicBezTo>
                    <a:pt x="765" y="78"/>
                    <a:pt x="765" y="78"/>
                    <a:pt x="766" y="77"/>
                  </a:cubicBezTo>
                  <a:cubicBezTo>
                    <a:pt x="766" y="77"/>
                    <a:pt x="767" y="77"/>
                    <a:pt x="767" y="77"/>
                  </a:cubicBezTo>
                  <a:cubicBezTo>
                    <a:pt x="767" y="77"/>
                    <a:pt x="767" y="77"/>
                    <a:pt x="768" y="77"/>
                  </a:cubicBezTo>
                  <a:cubicBezTo>
                    <a:pt x="768" y="77"/>
                    <a:pt x="768" y="78"/>
                    <a:pt x="768" y="78"/>
                  </a:cubicBezTo>
                  <a:cubicBezTo>
                    <a:pt x="768" y="78"/>
                    <a:pt x="768" y="79"/>
                    <a:pt x="768" y="79"/>
                  </a:cubicBezTo>
                  <a:cubicBezTo>
                    <a:pt x="768" y="80"/>
                    <a:pt x="768" y="80"/>
                    <a:pt x="768" y="81"/>
                  </a:cubicBez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Rectangle 108">
              <a:extLst>
                <a:ext uri="{FF2B5EF4-FFF2-40B4-BE49-F238E27FC236}">
                  <a16:creationId xmlns:a16="http://schemas.microsoft.com/office/drawing/2014/main" id="{7E819B8D-DBD1-4A8A-8B1D-D7E1ACC40FED}"/>
                </a:ext>
              </a:extLst>
            </p:cNvPr>
            <p:cNvSpPr>
              <a:spLocks noChangeArrowheads="1"/>
            </p:cNvSpPr>
            <p:nvPr/>
          </p:nvSpPr>
          <p:spPr bwMode="auto">
            <a:xfrm>
              <a:off x="2178" y="2140"/>
              <a:ext cx="755" cy="2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09">
              <a:extLst>
                <a:ext uri="{FF2B5EF4-FFF2-40B4-BE49-F238E27FC236}">
                  <a16:creationId xmlns:a16="http://schemas.microsoft.com/office/drawing/2014/main" id="{26ABD866-87CF-4F24-969F-7182C4551992}"/>
                </a:ext>
              </a:extLst>
            </p:cNvPr>
            <p:cNvSpPr>
              <a:spLocks noChangeArrowheads="1"/>
            </p:cNvSpPr>
            <p:nvPr/>
          </p:nvSpPr>
          <p:spPr bwMode="auto">
            <a:xfrm>
              <a:off x="2178" y="2140"/>
              <a:ext cx="755" cy="254"/>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10">
              <a:extLst>
                <a:ext uri="{FF2B5EF4-FFF2-40B4-BE49-F238E27FC236}">
                  <a16:creationId xmlns:a16="http://schemas.microsoft.com/office/drawing/2014/main" id="{43A44928-1DAE-4251-B1AD-BD255C70F395}"/>
                </a:ext>
              </a:extLst>
            </p:cNvPr>
            <p:cNvSpPr>
              <a:spLocks noChangeArrowheads="1"/>
            </p:cNvSpPr>
            <p:nvPr/>
          </p:nvSpPr>
          <p:spPr bwMode="auto">
            <a:xfrm>
              <a:off x="2362" y="2175"/>
              <a:ext cx="4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API Gatew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7" name="Rectangle 111">
              <a:extLst>
                <a:ext uri="{FF2B5EF4-FFF2-40B4-BE49-F238E27FC236}">
                  <a16:creationId xmlns:a16="http://schemas.microsoft.com/office/drawing/2014/main" id="{73AC224D-83EA-4FAC-9A9E-16B369D0B6A5}"/>
                </a:ext>
              </a:extLst>
            </p:cNvPr>
            <p:cNvSpPr>
              <a:spLocks noChangeArrowheads="1"/>
            </p:cNvSpPr>
            <p:nvPr/>
          </p:nvSpPr>
          <p:spPr bwMode="auto">
            <a:xfrm>
              <a:off x="2360" y="2267"/>
              <a:ext cx="4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Microservi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8" name="Freeform 112">
              <a:extLst>
                <a:ext uri="{FF2B5EF4-FFF2-40B4-BE49-F238E27FC236}">
                  <a16:creationId xmlns:a16="http://schemas.microsoft.com/office/drawing/2014/main" id="{D939B8AB-436E-46B2-9EAF-ACCE6F85FA51}"/>
                </a:ext>
              </a:extLst>
            </p:cNvPr>
            <p:cNvSpPr>
              <a:spLocks noEditPoints="1"/>
            </p:cNvSpPr>
            <p:nvPr/>
          </p:nvSpPr>
          <p:spPr bwMode="auto">
            <a:xfrm>
              <a:off x="2554" y="1374"/>
              <a:ext cx="1298" cy="767"/>
            </a:xfrm>
            <a:custGeom>
              <a:avLst/>
              <a:gdLst>
                <a:gd name="T0" fmla="*/ 2896 w 2899"/>
                <a:gd name="T1" fmla="*/ 24 h 1712"/>
                <a:gd name="T2" fmla="*/ 2835 w 2899"/>
                <a:gd name="T3" fmla="*/ 19 h 1712"/>
                <a:gd name="T4" fmla="*/ 2774 w 2899"/>
                <a:gd name="T5" fmla="*/ 14 h 1712"/>
                <a:gd name="T6" fmla="*/ 2713 w 2899"/>
                <a:gd name="T7" fmla="*/ 9 h 1712"/>
                <a:gd name="T8" fmla="*/ 2652 w 2899"/>
                <a:gd name="T9" fmla="*/ 5 h 1712"/>
                <a:gd name="T10" fmla="*/ 2590 w 2899"/>
                <a:gd name="T11" fmla="*/ 5 h 1712"/>
                <a:gd name="T12" fmla="*/ 2529 w 2899"/>
                <a:gd name="T13" fmla="*/ 6 h 1712"/>
                <a:gd name="T14" fmla="*/ 2467 w 2899"/>
                <a:gd name="T15" fmla="*/ 1 h 1712"/>
                <a:gd name="T16" fmla="*/ 2406 w 2899"/>
                <a:gd name="T17" fmla="*/ 4 h 1712"/>
                <a:gd name="T18" fmla="*/ 2344 w 2899"/>
                <a:gd name="T19" fmla="*/ 9 h 1712"/>
                <a:gd name="T20" fmla="*/ 2283 w 2899"/>
                <a:gd name="T21" fmla="*/ 14 h 1712"/>
                <a:gd name="T22" fmla="*/ 2186 w 2899"/>
                <a:gd name="T23" fmla="*/ 24 h 1712"/>
                <a:gd name="T24" fmla="*/ 2124 w 2899"/>
                <a:gd name="T25" fmla="*/ 37 h 1712"/>
                <a:gd name="T26" fmla="*/ 2063 w 2899"/>
                <a:gd name="T27" fmla="*/ 47 h 1712"/>
                <a:gd name="T28" fmla="*/ 2002 w 2899"/>
                <a:gd name="T29" fmla="*/ 57 h 1712"/>
                <a:gd name="T30" fmla="*/ 1943 w 2899"/>
                <a:gd name="T31" fmla="*/ 72 h 1712"/>
                <a:gd name="T32" fmla="*/ 1883 w 2899"/>
                <a:gd name="T33" fmla="*/ 87 h 1712"/>
                <a:gd name="T34" fmla="*/ 1824 w 2899"/>
                <a:gd name="T35" fmla="*/ 102 h 1712"/>
                <a:gd name="T36" fmla="*/ 1768 w 2899"/>
                <a:gd name="T37" fmla="*/ 119 h 1712"/>
                <a:gd name="T38" fmla="*/ 1743 w 2899"/>
                <a:gd name="T39" fmla="*/ 127 h 1712"/>
                <a:gd name="T40" fmla="*/ 1685 w 2899"/>
                <a:gd name="T41" fmla="*/ 147 h 1712"/>
                <a:gd name="T42" fmla="*/ 1627 w 2899"/>
                <a:gd name="T43" fmla="*/ 167 h 1712"/>
                <a:gd name="T44" fmla="*/ 1569 w 2899"/>
                <a:gd name="T45" fmla="*/ 186 h 1712"/>
                <a:gd name="T46" fmla="*/ 1570 w 2899"/>
                <a:gd name="T47" fmla="*/ 183 h 1712"/>
                <a:gd name="T48" fmla="*/ 1514 w 2899"/>
                <a:gd name="T49" fmla="*/ 207 h 1712"/>
                <a:gd name="T50" fmla="*/ 1457 w 2899"/>
                <a:gd name="T51" fmla="*/ 231 h 1712"/>
                <a:gd name="T52" fmla="*/ 1401 w 2899"/>
                <a:gd name="T53" fmla="*/ 256 h 1712"/>
                <a:gd name="T54" fmla="*/ 1345 w 2899"/>
                <a:gd name="T55" fmla="*/ 281 h 1712"/>
                <a:gd name="T56" fmla="*/ 1291 w 2899"/>
                <a:gd name="T57" fmla="*/ 310 h 1712"/>
                <a:gd name="T58" fmla="*/ 1237 w 2899"/>
                <a:gd name="T59" fmla="*/ 339 h 1712"/>
                <a:gd name="T60" fmla="*/ 1163 w 2899"/>
                <a:gd name="T61" fmla="*/ 375 h 1712"/>
                <a:gd name="T62" fmla="*/ 1096 w 2899"/>
                <a:gd name="T63" fmla="*/ 418 h 1712"/>
                <a:gd name="T64" fmla="*/ 1044 w 2899"/>
                <a:gd name="T65" fmla="*/ 451 h 1712"/>
                <a:gd name="T66" fmla="*/ 992 w 2899"/>
                <a:gd name="T67" fmla="*/ 484 h 1712"/>
                <a:gd name="T68" fmla="*/ 942 w 2899"/>
                <a:gd name="T69" fmla="*/ 520 h 1712"/>
                <a:gd name="T70" fmla="*/ 893 w 2899"/>
                <a:gd name="T71" fmla="*/ 557 h 1712"/>
                <a:gd name="T72" fmla="*/ 844 w 2899"/>
                <a:gd name="T73" fmla="*/ 594 h 1712"/>
                <a:gd name="T74" fmla="*/ 795 w 2899"/>
                <a:gd name="T75" fmla="*/ 635 h 1712"/>
                <a:gd name="T76" fmla="*/ 753 w 2899"/>
                <a:gd name="T77" fmla="*/ 676 h 1712"/>
                <a:gd name="T78" fmla="*/ 707 w 2899"/>
                <a:gd name="T79" fmla="*/ 717 h 1712"/>
                <a:gd name="T80" fmla="*/ 661 w 2899"/>
                <a:gd name="T81" fmla="*/ 758 h 1712"/>
                <a:gd name="T82" fmla="*/ 637 w 2899"/>
                <a:gd name="T83" fmla="*/ 779 h 1712"/>
                <a:gd name="T84" fmla="*/ 642 w 2899"/>
                <a:gd name="T85" fmla="*/ 775 h 1712"/>
                <a:gd name="T86" fmla="*/ 600 w 2899"/>
                <a:gd name="T87" fmla="*/ 819 h 1712"/>
                <a:gd name="T88" fmla="*/ 557 w 2899"/>
                <a:gd name="T89" fmla="*/ 863 h 1712"/>
                <a:gd name="T90" fmla="*/ 515 w 2899"/>
                <a:gd name="T91" fmla="*/ 908 h 1712"/>
                <a:gd name="T92" fmla="*/ 474 w 2899"/>
                <a:gd name="T93" fmla="*/ 953 h 1712"/>
                <a:gd name="T94" fmla="*/ 435 w 2899"/>
                <a:gd name="T95" fmla="*/ 1001 h 1712"/>
                <a:gd name="T96" fmla="*/ 396 w 2899"/>
                <a:gd name="T97" fmla="*/ 1049 h 1712"/>
                <a:gd name="T98" fmla="*/ 354 w 2899"/>
                <a:gd name="T99" fmla="*/ 1093 h 1712"/>
                <a:gd name="T100" fmla="*/ 317 w 2899"/>
                <a:gd name="T101" fmla="*/ 1143 h 1712"/>
                <a:gd name="T102" fmla="*/ 283 w 2899"/>
                <a:gd name="T103" fmla="*/ 1194 h 1712"/>
                <a:gd name="T104" fmla="*/ 248 w 2899"/>
                <a:gd name="T105" fmla="*/ 1244 h 1712"/>
                <a:gd name="T106" fmla="*/ 195 w 2899"/>
                <a:gd name="T107" fmla="*/ 1326 h 1712"/>
                <a:gd name="T108" fmla="*/ 166 w 2899"/>
                <a:gd name="T109" fmla="*/ 1383 h 1712"/>
                <a:gd name="T110" fmla="*/ 135 w 2899"/>
                <a:gd name="T111" fmla="*/ 1436 h 1712"/>
                <a:gd name="T112" fmla="*/ 105 w 2899"/>
                <a:gd name="T113" fmla="*/ 1490 h 1712"/>
                <a:gd name="T114" fmla="*/ 78 w 2899"/>
                <a:gd name="T115" fmla="*/ 1545 h 1712"/>
                <a:gd name="T116" fmla="*/ 53 w 2899"/>
                <a:gd name="T117" fmla="*/ 1601 h 1712"/>
                <a:gd name="T118" fmla="*/ 27 w 2899"/>
                <a:gd name="T119" fmla="*/ 1657 h 1712"/>
                <a:gd name="T120" fmla="*/ 1 w 2899"/>
                <a:gd name="T121" fmla="*/ 1712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99" h="1712">
                  <a:moveTo>
                    <a:pt x="2896" y="24"/>
                  </a:moveTo>
                  <a:lnTo>
                    <a:pt x="2861" y="21"/>
                  </a:lnTo>
                  <a:cubicBezTo>
                    <a:pt x="2859" y="21"/>
                    <a:pt x="2858" y="20"/>
                    <a:pt x="2858" y="18"/>
                  </a:cubicBezTo>
                  <a:cubicBezTo>
                    <a:pt x="2858" y="17"/>
                    <a:pt x="2860" y="16"/>
                    <a:pt x="2861" y="16"/>
                  </a:cubicBezTo>
                  <a:lnTo>
                    <a:pt x="2897" y="19"/>
                  </a:lnTo>
                  <a:cubicBezTo>
                    <a:pt x="2898" y="19"/>
                    <a:pt x="2899" y="20"/>
                    <a:pt x="2899" y="22"/>
                  </a:cubicBezTo>
                  <a:cubicBezTo>
                    <a:pt x="2899" y="23"/>
                    <a:pt x="2898" y="24"/>
                    <a:pt x="2896" y="24"/>
                  </a:cubicBezTo>
                  <a:close/>
                  <a:moveTo>
                    <a:pt x="2835" y="19"/>
                  </a:moveTo>
                  <a:lnTo>
                    <a:pt x="2799" y="16"/>
                  </a:lnTo>
                  <a:cubicBezTo>
                    <a:pt x="2798" y="16"/>
                    <a:pt x="2797" y="15"/>
                    <a:pt x="2797" y="13"/>
                  </a:cubicBezTo>
                  <a:cubicBezTo>
                    <a:pt x="2797" y="12"/>
                    <a:pt x="2798" y="11"/>
                    <a:pt x="2800" y="11"/>
                  </a:cubicBezTo>
                  <a:lnTo>
                    <a:pt x="2835" y="14"/>
                  </a:lnTo>
                  <a:cubicBezTo>
                    <a:pt x="2837" y="14"/>
                    <a:pt x="2838" y="15"/>
                    <a:pt x="2838" y="17"/>
                  </a:cubicBezTo>
                  <a:cubicBezTo>
                    <a:pt x="2838" y="18"/>
                    <a:pt x="2836" y="19"/>
                    <a:pt x="2835" y="19"/>
                  </a:cubicBezTo>
                  <a:close/>
                  <a:moveTo>
                    <a:pt x="2774" y="14"/>
                  </a:moveTo>
                  <a:lnTo>
                    <a:pt x="2738" y="11"/>
                  </a:lnTo>
                  <a:cubicBezTo>
                    <a:pt x="2737" y="11"/>
                    <a:pt x="2736" y="10"/>
                    <a:pt x="2736" y="8"/>
                  </a:cubicBezTo>
                  <a:cubicBezTo>
                    <a:pt x="2736" y="7"/>
                    <a:pt x="2737" y="6"/>
                    <a:pt x="2739" y="6"/>
                  </a:cubicBezTo>
                  <a:lnTo>
                    <a:pt x="2774" y="9"/>
                  </a:lnTo>
                  <a:cubicBezTo>
                    <a:pt x="2776" y="9"/>
                    <a:pt x="2777" y="10"/>
                    <a:pt x="2777" y="12"/>
                  </a:cubicBezTo>
                  <a:cubicBezTo>
                    <a:pt x="2776" y="13"/>
                    <a:pt x="2775" y="14"/>
                    <a:pt x="2774" y="14"/>
                  </a:cubicBezTo>
                  <a:close/>
                  <a:moveTo>
                    <a:pt x="2713" y="9"/>
                  </a:moveTo>
                  <a:lnTo>
                    <a:pt x="2677" y="6"/>
                  </a:lnTo>
                  <a:cubicBezTo>
                    <a:pt x="2675" y="6"/>
                    <a:pt x="2674" y="5"/>
                    <a:pt x="2675" y="3"/>
                  </a:cubicBezTo>
                  <a:cubicBezTo>
                    <a:pt x="2675" y="2"/>
                    <a:pt x="2676" y="1"/>
                    <a:pt x="2677" y="1"/>
                  </a:cubicBezTo>
                  <a:lnTo>
                    <a:pt x="2713" y="4"/>
                  </a:lnTo>
                  <a:cubicBezTo>
                    <a:pt x="2714" y="4"/>
                    <a:pt x="2715" y="5"/>
                    <a:pt x="2715" y="7"/>
                  </a:cubicBezTo>
                  <a:cubicBezTo>
                    <a:pt x="2715" y="8"/>
                    <a:pt x="2714" y="9"/>
                    <a:pt x="2713" y="9"/>
                  </a:cubicBezTo>
                  <a:close/>
                  <a:moveTo>
                    <a:pt x="2652" y="5"/>
                  </a:moveTo>
                  <a:lnTo>
                    <a:pt x="2616" y="5"/>
                  </a:lnTo>
                  <a:cubicBezTo>
                    <a:pt x="2614" y="5"/>
                    <a:pt x="2613" y="4"/>
                    <a:pt x="2613" y="3"/>
                  </a:cubicBezTo>
                  <a:cubicBezTo>
                    <a:pt x="2613" y="1"/>
                    <a:pt x="2614" y="0"/>
                    <a:pt x="2616" y="0"/>
                  </a:cubicBezTo>
                  <a:lnTo>
                    <a:pt x="2652" y="0"/>
                  </a:lnTo>
                  <a:cubicBezTo>
                    <a:pt x="2653" y="0"/>
                    <a:pt x="2654" y="1"/>
                    <a:pt x="2654" y="3"/>
                  </a:cubicBezTo>
                  <a:cubicBezTo>
                    <a:pt x="2654" y="4"/>
                    <a:pt x="2653" y="5"/>
                    <a:pt x="2652" y="5"/>
                  </a:cubicBezTo>
                  <a:close/>
                  <a:moveTo>
                    <a:pt x="2590" y="5"/>
                  </a:moveTo>
                  <a:lnTo>
                    <a:pt x="2554" y="6"/>
                  </a:lnTo>
                  <a:cubicBezTo>
                    <a:pt x="2553" y="6"/>
                    <a:pt x="2552" y="4"/>
                    <a:pt x="2552" y="3"/>
                  </a:cubicBezTo>
                  <a:cubicBezTo>
                    <a:pt x="2552" y="2"/>
                    <a:pt x="2553" y="0"/>
                    <a:pt x="2554" y="0"/>
                  </a:cubicBezTo>
                  <a:lnTo>
                    <a:pt x="2590" y="0"/>
                  </a:lnTo>
                  <a:cubicBezTo>
                    <a:pt x="2591" y="0"/>
                    <a:pt x="2593" y="1"/>
                    <a:pt x="2593" y="3"/>
                  </a:cubicBezTo>
                  <a:cubicBezTo>
                    <a:pt x="2593" y="4"/>
                    <a:pt x="2592" y="5"/>
                    <a:pt x="2590" y="5"/>
                  </a:cubicBezTo>
                  <a:close/>
                  <a:moveTo>
                    <a:pt x="2529" y="6"/>
                  </a:moveTo>
                  <a:lnTo>
                    <a:pt x="2493" y="6"/>
                  </a:lnTo>
                  <a:cubicBezTo>
                    <a:pt x="2491" y="6"/>
                    <a:pt x="2490" y="5"/>
                    <a:pt x="2490" y="3"/>
                  </a:cubicBezTo>
                  <a:cubicBezTo>
                    <a:pt x="2490" y="2"/>
                    <a:pt x="2491" y="1"/>
                    <a:pt x="2493" y="1"/>
                  </a:cubicBezTo>
                  <a:lnTo>
                    <a:pt x="2529" y="1"/>
                  </a:lnTo>
                  <a:cubicBezTo>
                    <a:pt x="2530" y="1"/>
                    <a:pt x="2531" y="2"/>
                    <a:pt x="2531" y="3"/>
                  </a:cubicBezTo>
                  <a:cubicBezTo>
                    <a:pt x="2531" y="4"/>
                    <a:pt x="2530" y="6"/>
                    <a:pt x="2529" y="6"/>
                  </a:cubicBezTo>
                  <a:close/>
                  <a:moveTo>
                    <a:pt x="2467" y="6"/>
                  </a:moveTo>
                  <a:lnTo>
                    <a:pt x="2437" y="6"/>
                  </a:lnTo>
                  <a:lnTo>
                    <a:pt x="2432" y="7"/>
                  </a:lnTo>
                  <a:cubicBezTo>
                    <a:pt x="2430" y="7"/>
                    <a:pt x="2429" y="6"/>
                    <a:pt x="2429" y="4"/>
                  </a:cubicBezTo>
                  <a:cubicBezTo>
                    <a:pt x="2429" y="3"/>
                    <a:pt x="2430" y="2"/>
                    <a:pt x="2431" y="1"/>
                  </a:cubicBezTo>
                  <a:lnTo>
                    <a:pt x="2437" y="1"/>
                  </a:lnTo>
                  <a:lnTo>
                    <a:pt x="2467" y="1"/>
                  </a:lnTo>
                  <a:cubicBezTo>
                    <a:pt x="2469" y="1"/>
                    <a:pt x="2470" y="2"/>
                    <a:pt x="2470" y="3"/>
                  </a:cubicBezTo>
                  <a:cubicBezTo>
                    <a:pt x="2470" y="5"/>
                    <a:pt x="2469" y="6"/>
                    <a:pt x="2467" y="6"/>
                  </a:cubicBezTo>
                  <a:close/>
                  <a:moveTo>
                    <a:pt x="2406" y="9"/>
                  </a:moveTo>
                  <a:lnTo>
                    <a:pt x="2370" y="12"/>
                  </a:lnTo>
                  <a:cubicBezTo>
                    <a:pt x="2369" y="12"/>
                    <a:pt x="2368" y="11"/>
                    <a:pt x="2368" y="9"/>
                  </a:cubicBezTo>
                  <a:cubicBezTo>
                    <a:pt x="2368" y="8"/>
                    <a:pt x="2369" y="7"/>
                    <a:pt x="2370" y="7"/>
                  </a:cubicBezTo>
                  <a:lnTo>
                    <a:pt x="2406" y="4"/>
                  </a:lnTo>
                  <a:cubicBezTo>
                    <a:pt x="2407" y="3"/>
                    <a:pt x="2408" y="5"/>
                    <a:pt x="2408" y="6"/>
                  </a:cubicBezTo>
                  <a:cubicBezTo>
                    <a:pt x="2409" y="7"/>
                    <a:pt x="2408" y="9"/>
                    <a:pt x="2406" y="9"/>
                  </a:cubicBezTo>
                  <a:close/>
                  <a:moveTo>
                    <a:pt x="2345" y="14"/>
                  </a:moveTo>
                  <a:lnTo>
                    <a:pt x="2309" y="17"/>
                  </a:lnTo>
                  <a:cubicBezTo>
                    <a:pt x="2308" y="17"/>
                    <a:pt x="2307" y="16"/>
                    <a:pt x="2306" y="14"/>
                  </a:cubicBezTo>
                  <a:cubicBezTo>
                    <a:pt x="2306" y="13"/>
                    <a:pt x="2307" y="12"/>
                    <a:pt x="2309" y="12"/>
                  </a:cubicBezTo>
                  <a:lnTo>
                    <a:pt x="2344" y="9"/>
                  </a:lnTo>
                  <a:cubicBezTo>
                    <a:pt x="2346" y="9"/>
                    <a:pt x="2347" y="10"/>
                    <a:pt x="2347" y="11"/>
                  </a:cubicBezTo>
                  <a:cubicBezTo>
                    <a:pt x="2347" y="12"/>
                    <a:pt x="2346" y="14"/>
                    <a:pt x="2345" y="14"/>
                  </a:cubicBezTo>
                  <a:close/>
                  <a:moveTo>
                    <a:pt x="2284" y="19"/>
                  </a:moveTo>
                  <a:lnTo>
                    <a:pt x="2248" y="22"/>
                  </a:lnTo>
                  <a:cubicBezTo>
                    <a:pt x="2247" y="22"/>
                    <a:pt x="2245" y="21"/>
                    <a:pt x="2245" y="20"/>
                  </a:cubicBezTo>
                  <a:cubicBezTo>
                    <a:pt x="2245" y="18"/>
                    <a:pt x="2246" y="17"/>
                    <a:pt x="2248" y="17"/>
                  </a:cubicBezTo>
                  <a:lnTo>
                    <a:pt x="2283" y="14"/>
                  </a:lnTo>
                  <a:cubicBezTo>
                    <a:pt x="2285" y="14"/>
                    <a:pt x="2286" y="15"/>
                    <a:pt x="2286" y="16"/>
                  </a:cubicBezTo>
                  <a:cubicBezTo>
                    <a:pt x="2286" y="18"/>
                    <a:pt x="2285" y="19"/>
                    <a:pt x="2284" y="19"/>
                  </a:cubicBezTo>
                  <a:close/>
                  <a:moveTo>
                    <a:pt x="2222" y="24"/>
                  </a:moveTo>
                  <a:lnTo>
                    <a:pt x="2212" y="25"/>
                  </a:lnTo>
                  <a:lnTo>
                    <a:pt x="2187" y="29"/>
                  </a:lnTo>
                  <a:cubicBezTo>
                    <a:pt x="2186" y="29"/>
                    <a:pt x="2184" y="28"/>
                    <a:pt x="2184" y="27"/>
                  </a:cubicBezTo>
                  <a:cubicBezTo>
                    <a:pt x="2184" y="26"/>
                    <a:pt x="2185" y="24"/>
                    <a:pt x="2186" y="24"/>
                  </a:cubicBezTo>
                  <a:lnTo>
                    <a:pt x="2211" y="20"/>
                  </a:lnTo>
                  <a:lnTo>
                    <a:pt x="2222" y="19"/>
                  </a:lnTo>
                  <a:cubicBezTo>
                    <a:pt x="2223" y="19"/>
                    <a:pt x="2225" y="20"/>
                    <a:pt x="2225" y="21"/>
                  </a:cubicBezTo>
                  <a:cubicBezTo>
                    <a:pt x="2225" y="23"/>
                    <a:pt x="2224" y="24"/>
                    <a:pt x="2222" y="24"/>
                  </a:cubicBezTo>
                  <a:close/>
                  <a:moveTo>
                    <a:pt x="2162" y="33"/>
                  </a:moveTo>
                  <a:lnTo>
                    <a:pt x="2127" y="39"/>
                  </a:lnTo>
                  <a:cubicBezTo>
                    <a:pt x="2125" y="40"/>
                    <a:pt x="2124" y="39"/>
                    <a:pt x="2124" y="37"/>
                  </a:cubicBezTo>
                  <a:cubicBezTo>
                    <a:pt x="2123" y="36"/>
                    <a:pt x="2124" y="34"/>
                    <a:pt x="2126" y="34"/>
                  </a:cubicBezTo>
                  <a:lnTo>
                    <a:pt x="2161" y="28"/>
                  </a:lnTo>
                  <a:cubicBezTo>
                    <a:pt x="2163" y="28"/>
                    <a:pt x="2164" y="29"/>
                    <a:pt x="2164" y="30"/>
                  </a:cubicBezTo>
                  <a:cubicBezTo>
                    <a:pt x="2164" y="32"/>
                    <a:pt x="2163" y="33"/>
                    <a:pt x="2162" y="33"/>
                  </a:cubicBezTo>
                  <a:close/>
                  <a:moveTo>
                    <a:pt x="2101" y="43"/>
                  </a:moveTo>
                  <a:lnTo>
                    <a:pt x="2066" y="49"/>
                  </a:lnTo>
                  <a:cubicBezTo>
                    <a:pt x="2065" y="50"/>
                    <a:pt x="2063" y="49"/>
                    <a:pt x="2063" y="47"/>
                  </a:cubicBezTo>
                  <a:cubicBezTo>
                    <a:pt x="2063" y="46"/>
                    <a:pt x="2064" y="45"/>
                    <a:pt x="2065" y="44"/>
                  </a:cubicBezTo>
                  <a:lnTo>
                    <a:pt x="2101" y="38"/>
                  </a:lnTo>
                  <a:cubicBezTo>
                    <a:pt x="2102" y="38"/>
                    <a:pt x="2103" y="39"/>
                    <a:pt x="2103" y="41"/>
                  </a:cubicBezTo>
                  <a:cubicBezTo>
                    <a:pt x="2104" y="42"/>
                    <a:pt x="2103" y="43"/>
                    <a:pt x="2101" y="43"/>
                  </a:cubicBezTo>
                  <a:close/>
                  <a:moveTo>
                    <a:pt x="2041" y="54"/>
                  </a:moveTo>
                  <a:lnTo>
                    <a:pt x="2005" y="60"/>
                  </a:lnTo>
                  <a:cubicBezTo>
                    <a:pt x="2004" y="60"/>
                    <a:pt x="2003" y="59"/>
                    <a:pt x="2002" y="57"/>
                  </a:cubicBezTo>
                  <a:cubicBezTo>
                    <a:pt x="2002" y="56"/>
                    <a:pt x="2003" y="55"/>
                    <a:pt x="2005" y="55"/>
                  </a:cubicBezTo>
                  <a:lnTo>
                    <a:pt x="2040" y="49"/>
                  </a:lnTo>
                  <a:cubicBezTo>
                    <a:pt x="2041" y="48"/>
                    <a:pt x="2043" y="49"/>
                    <a:pt x="2043" y="51"/>
                  </a:cubicBezTo>
                  <a:cubicBezTo>
                    <a:pt x="2043" y="52"/>
                    <a:pt x="2042" y="53"/>
                    <a:pt x="2041" y="54"/>
                  </a:cubicBezTo>
                  <a:close/>
                  <a:moveTo>
                    <a:pt x="1981" y="65"/>
                  </a:moveTo>
                  <a:lnTo>
                    <a:pt x="1946" y="73"/>
                  </a:lnTo>
                  <a:cubicBezTo>
                    <a:pt x="1944" y="74"/>
                    <a:pt x="1943" y="73"/>
                    <a:pt x="1943" y="72"/>
                  </a:cubicBezTo>
                  <a:cubicBezTo>
                    <a:pt x="1942" y="70"/>
                    <a:pt x="1943" y="69"/>
                    <a:pt x="1945" y="68"/>
                  </a:cubicBezTo>
                  <a:lnTo>
                    <a:pt x="1979" y="60"/>
                  </a:lnTo>
                  <a:cubicBezTo>
                    <a:pt x="1981" y="59"/>
                    <a:pt x="1982" y="60"/>
                    <a:pt x="1982" y="62"/>
                  </a:cubicBezTo>
                  <a:cubicBezTo>
                    <a:pt x="1983" y="63"/>
                    <a:pt x="1982" y="64"/>
                    <a:pt x="1981" y="65"/>
                  </a:cubicBezTo>
                  <a:close/>
                  <a:moveTo>
                    <a:pt x="1921" y="80"/>
                  </a:moveTo>
                  <a:lnTo>
                    <a:pt x="1886" y="89"/>
                  </a:lnTo>
                  <a:cubicBezTo>
                    <a:pt x="1885" y="89"/>
                    <a:pt x="1884" y="88"/>
                    <a:pt x="1883" y="87"/>
                  </a:cubicBezTo>
                  <a:cubicBezTo>
                    <a:pt x="1883" y="85"/>
                    <a:pt x="1884" y="84"/>
                    <a:pt x="1885" y="84"/>
                  </a:cubicBezTo>
                  <a:lnTo>
                    <a:pt x="1920" y="75"/>
                  </a:lnTo>
                  <a:cubicBezTo>
                    <a:pt x="1921" y="74"/>
                    <a:pt x="1923" y="75"/>
                    <a:pt x="1923" y="77"/>
                  </a:cubicBezTo>
                  <a:cubicBezTo>
                    <a:pt x="1923" y="78"/>
                    <a:pt x="1922" y="79"/>
                    <a:pt x="1921" y="80"/>
                  </a:cubicBezTo>
                  <a:close/>
                  <a:moveTo>
                    <a:pt x="1861" y="95"/>
                  </a:moveTo>
                  <a:lnTo>
                    <a:pt x="1827" y="104"/>
                  </a:lnTo>
                  <a:cubicBezTo>
                    <a:pt x="1825" y="104"/>
                    <a:pt x="1824" y="103"/>
                    <a:pt x="1824" y="102"/>
                  </a:cubicBezTo>
                  <a:cubicBezTo>
                    <a:pt x="1823" y="100"/>
                    <a:pt x="1824" y="99"/>
                    <a:pt x="1825" y="99"/>
                  </a:cubicBezTo>
                  <a:lnTo>
                    <a:pt x="1860" y="90"/>
                  </a:lnTo>
                  <a:cubicBezTo>
                    <a:pt x="1862" y="89"/>
                    <a:pt x="1863" y="90"/>
                    <a:pt x="1863" y="92"/>
                  </a:cubicBezTo>
                  <a:cubicBezTo>
                    <a:pt x="1864" y="93"/>
                    <a:pt x="1863" y="94"/>
                    <a:pt x="1861" y="95"/>
                  </a:cubicBezTo>
                  <a:close/>
                  <a:moveTo>
                    <a:pt x="1802" y="110"/>
                  </a:moveTo>
                  <a:lnTo>
                    <a:pt x="1774" y="117"/>
                  </a:lnTo>
                  <a:lnTo>
                    <a:pt x="1768" y="119"/>
                  </a:lnTo>
                  <a:cubicBezTo>
                    <a:pt x="1766" y="120"/>
                    <a:pt x="1765" y="119"/>
                    <a:pt x="1764" y="118"/>
                  </a:cubicBezTo>
                  <a:cubicBezTo>
                    <a:pt x="1764" y="116"/>
                    <a:pt x="1765" y="115"/>
                    <a:pt x="1766" y="114"/>
                  </a:cubicBezTo>
                  <a:lnTo>
                    <a:pt x="1773" y="112"/>
                  </a:lnTo>
                  <a:lnTo>
                    <a:pt x="1801" y="105"/>
                  </a:lnTo>
                  <a:cubicBezTo>
                    <a:pt x="1802" y="105"/>
                    <a:pt x="1803" y="105"/>
                    <a:pt x="1804" y="107"/>
                  </a:cubicBezTo>
                  <a:cubicBezTo>
                    <a:pt x="1804" y="108"/>
                    <a:pt x="1803" y="110"/>
                    <a:pt x="1802" y="110"/>
                  </a:cubicBezTo>
                  <a:close/>
                  <a:moveTo>
                    <a:pt x="1743" y="127"/>
                  </a:moveTo>
                  <a:lnTo>
                    <a:pt x="1709" y="139"/>
                  </a:lnTo>
                  <a:cubicBezTo>
                    <a:pt x="1708" y="139"/>
                    <a:pt x="1707" y="139"/>
                    <a:pt x="1706" y="137"/>
                  </a:cubicBezTo>
                  <a:cubicBezTo>
                    <a:pt x="1706" y="136"/>
                    <a:pt x="1706" y="134"/>
                    <a:pt x="1708" y="134"/>
                  </a:cubicBezTo>
                  <a:lnTo>
                    <a:pt x="1742" y="123"/>
                  </a:lnTo>
                  <a:cubicBezTo>
                    <a:pt x="1743" y="122"/>
                    <a:pt x="1744" y="123"/>
                    <a:pt x="1745" y="124"/>
                  </a:cubicBezTo>
                  <a:cubicBezTo>
                    <a:pt x="1745" y="125"/>
                    <a:pt x="1745" y="127"/>
                    <a:pt x="1743" y="127"/>
                  </a:cubicBezTo>
                  <a:close/>
                  <a:moveTo>
                    <a:pt x="1685" y="147"/>
                  </a:moveTo>
                  <a:lnTo>
                    <a:pt x="1651" y="159"/>
                  </a:lnTo>
                  <a:cubicBezTo>
                    <a:pt x="1650" y="159"/>
                    <a:pt x="1648" y="158"/>
                    <a:pt x="1648" y="157"/>
                  </a:cubicBezTo>
                  <a:cubicBezTo>
                    <a:pt x="1647" y="156"/>
                    <a:pt x="1648" y="154"/>
                    <a:pt x="1650" y="154"/>
                  </a:cubicBezTo>
                  <a:lnTo>
                    <a:pt x="1683" y="142"/>
                  </a:lnTo>
                  <a:cubicBezTo>
                    <a:pt x="1685" y="142"/>
                    <a:pt x="1686" y="142"/>
                    <a:pt x="1687" y="144"/>
                  </a:cubicBezTo>
                  <a:cubicBezTo>
                    <a:pt x="1687" y="145"/>
                    <a:pt x="1686" y="147"/>
                    <a:pt x="1685" y="147"/>
                  </a:cubicBezTo>
                  <a:close/>
                  <a:moveTo>
                    <a:pt x="1627" y="167"/>
                  </a:moveTo>
                  <a:lnTo>
                    <a:pt x="1593" y="178"/>
                  </a:lnTo>
                  <a:cubicBezTo>
                    <a:pt x="1592" y="179"/>
                    <a:pt x="1590" y="178"/>
                    <a:pt x="1590" y="177"/>
                  </a:cubicBezTo>
                  <a:cubicBezTo>
                    <a:pt x="1589" y="175"/>
                    <a:pt x="1590" y="174"/>
                    <a:pt x="1591" y="173"/>
                  </a:cubicBezTo>
                  <a:lnTo>
                    <a:pt x="1625" y="162"/>
                  </a:lnTo>
                  <a:cubicBezTo>
                    <a:pt x="1627" y="161"/>
                    <a:pt x="1628" y="162"/>
                    <a:pt x="1628" y="163"/>
                  </a:cubicBezTo>
                  <a:cubicBezTo>
                    <a:pt x="1629" y="165"/>
                    <a:pt x="1628" y="166"/>
                    <a:pt x="1627" y="167"/>
                  </a:cubicBezTo>
                  <a:close/>
                  <a:moveTo>
                    <a:pt x="1569" y="186"/>
                  </a:moveTo>
                  <a:lnTo>
                    <a:pt x="1564" y="188"/>
                  </a:lnTo>
                  <a:lnTo>
                    <a:pt x="1536" y="200"/>
                  </a:lnTo>
                  <a:cubicBezTo>
                    <a:pt x="1535" y="201"/>
                    <a:pt x="1533" y="200"/>
                    <a:pt x="1532" y="199"/>
                  </a:cubicBezTo>
                  <a:cubicBezTo>
                    <a:pt x="1532" y="198"/>
                    <a:pt x="1533" y="196"/>
                    <a:pt x="1534" y="195"/>
                  </a:cubicBezTo>
                  <a:lnTo>
                    <a:pt x="1563" y="183"/>
                  </a:lnTo>
                  <a:lnTo>
                    <a:pt x="1567" y="182"/>
                  </a:lnTo>
                  <a:cubicBezTo>
                    <a:pt x="1568" y="181"/>
                    <a:pt x="1570" y="182"/>
                    <a:pt x="1570" y="183"/>
                  </a:cubicBezTo>
                  <a:cubicBezTo>
                    <a:pt x="1571" y="184"/>
                    <a:pt x="1570" y="186"/>
                    <a:pt x="1569" y="186"/>
                  </a:cubicBezTo>
                  <a:close/>
                  <a:moveTo>
                    <a:pt x="1512" y="210"/>
                  </a:moveTo>
                  <a:lnTo>
                    <a:pt x="1479" y="225"/>
                  </a:lnTo>
                  <a:cubicBezTo>
                    <a:pt x="1478" y="225"/>
                    <a:pt x="1477" y="224"/>
                    <a:pt x="1476" y="223"/>
                  </a:cubicBezTo>
                  <a:cubicBezTo>
                    <a:pt x="1476" y="222"/>
                    <a:pt x="1476" y="220"/>
                    <a:pt x="1477" y="220"/>
                  </a:cubicBezTo>
                  <a:lnTo>
                    <a:pt x="1510" y="206"/>
                  </a:lnTo>
                  <a:cubicBezTo>
                    <a:pt x="1512" y="205"/>
                    <a:pt x="1513" y="206"/>
                    <a:pt x="1514" y="207"/>
                  </a:cubicBezTo>
                  <a:cubicBezTo>
                    <a:pt x="1514" y="208"/>
                    <a:pt x="1514" y="210"/>
                    <a:pt x="1512" y="210"/>
                  </a:cubicBezTo>
                  <a:close/>
                  <a:moveTo>
                    <a:pt x="1456" y="235"/>
                  </a:moveTo>
                  <a:lnTo>
                    <a:pt x="1423" y="249"/>
                  </a:lnTo>
                  <a:cubicBezTo>
                    <a:pt x="1422" y="249"/>
                    <a:pt x="1420" y="249"/>
                    <a:pt x="1420" y="248"/>
                  </a:cubicBezTo>
                  <a:cubicBezTo>
                    <a:pt x="1419" y="246"/>
                    <a:pt x="1420" y="245"/>
                    <a:pt x="1421" y="244"/>
                  </a:cubicBezTo>
                  <a:lnTo>
                    <a:pt x="1454" y="230"/>
                  </a:lnTo>
                  <a:cubicBezTo>
                    <a:pt x="1455" y="229"/>
                    <a:pt x="1457" y="230"/>
                    <a:pt x="1457" y="231"/>
                  </a:cubicBezTo>
                  <a:cubicBezTo>
                    <a:pt x="1458" y="233"/>
                    <a:pt x="1457" y="234"/>
                    <a:pt x="1456" y="235"/>
                  </a:cubicBezTo>
                  <a:close/>
                  <a:moveTo>
                    <a:pt x="1400" y="259"/>
                  </a:moveTo>
                  <a:lnTo>
                    <a:pt x="1367" y="273"/>
                  </a:lnTo>
                  <a:cubicBezTo>
                    <a:pt x="1365" y="274"/>
                    <a:pt x="1364" y="273"/>
                    <a:pt x="1363" y="272"/>
                  </a:cubicBezTo>
                  <a:cubicBezTo>
                    <a:pt x="1363" y="271"/>
                    <a:pt x="1363" y="269"/>
                    <a:pt x="1365" y="268"/>
                  </a:cubicBezTo>
                  <a:lnTo>
                    <a:pt x="1397" y="254"/>
                  </a:lnTo>
                  <a:cubicBezTo>
                    <a:pt x="1399" y="254"/>
                    <a:pt x="1400" y="254"/>
                    <a:pt x="1401" y="256"/>
                  </a:cubicBezTo>
                  <a:cubicBezTo>
                    <a:pt x="1401" y="257"/>
                    <a:pt x="1401" y="258"/>
                    <a:pt x="1400" y="259"/>
                  </a:cubicBezTo>
                  <a:close/>
                  <a:moveTo>
                    <a:pt x="1344" y="285"/>
                  </a:moveTo>
                  <a:lnTo>
                    <a:pt x="1312" y="301"/>
                  </a:lnTo>
                  <a:cubicBezTo>
                    <a:pt x="1311" y="302"/>
                    <a:pt x="1310" y="302"/>
                    <a:pt x="1309" y="300"/>
                  </a:cubicBezTo>
                  <a:cubicBezTo>
                    <a:pt x="1308" y="299"/>
                    <a:pt x="1309" y="298"/>
                    <a:pt x="1310" y="297"/>
                  </a:cubicBezTo>
                  <a:lnTo>
                    <a:pt x="1342" y="280"/>
                  </a:lnTo>
                  <a:cubicBezTo>
                    <a:pt x="1343" y="279"/>
                    <a:pt x="1344" y="280"/>
                    <a:pt x="1345" y="281"/>
                  </a:cubicBezTo>
                  <a:cubicBezTo>
                    <a:pt x="1346" y="282"/>
                    <a:pt x="1345" y="284"/>
                    <a:pt x="1344" y="285"/>
                  </a:cubicBezTo>
                  <a:close/>
                  <a:moveTo>
                    <a:pt x="1290" y="314"/>
                  </a:moveTo>
                  <a:lnTo>
                    <a:pt x="1258" y="330"/>
                  </a:lnTo>
                  <a:cubicBezTo>
                    <a:pt x="1257" y="331"/>
                    <a:pt x="1255" y="331"/>
                    <a:pt x="1255" y="329"/>
                  </a:cubicBezTo>
                  <a:cubicBezTo>
                    <a:pt x="1254" y="328"/>
                    <a:pt x="1255" y="327"/>
                    <a:pt x="1256" y="326"/>
                  </a:cubicBezTo>
                  <a:lnTo>
                    <a:pt x="1287" y="309"/>
                  </a:lnTo>
                  <a:cubicBezTo>
                    <a:pt x="1289" y="308"/>
                    <a:pt x="1290" y="309"/>
                    <a:pt x="1291" y="310"/>
                  </a:cubicBezTo>
                  <a:cubicBezTo>
                    <a:pt x="1291" y="311"/>
                    <a:pt x="1291" y="313"/>
                    <a:pt x="1290" y="314"/>
                  </a:cubicBezTo>
                  <a:close/>
                  <a:moveTo>
                    <a:pt x="1236" y="342"/>
                  </a:moveTo>
                  <a:lnTo>
                    <a:pt x="1204" y="359"/>
                  </a:lnTo>
                  <a:cubicBezTo>
                    <a:pt x="1203" y="360"/>
                    <a:pt x="1201" y="360"/>
                    <a:pt x="1200" y="358"/>
                  </a:cubicBezTo>
                  <a:cubicBezTo>
                    <a:pt x="1200" y="357"/>
                    <a:pt x="1200" y="355"/>
                    <a:pt x="1202" y="355"/>
                  </a:cubicBezTo>
                  <a:lnTo>
                    <a:pt x="1233" y="338"/>
                  </a:lnTo>
                  <a:cubicBezTo>
                    <a:pt x="1234" y="337"/>
                    <a:pt x="1236" y="338"/>
                    <a:pt x="1237" y="339"/>
                  </a:cubicBezTo>
                  <a:cubicBezTo>
                    <a:pt x="1237" y="340"/>
                    <a:pt x="1237" y="342"/>
                    <a:pt x="1236" y="342"/>
                  </a:cubicBezTo>
                  <a:close/>
                  <a:moveTo>
                    <a:pt x="1181" y="371"/>
                  </a:moveTo>
                  <a:lnTo>
                    <a:pt x="1166" y="380"/>
                  </a:lnTo>
                  <a:lnTo>
                    <a:pt x="1151" y="389"/>
                  </a:lnTo>
                  <a:cubicBezTo>
                    <a:pt x="1149" y="390"/>
                    <a:pt x="1148" y="390"/>
                    <a:pt x="1147" y="389"/>
                  </a:cubicBezTo>
                  <a:cubicBezTo>
                    <a:pt x="1146" y="387"/>
                    <a:pt x="1147" y="386"/>
                    <a:pt x="1148" y="385"/>
                  </a:cubicBezTo>
                  <a:lnTo>
                    <a:pt x="1163" y="375"/>
                  </a:lnTo>
                  <a:lnTo>
                    <a:pt x="1179" y="367"/>
                  </a:lnTo>
                  <a:cubicBezTo>
                    <a:pt x="1180" y="366"/>
                    <a:pt x="1182" y="367"/>
                    <a:pt x="1182" y="368"/>
                  </a:cubicBezTo>
                  <a:cubicBezTo>
                    <a:pt x="1183" y="369"/>
                    <a:pt x="1183" y="371"/>
                    <a:pt x="1181" y="371"/>
                  </a:cubicBezTo>
                  <a:close/>
                  <a:moveTo>
                    <a:pt x="1129" y="403"/>
                  </a:moveTo>
                  <a:lnTo>
                    <a:pt x="1099" y="422"/>
                  </a:lnTo>
                  <a:cubicBezTo>
                    <a:pt x="1098" y="423"/>
                    <a:pt x="1096" y="423"/>
                    <a:pt x="1095" y="422"/>
                  </a:cubicBezTo>
                  <a:cubicBezTo>
                    <a:pt x="1094" y="420"/>
                    <a:pt x="1095" y="419"/>
                    <a:pt x="1096" y="418"/>
                  </a:cubicBezTo>
                  <a:lnTo>
                    <a:pt x="1126" y="399"/>
                  </a:lnTo>
                  <a:cubicBezTo>
                    <a:pt x="1127" y="398"/>
                    <a:pt x="1129" y="398"/>
                    <a:pt x="1130" y="400"/>
                  </a:cubicBezTo>
                  <a:cubicBezTo>
                    <a:pt x="1131" y="401"/>
                    <a:pt x="1130" y="402"/>
                    <a:pt x="1129" y="403"/>
                  </a:cubicBezTo>
                  <a:close/>
                  <a:moveTo>
                    <a:pt x="1077" y="436"/>
                  </a:moveTo>
                  <a:lnTo>
                    <a:pt x="1047" y="455"/>
                  </a:lnTo>
                  <a:cubicBezTo>
                    <a:pt x="1046" y="456"/>
                    <a:pt x="1044" y="456"/>
                    <a:pt x="1043" y="454"/>
                  </a:cubicBezTo>
                  <a:cubicBezTo>
                    <a:pt x="1043" y="453"/>
                    <a:pt x="1043" y="452"/>
                    <a:pt x="1044" y="451"/>
                  </a:cubicBezTo>
                  <a:lnTo>
                    <a:pt x="1074" y="432"/>
                  </a:lnTo>
                  <a:cubicBezTo>
                    <a:pt x="1076" y="431"/>
                    <a:pt x="1077" y="431"/>
                    <a:pt x="1078" y="433"/>
                  </a:cubicBezTo>
                  <a:cubicBezTo>
                    <a:pt x="1079" y="434"/>
                    <a:pt x="1078" y="435"/>
                    <a:pt x="1077" y="436"/>
                  </a:cubicBezTo>
                  <a:close/>
                  <a:moveTo>
                    <a:pt x="1025" y="469"/>
                  </a:moveTo>
                  <a:lnTo>
                    <a:pt x="995" y="488"/>
                  </a:lnTo>
                  <a:cubicBezTo>
                    <a:pt x="994" y="489"/>
                    <a:pt x="992" y="489"/>
                    <a:pt x="992" y="487"/>
                  </a:cubicBezTo>
                  <a:cubicBezTo>
                    <a:pt x="991" y="486"/>
                    <a:pt x="991" y="485"/>
                    <a:pt x="992" y="484"/>
                  </a:cubicBezTo>
                  <a:lnTo>
                    <a:pt x="1023" y="465"/>
                  </a:lnTo>
                  <a:cubicBezTo>
                    <a:pt x="1024" y="464"/>
                    <a:pt x="1025" y="464"/>
                    <a:pt x="1026" y="465"/>
                  </a:cubicBezTo>
                  <a:cubicBezTo>
                    <a:pt x="1027" y="467"/>
                    <a:pt x="1027" y="468"/>
                    <a:pt x="1025" y="469"/>
                  </a:cubicBezTo>
                  <a:close/>
                  <a:moveTo>
                    <a:pt x="974" y="502"/>
                  </a:moveTo>
                  <a:lnTo>
                    <a:pt x="945" y="524"/>
                  </a:lnTo>
                  <a:cubicBezTo>
                    <a:pt x="944" y="525"/>
                    <a:pt x="943" y="525"/>
                    <a:pt x="942" y="523"/>
                  </a:cubicBezTo>
                  <a:cubicBezTo>
                    <a:pt x="941" y="522"/>
                    <a:pt x="941" y="521"/>
                    <a:pt x="942" y="520"/>
                  </a:cubicBezTo>
                  <a:lnTo>
                    <a:pt x="971" y="498"/>
                  </a:lnTo>
                  <a:cubicBezTo>
                    <a:pt x="972" y="497"/>
                    <a:pt x="974" y="498"/>
                    <a:pt x="974" y="499"/>
                  </a:cubicBezTo>
                  <a:cubicBezTo>
                    <a:pt x="975" y="500"/>
                    <a:pt x="975" y="501"/>
                    <a:pt x="974" y="502"/>
                  </a:cubicBezTo>
                  <a:close/>
                  <a:moveTo>
                    <a:pt x="925" y="539"/>
                  </a:moveTo>
                  <a:lnTo>
                    <a:pt x="896" y="561"/>
                  </a:lnTo>
                  <a:cubicBezTo>
                    <a:pt x="895" y="562"/>
                    <a:pt x="894" y="562"/>
                    <a:pt x="893" y="560"/>
                  </a:cubicBezTo>
                  <a:cubicBezTo>
                    <a:pt x="892" y="559"/>
                    <a:pt x="892" y="558"/>
                    <a:pt x="893" y="557"/>
                  </a:cubicBezTo>
                  <a:lnTo>
                    <a:pt x="922" y="535"/>
                  </a:lnTo>
                  <a:cubicBezTo>
                    <a:pt x="923" y="534"/>
                    <a:pt x="925" y="535"/>
                    <a:pt x="925" y="536"/>
                  </a:cubicBezTo>
                  <a:cubicBezTo>
                    <a:pt x="926" y="537"/>
                    <a:pt x="926" y="538"/>
                    <a:pt x="925" y="539"/>
                  </a:cubicBezTo>
                  <a:close/>
                  <a:moveTo>
                    <a:pt x="876" y="576"/>
                  </a:moveTo>
                  <a:lnTo>
                    <a:pt x="847" y="598"/>
                  </a:lnTo>
                  <a:cubicBezTo>
                    <a:pt x="846" y="599"/>
                    <a:pt x="845" y="599"/>
                    <a:pt x="844" y="597"/>
                  </a:cubicBezTo>
                  <a:cubicBezTo>
                    <a:pt x="843" y="596"/>
                    <a:pt x="843" y="595"/>
                    <a:pt x="844" y="594"/>
                  </a:cubicBezTo>
                  <a:lnTo>
                    <a:pt x="873" y="572"/>
                  </a:lnTo>
                  <a:cubicBezTo>
                    <a:pt x="874" y="571"/>
                    <a:pt x="876" y="572"/>
                    <a:pt x="876" y="573"/>
                  </a:cubicBezTo>
                  <a:cubicBezTo>
                    <a:pt x="877" y="574"/>
                    <a:pt x="877" y="576"/>
                    <a:pt x="876" y="576"/>
                  </a:cubicBezTo>
                  <a:close/>
                  <a:moveTo>
                    <a:pt x="827" y="613"/>
                  </a:moveTo>
                  <a:lnTo>
                    <a:pt x="803" y="632"/>
                  </a:lnTo>
                  <a:lnTo>
                    <a:pt x="799" y="635"/>
                  </a:lnTo>
                  <a:cubicBezTo>
                    <a:pt x="798" y="636"/>
                    <a:pt x="796" y="636"/>
                    <a:pt x="795" y="635"/>
                  </a:cubicBezTo>
                  <a:cubicBezTo>
                    <a:pt x="794" y="634"/>
                    <a:pt x="794" y="632"/>
                    <a:pt x="795" y="631"/>
                  </a:cubicBezTo>
                  <a:lnTo>
                    <a:pt x="800" y="627"/>
                  </a:lnTo>
                  <a:lnTo>
                    <a:pt x="824" y="609"/>
                  </a:lnTo>
                  <a:cubicBezTo>
                    <a:pt x="825" y="608"/>
                    <a:pt x="827" y="609"/>
                    <a:pt x="827" y="610"/>
                  </a:cubicBezTo>
                  <a:cubicBezTo>
                    <a:pt x="828" y="611"/>
                    <a:pt x="828" y="613"/>
                    <a:pt x="827" y="613"/>
                  </a:cubicBezTo>
                  <a:close/>
                  <a:moveTo>
                    <a:pt x="780" y="652"/>
                  </a:moveTo>
                  <a:lnTo>
                    <a:pt x="753" y="676"/>
                  </a:lnTo>
                  <a:cubicBezTo>
                    <a:pt x="752" y="677"/>
                    <a:pt x="750" y="677"/>
                    <a:pt x="749" y="676"/>
                  </a:cubicBezTo>
                  <a:cubicBezTo>
                    <a:pt x="748" y="675"/>
                    <a:pt x="749" y="673"/>
                    <a:pt x="750" y="672"/>
                  </a:cubicBezTo>
                  <a:lnTo>
                    <a:pt x="776" y="648"/>
                  </a:lnTo>
                  <a:cubicBezTo>
                    <a:pt x="777" y="648"/>
                    <a:pt x="779" y="648"/>
                    <a:pt x="780" y="649"/>
                  </a:cubicBezTo>
                  <a:cubicBezTo>
                    <a:pt x="781" y="650"/>
                    <a:pt x="781" y="651"/>
                    <a:pt x="780" y="652"/>
                  </a:cubicBezTo>
                  <a:close/>
                  <a:moveTo>
                    <a:pt x="734" y="693"/>
                  </a:moveTo>
                  <a:lnTo>
                    <a:pt x="707" y="717"/>
                  </a:lnTo>
                  <a:cubicBezTo>
                    <a:pt x="706" y="718"/>
                    <a:pt x="704" y="718"/>
                    <a:pt x="703" y="717"/>
                  </a:cubicBezTo>
                  <a:cubicBezTo>
                    <a:pt x="703" y="716"/>
                    <a:pt x="703" y="714"/>
                    <a:pt x="704" y="713"/>
                  </a:cubicBezTo>
                  <a:lnTo>
                    <a:pt x="730" y="689"/>
                  </a:lnTo>
                  <a:cubicBezTo>
                    <a:pt x="732" y="688"/>
                    <a:pt x="733" y="689"/>
                    <a:pt x="734" y="690"/>
                  </a:cubicBezTo>
                  <a:cubicBezTo>
                    <a:pt x="735" y="691"/>
                    <a:pt x="735" y="692"/>
                    <a:pt x="734" y="693"/>
                  </a:cubicBezTo>
                  <a:close/>
                  <a:moveTo>
                    <a:pt x="688" y="734"/>
                  </a:moveTo>
                  <a:lnTo>
                    <a:pt x="661" y="758"/>
                  </a:lnTo>
                  <a:cubicBezTo>
                    <a:pt x="660" y="759"/>
                    <a:pt x="659" y="759"/>
                    <a:pt x="658" y="758"/>
                  </a:cubicBezTo>
                  <a:cubicBezTo>
                    <a:pt x="657" y="757"/>
                    <a:pt x="657" y="755"/>
                    <a:pt x="658" y="754"/>
                  </a:cubicBezTo>
                  <a:lnTo>
                    <a:pt x="685" y="730"/>
                  </a:lnTo>
                  <a:cubicBezTo>
                    <a:pt x="686" y="729"/>
                    <a:pt x="687" y="729"/>
                    <a:pt x="688" y="730"/>
                  </a:cubicBezTo>
                  <a:cubicBezTo>
                    <a:pt x="689" y="732"/>
                    <a:pt x="689" y="733"/>
                    <a:pt x="688" y="734"/>
                  </a:cubicBezTo>
                  <a:close/>
                  <a:moveTo>
                    <a:pt x="642" y="775"/>
                  </a:moveTo>
                  <a:lnTo>
                    <a:pt x="637" y="779"/>
                  </a:lnTo>
                  <a:lnTo>
                    <a:pt x="617" y="800"/>
                  </a:lnTo>
                  <a:cubicBezTo>
                    <a:pt x="616" y="801"/>
                    <a:pt x="615" y="801"/>
                    <a:pt x="614" y="800"/>
                  </a:cubicBezTo>
                  <a:cubicBezTo>
                    <a:pt x="613" y="799"/>
                    <a:pt x="613" y="798"/>
                    <a:pt x="614" y="797"/>
                  </a:cubicBezTo>
                  <a:lnTo>
                    <a:pt x="634" y="776"/>
                  </a:lnTo>
                  <a:lnTo>
                    <a:pt x="639" y="771"/>
                  </a:lnTo>
                  <a:cubicBezTo>
                    <a:pt x="640" y="770"/>
                    <a:pt x="641" y="770"/>
                    <a:pt x="642" y="771"/>
                  </a:cubicBezTo>
                  <a:cubicBezTo>
                    <a:pt x="643" y="772"/>
                    <a:pt x="643" y="774"/>
                    <a:pt x="642" y="775"/>
                  </a:cubicBezTo>
                  <a:close/>
                  <a:moveTo>
                    <a:pt x="600" y="819"/>
                  </a:moveTo>
                  <a:lnTo>
                    <a:pt x="575" y="845"/>
                  </a:lnTo>
                  <a:cubicBezTo>
                    <a:pt x="574" y="846"/>
                    <a:pt x="572" y="846"/>
                    <a:pt x="571" y="845"/>
                  </a:cubicBezTo>
                  <a:cubicBezTo>
                    <a:pt x="570" y="844"/>
                    <a:pt x="570" y="842"/>
                    <a:pt x="571" y="841"/>
                  </a:cubicBezTo>
                  <a:lnTo>
                    <a:pt x="596" y="815"/>
                  </a:lnTo>
                  <a:cubicBezTo>
                    <a:pt x="597" y="814"/>
                    <a:pt x="598" y="814"/>
                    <a:pt x="599" y="815"/>
                  </a:cubicBezTo>
                  <a:cubicBezTo>
                    <a:pt x="601" y="816"/>
                    <a:pt x="601" y="818"/>
                    <a:pt x="600" y="819"/>
                  </a:cubicBezTo>
                  <a:close/>
                  <a:moveTo>
                    <a:pt x="557" y="863"/>
                  </a:moveTo>
                  <a:lnTo>
                    <a:pt x="533" y="889"/>
                  </a:lnTo>
                  <a:cubicBezTo>
                    <a:pt x="532" y="890"/>
                    <a:pt x="530" y="890"/>
                    <a:pt x="529" y="890"/>
                  </a:cubicBezTo>
                  <a:cubicBezTo>
                    <a:pt x="528" y="889"/>
                    <a:pt x="528" y="887"/>
                    <a:pt x="529" y="886"/>
                  </a:cubicBezTo>
                  <a:lnTo>
                    <a:pt x="554" y="860"/>
                  </a:lnTo>
                  <a:cubicBezTo>
                    <a:pt x="555" y="859"/>
                    <a:pt x="556" y="859"/>
                    <a:pt x="557" y="860"/>
                  </a:cubicBezTo>
                  <a:cubicBezTo>
                    <a:pt x="558" y="861"/>
                    <a:pt x="558" y="862"/>
                    <a:pt x="557" y="863"/>
                  </a:cubicBezTo>
                  <a:close/>
                  <a:moveTo>
                    <a:pt x="515" y="908"/>
                  </a:moveTo>
                  <a:lnTo>
                    <a:pt x="490" y="934"/>
                  </a:lnTo>
                  <a:cubicBezTo>
                    <a:pt x="489" y="935"/>
                    <a:pt x="488" y="935"/>
                    <a:pt x="487" y="934"/>
                  </a:cubicBezTo>
                  <a:cubicBezTo>
                    <a:pt x="486" y="933"/>
                    <a:pt x="486" y="931"/>
                    <a:pt x="487" y="930"/>
                  </a:cubicBezTo>
                  <a:lnTo>
                    <a:pt x="511" y="904"/>
                  </a:lnTo>
                  <a:cubicBezTo>
                    <a:pt x="512" y="903"/>
                    <a:pt x="514" y="903"/>
                    <a:pt x="515" y="904"/>
                  </a:cubicBezTo>
                  <a:cubicBezTo>
                    <a:pt x="516" y="905"/>
                    <a:pt x="516" y="907"/>
                    <a:pt x="515" y="908"/>
                  </a:cubicBezTo>
                  <a:close/>
                  <a:moveTo>
                    <a:pt x="474" y="953"/>
                  </a:moveTo>
                  <a:lnTo>
                    <a:pt x="451" y="981"/>
                  </a:lnTo>
                  <a:cubicBezTo>
                    <a:pt x="450" y="982"/>
                    <a:pt x="449" y="982"/>
                    <a:pt x="448" y="981"/>
                  </a:cubicBezTo>
                  <a:cubicBezTo>
                    <a:pt x="446" y="980"/>
                    <a:pt x="446" y="979"/>
                    <a:pt x="447" y="978"/>
                  </a:cubicBezTo>
                  <a:lnTo>
                    <a:pt x="470" y="950"/>
                  </a:lnTo>
                  <a:cubicBezTo>
                    <a:pt x="471" y="949"/>
                    <a:pt x="472" y="949"/>
                    <a:pt x="473" y="950"/>
                  </a:cubicBezTo>
                  <a:cubicBezTo>
                    <a:pt x="474" y="950"/>
                    <a:pt x="475" y="952"/>
                    <a:pt x="474" y="953"/>
                  </a:cubicBezTo>
                  <a:close/>
                  <a:moveTo>
                    <a:pt x="435" y="1001"/>
                  </a:moveTo>
                  <a:lnTo>
                    <a:pt x="412" y="1029"/>
                  </a:lnTo>
                  <a:cubicBezTo>
                    <a:pt x="412" y="1030"/>
                    <a:pt x="410" y="1030"/>
                    <a:pt x="409" y="1029"/>
                  </a:cubicBezTo>
                  <a:cubicBezTo>
                    <a:pt x="408" y="1028"/>
                    <a:pt x="408" y="1027"/>
                    <a:pt x="408" y="1026"/>
                  </a:cubicBezTo>
                  <a:lnTo>
                    <a:pt x="431" y="998"/>
                  </a:lnTo>
                  <a:cubicBezTo>
                    <a:pt x="432" y="997"/>
                    <a:pt x="434" y="996"/>
                    <a:pt x="435" y="997"/>
                  </a:cubicBezTo>
                  <a:cubicBezTo>
                    <a:pt x="436" y="998"/>
                    <a:pt x="436" y="1000"/>
                    <a:pt x="435" y="1001"/>
                  </a:cubicBezTo>
                  <a:close/>
                  <a:moveTo>
                    <a:pt x="396" y="1049"/>
                  </a:moveTo>
                  <a:lnTo>
                    <a:pt x="374" y="1076"/>
                  </a:lnTo>
                  <a:cubicBezTo>
                    <a:pt x="373" y="1078"/>
                    <a:pt x="371" y="1078"/>
                    <a:pt x="370" y="1077"/>
                  </a:cubicBezTo>
                  <a:cubicBezTo>
                    <a:pt x="369" y="1076"/>
                    <a:pt x="369" y="1074"/>
                    <a:pt x="370" y="1073"/>
                  </a:cubicBezTo>
                  <a:lnTo>
                    <a:pt x="392" y="1045"/>
                  </a:lnTo>
                  <a:cubicBezTo>
                    <a:pt x="393" y="1044"/>
                    <a:pt x="395" y="1044"/>
                    <a:pt x="396" y="1045"/>
                  </a:cubicBezTo>
                  <a:cubicBezTo>
                    <a:pt x="397" y="1046"/>
                    <a:pt x="397" y="1048"/>
                    <a:pt x="396" y="1049"/>
                  </a:cubicBezTo>
                  <a:close/>
                  <a:moveTo>
                    <a:pt x="358" y="1096"/>
                  </a:moveTo>
                  <a:lnTo>
                    <a:pt x="342" y="1115"/>
                  </a:lnTo>
                  <a:lnTo>
                    <a:pt x="336" y="1125"/>
                  </a:lnTo>
                  <a:cubicBezTo>
                    <a:pt x="335" y="1126"/>
                    <a:pt x="334" y="1126"/>
                    <a:pt x="332" y="1125"/>
                  </a:cubicBezTo>
                  <a:cubicBezTo>
                    <a:pt x="331" y="1124"/>
                    <a:pt x="331" y="1123"/>
                    <a:pt x="332" y="1122"/>
                  </a:cubicBezTo>
                  <a:lnTo>
                    <a:pt x="338" y="1112"/>
                  </a:lnTo>
                  <a:lnTo>
                    <a:pt x="354" y="1093"/>
                  </a:lnTo>
                  <a:cubicBezTo>
                    <a:pt x="355" y="1092"/>
                    <a:pt x="356" y="1092"/>
                    <a:pt x="357" y="1093"/>
                  </a:cubicBezTo>
                  <a:cubicBezTo>
                    <a:pt x="358" y="1094"/>
                    <a:pt x="359" y="1095"/>
                    <a:pt x="358" y="1096"/>
                  </a:cubicBezTo>
                  <a:close/>
                  <a:moveTo>
                    <a:pt x="321" y="1146"/>
                  </a:moveTo>
                  <a:lnTo>
                    <a:pt x="301" y="1175"/>
                  </a:lnTo>
                  <a:cubicBezTo>
                    <a:pt x="300" y="1176"/>
                    <a:pt x="299" y="1177"/>
                    <a:pt x="298" y="1176"/>
                  </a:cubicBezTo>
                  <a:cubicBezTo>
                    <a:pt x="297" y="1175"/>
                    <a:pt x="296" y="1174"/>
                    <a:pt x="297" y="1172"/>
                  </a:cubicBezTo>
                  <a:lnTo>
                    <a:pt x="317" y="1143"/>
                  </a:lnTo>
                  <a:cubicBezTo>
                    <a:pt x="318" y="1142"/>
                    <a:pt x="320" y="1141"/>
                    <a:pt x="321" y="1142"/>
                  </a:cubicBezTo>
                  <a:cubicBezTo>
                    <a:pt x="322" y="1143"/>
                    <a:pt x="322" y="1145"/>
                    <a:pt x="321" y="1146"/>
                  </a:cubicBezTo>
                  <a:close/>
                  <a:moveTo>
                    <a:pt x="287" y="1196"/>
                  </a:moveTo>
                  <a:lnTo>
                    <a:pt x="267" y="1226"/>
                  </a:lnTo>
                  <a:cubicBezTo>
                    <a:pt x="266" y="1227"/>
                    <a:pt x="264" y="1227"/>
                    <a:pt x="263" y="1227"/>
                  </a:cubicBezTo>
                  <a:cubicBezTo>
                    <a:pt x="262" y="1226"/>
                    <a:pt x="262" y="1224"/>
                    <a:pt x="262" y="1223"/>
                  </a:cubicBezTo>
                  <a:lnTo>
                    <a:pt x="283" y="1194"/>
                  </a:lnTo>
                  <a:cubicBezTo>
                    <a:pt x="283" y="1192"/>
                    <a:pt x="285" y="1192"/>
                    <a:pt x="286" y="1193"/>
                  </a:cubicBezTo>
                  <a:cubicBezTo>
                    <a:pt x="287" y="1194"/>
                    <a:pt x="288" y="1195"/>
                    <a:pt x="287" y="1196"/>
                  </a:cubicBezTo>
                  <a:close/>
                  <a:moveTo>
                    <a:pt x="252" y="1247"/>
                  </a:moveTo>
                  <a:lnTo>
                    <a:pt x="232" y="1277"/>
                  </a:lnTo>
                  <a:cubicBezTo>
                    <a:pt x="231" y="1278"/>
                    <a:pt x="229" y="1278"/>
                    <a:pt x="228" y="1277"/>
                  </a:cubicBezTo>
                  <a:cubicBezTo>
                    <a:pt x="227" y="1277"/>
                    <a:pt x="227" y="1275"/>
                    <a:pt x="228" y="1274"/>
                  </a:cubicBezTo>
                  <a:lnTo>
                    <a:pt x="248" y="1244"/>
                  </a:lnTo>
                  <a:cubicBezTo>
                    <a:pt x="249" y="1243"/>
                    <a:pt x="250" y="1243"/>
                    <a:pt x="251" y="1244"/>
                  </a:cubicBezTo>
                  <a:cubicBezTo>
                    <a:pt x="253" y="1244"/>
                    <a:pt x="253" y="1246"/>
                    <a:pt x="252" y="1247"/>
                  </a:cubicBezTo>
                  <a:close/>
                  <a:moveTo>
                    <a:pt x="217" y="1298"/>
                  </a:moveTo>
                  <a:lnTo>
                    <a:pt x="215" y="1302"/>
                  </a:lnTo>
                  <a:lnTo>
                    <a:pt x="199" y="1329"/>
                  </a:lnTo>
                  <a:cubicBezTo>
                    <a:pt x="199" y="1330"/>
                    <a:pt x="197" y="1330"/>
                    <a:pt x="196" y="1330"/>
                  </a:cubicBezTo>
                  <a:cubicBezTo>
                    <a:pt x="195" y="1329"/>
                    <a:pt x="194" y="1327"/>
                    <a:pt x="195" y="1326"/>
                  </a:cubicBezTo>
                  <a:lnTo>
                    <a:pt x="210" y="1299"/>
                  </a:lnTo>
                  <a:lnTo>
                    <a:pt x="213" y="1295"/>
                  </a:lnTo>
                  <a:cubicBezTo>
                    <a:pt x="214" y="1294"/>
                    <a:pt x="216" y="1293"/>
                    <a:pt x="217" y="1294"/>
                  </a:cubicBezTo>
                  <a:cubicBezTo>
                    <a:pt x="218" y="1295"/>
                    <a:pt x="218" y="1297"/>
                    <a:pt x="217" y="1298"/>
                  </a:cubicBezTo>
                  <a:close/>
                  <a:moveTo>
                    <a:pt x="187" y="1351"/>
                  </a:moveTo>
                  <a:lnTo>
                    <a:pt x="169" y="1382"/>
                  </a:lnTo>
                  <a:cubicBezTo>
                    <a:pt x="168" y="1383"/>
                    <a:pt x="167" y="1384"/>
                    <a:pt x="166" y="1383"/>
                  </a:cubicBezTo>
                  <a:cubicBezTo>
                    <a:pt x="164" y="1382"/>
                    <a:pt x="164" y="1381"/>
                    <a:pt x="165" y="1379"/>
                  </a:cubicBezTo>
                  <a:lnTo>
                    <a:pt x="182" y="1348"/>
                  </a:lnTo>
                  <a:cubicBezTo>
                    <a:pt x="183" y="1347"/>
                    <a:pt x="185" y="1347"/>
                    <a:pt x="186" y="1347"/>
                  </a:cubicBezTo>
                  <a:cubicBezTo>
                    <a:pt x="187" y="1348"/>
                    <a:pt x="188" y="1350"/>
                    <a:pt x="187" y="1351"/>
                  </a:cubicBezTo>
                  <a:close/>
                  <a:moveTo>
                    <a:pt x="156" y="1404"/>
                  </a:moveTo>
                  <a:lnTo>
                    <a:pt x="139" y="1435"/>
                  </a:lnTo>
                  <a:cubicBezTo>
                    <a:pt x="138" y="1437"/>
                    <a:pt x="137" y="1437"/>
                    <a:pt x="135" y="1436"/>
                  </a:cubicBezTo>
                  <a:cubicBezTo>
                    <a:pt x="134" y="1436"/>
                    <a:pt x="134" y="1434"/>
                    <a:pt x="134" y="1433"/>
                  </a:cubicBezTo>
                  <a:lnTo>
                    <a:pt x="152" y="1402"/>
                  </a:lnTo>
                  <a:cubicBezTo>
                    <a:pt x="153" y="1400"/>
                    <a:pt x="154" y="1400"/>
                    <a:pt x="156" y="1401"/>
                  </a:cubicBezTo>
                  <a:cubicBezTo>
                    <a:pt x="157" y="1401"/>
                    <a:pt x="157" y="1403"/>
                    <a:pt x="156" y="1404"/>
                  </a:cubicBezTo>
                  <a:close/>
                  <a:moveTo>
                    <a:pt x="126" y="1458"/>
                  </a:moveTo>
                  <a:lnTo>
                    <a:pt x="108" y="1489"/>
                  </a:lnTo>
                  <a:cubicBezTo>
                    <a:pt x="108" y="1490"/>
                    <a:pt x="106" y="1490"/>
                    <a:pt x="105" y="1490"/>
                  </a:cubicBezTo>
                  <a:cubicBezTo>
                    <a:pt x="104" y="1489"/>
                    <a:pt x="103" y="1488"/>
                    <a:pt x="104" y="1486"/>
                  </a:cubicBezTo>
                  <a:lnTo>
                    <a:pt x="122" y="1455"/>
                  </a:lnTo>
                  <a:cubicBezTo>
                    <a:pt x="122" y="1454"/>
                    <a:pt x="124" y="1453"/>
                    <a:pt x="125" y="1454"/>
                  </a:cubicBezTo>
                  <a:cubicBezTo>
                    <a:pt x="126" y="1455"/>
                    <a:pt x="127" y="1456"/>
                    <a:pt x="126" y="1458"/>
                  </a:cubicBezTo>
                  <a:close/>
                  <a:moveTo>
                    <a:pt x="97" y="1511"/>
                  </a:moveTo>
                  <a:lnTo>
                    <a:pt x="82" y="1544"/>
                  </a:lnTo>
                  <a:cubicBezTo>
                    <a:pt x="81" y="1545"/>
                    <a:pt x="80" y="1546"/>
                    <a:pt x="78" y="1545"/>
                  </a:cubicBezTo>
                  <a:cubicBezTo>
                    <a:pt x="77" y="1545"/>
                    <a:pt x="77" y="1543"/>
                    <a:pt x="77" y="1542"/>
                  </a:cubicBezTo>
                  <a:lnTo>
                    <a:pt x="92" y="1509"/>
                  </a:lnTo>
                  <a:cubicBezTo>
                    <a:pt x="93" y="1508"/>
                    <a:pt x="94" y="1507"/>
                    <a:pt x="96" y="1508"/>
                  </a:cubicBezTo>
                  <a:cubicBezTo>
                    <a:pt x="97" y="1509"/>
                    <a:pt x="97" y="1510"/>
                    <a:pt x="97" y="1511"/>
                  </a:cubicBezTo>
                  <a:close/>
                  <a:moveTo>
                    <a:pt x="71" y="1567"/>
                  </a:moveTo>
                  <a:lnTo>
                    <a:pt x="56" y="1600"/>
                  </a:lnTo>
                  <a:cubicBezTo>
                    <a:pt x="55" y="1601"/>
                    <a:pt x="54" y="1602"/>
                    <a:pt x="53" y="1601"/>
                  </a:cubicBezTo>
                  <a:cubicBezTo>
                    <a:pt x="51" y="1600"/>
                    <a:pt x="51" y="1599"/>
                    <a:pt x="51" y="1598"/>
                  </a:cubicBezTo>
                  <a:lnTo>
                    <a:pt x="66" y="1565"/>
                  </a:lnTo>
                  <a:cubicBezTo>
                    <a:pt x="67" y="1564"/>
                    <a:pt x="69" y="1563"/>
                    <a:pt x="70" y="1564"/>
                  </a:cubicBezTo>
                  <a:cubicBezTo>
                    <a:pt x="71" y="1564"/>
                    <a:pt x="72" y="1566"/>
                    <a:pt x="71" y="1567"/>
                  </a:cubicBezTo>
                  <a:close/>
                  <a:moveTo>
                    <a:pt x="45" y="1623"/>
                  </a:moveTo>
                  <a:lnTo>
                    <a:pt x="30" y="1655"/>
                  </a:lnTo>
                  <a:cubicBezTo>
                    <a:pt x="30" y="1657"/>
                    <a:pt x="28" y="1657"/>
                    <a:pt x="27" y="1657"/>
                  </a:cubicBezTo>
                  <a:cubicBezTo>
                    <a:pt x="26" y="1656"/>
                    <a:pt x="25" y="1655"/>
                    <a:pt x="26" y="1653"/>
                  </a:cubicBezTo>
                  <a:lnTo>
                    <a:pt x="41" y="1621"/>
                  </a:lnTo>
                  <a:cubicBezTo>
                    <a:pt x="41" y="1619"/>
                    <a:pt x="43" y="1619"/>
                    <a:pt x="44" y="1620"/>
                  </a:cubicBezTo>
                  <a:cubicBezTo>
                    <a:pt x="45" y="1620"/>
                    <a:pt x="46" y="1622"/>
                    <a:pt x="45" y="1623"/>
                  </a:cubicBezTo>
                  <a:close/>
                  <a:moveTo>
                    <a:pt x="20" y="1679"/>
                  </a:moveTo>
                  <a:lnTo>
                    <a:pt x="5" y="1711"/>
                  </a:lnTo>
                  <a:cubicBezTo>
                    <a:pt x="4" y="1712"/>
                    <a:pt x="3" y="1712"/>
                    <a:pt x="1" y="1712"/>
                  </a:cubicBezTo>
                  <a:cubicBezTo>
                    <a:pt x="0" y="1711"/>
                    <a:pt x="0" y="1710"/>
                    <a:pt x="0" y="1708"/>
                  </a:cubicBezTo>
                  <a:lnTo>
                    <a:pt x="15" y="1677"/>
                  </a:lnTo>
                  <a:cubicBezTo>
                    <a:pt x="15" y="1675"/>
                    <a:pt x="17" y="1675"/>
                    <a:pt x="18" y="1675"/>
                  </a:cubicBezTo>
                  <a:cubicBezTo>
                    <a:pt x="20" y="1676"/>
                    <a:pt x="20" y="1677"/>
                    <a:pt x="20" y="1679"/>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13">
              <a:extLst>
                <a:ext uri="{FF2B5EF4-FFF2-40B4-BE49-F238E27FC236}">
                  <a16:creationId xmlns:a16="http://schemas.microsoft.com/office/drawing/2014/main" id="{F41A262E-5E5F-48A8-977C-E5964F0B2150}"/>
                </a:ext>
              </a:extLst>
            </p:cNvPr>
            <p:cNvSpPr>
              <a:spLocks/>
            </p:cNvSpPr>
            <p:nvPr/>
          </p:nvSpPr>
          <p:spPr bwMode="auto">
            <a:xfrm>
              <a:off x="3840" y="1356"/>
              <a:ext cx="56" cy="53"/>
            </a:xfrm>
            <a:custGeom>
              <a:avLst/>
              <a:gdLst>
                <a:gd name="T0" fmla="*/ 7 w 56"/>
                <a:gd name="T1" fmla="*/ 0 h 53"/>
                <a:gd name="T2" fmla="*/ 56 w 56"/>
                <a:gd name="T3" fmla="*/ 34 h 53"/>
                <a:gd name="T4" fmla="*/ 0 w 56"/>
                <a:gd name="T5" fmla="*/ 53 h 53"/>
                <a:gd name="T6" fmla="*/ 7 w 56"/>
                <a:gd name="T7" fmla="*/ 0 h 53"/>
              </a:gdLst>
              <a:ahLst/>
              <a:cxnLst>
                <a:cxn ang="0">
                  <a:pos x="T0" y="T1"/>
                </a:cxn>
                <a:cxn ang="0">
                  <a:pos x="T2" y="T3"/>
                </a:cxn>
                <a:cxn ang="0">
                  <a:pos x="T4" y="T5"/>
                </a:cxn>
                <a:cxn ang="0">
                  <a:pos x="T6" y="T7"/>
                </a:cxn>
              </a:cxnLst>
              <a:rect l="0" t="0" r="r" b="b"/>
              <a:pathLst>
                <a:path w="56" h="53">
                  <a:moveTo>
                    <a:pt x="7" y="0"/>
                  </a:moveTo>
                  <a:lnTo>
                    <a:pt x="56" y="34"/>
                  </a:lnTo>
                  <a:lnTo>
                    <a:pt x="0" y="53"/>
                  </a:lnTo>
                  <a:lnTo>
                    <a:pt x="7"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14">
              <a:extLst>
                <a:ext uri="{FF2B5EF4-FFF2-40B4-BE49-F238E27FC236}">
                  <a16:creationId xmlns:a16="http://schemas.microsoft.com/office/drawing/2014/main" id="{85BE8C41-975A-4D20-B419-16BD4406DCA5}"/>
                </a:ext>
              </a:extLst>
            </p:cNvPr>
            <p:cNvSpPr>
              <a:spLocks noChangeArrowheads="1"/>
            </p:cNvSpPr>
            <p:nvPr/>
          </p:nvSpPr>
          <p:spPr bwMode="auto">
            <a:xfrm>
              <a:off x="2933" y="1462"/>
              <a:ext cx="324" cy="1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15">
              <a:extLst>
                <a:ext uri="{FF2B5EF4-FFF2-40B4-BE49-F238E27FC236}">
                  <a16:creationId xmlns:a16="http://schemas.microsoft.com/office/drawing/2014/main" id="{DFDB6000-A3A8-40AD-A7BA-7EA30FB29D48}"/>
                </a:ext>
              </a:extLst>
            </p:cNvPr>
            <p:cNvSpPr>
              <a:spLocks noEditPoints="1"/>
            </p:cNvSpPr>
            <p:nvPr/>
          </p:nvSpPr>
          <p:spPr bwMode="auto">
            <a:xfrm>
              <a:off x="2936" y="1475"/>
              <a:ext cx="318" cy="49"/>
            </a:xfrm>
            <a:custGeom>
              <a:avLst/>
              <a:gdLst>
                <a:gd name="T0" fmla="*/ 40 w 711"/>
                <a:gd name="T1" fmla="*/ 14 h 109"/>
                <a:gd name="T2" fmla="*/ 47 w 711"/>
                <a:gd name="T3" fmla="*/ 78 h 109"/>
                <a:gd name="T4" fmla="*/ 36 w 711"/>
                <a:gd name="T5" fmla="*/ 42 h 109"/>
                <a:gd name="T6" fmla="*/ 58 w 711"/>
                <a:gd name="T7" fmla="*/ 85 h 109"/>
                <a:gd name="T8" fmla="*/ 11 w 711"/>
                <a:gd name="T9" fmla="*/ 16 h 109"/>
                <a:gd name="T10" fmla="*/ 132 w 711"/>
                <a:gd name="T11" fmla="*/ 55 h 109"/>
                <a:gd name="T12" fmla="*/ 121 w 711"/>
                <a:gd name="T13" fmla="*/ 77 h 109"/>
                <a:gd name="T14" fmla="*/ 129 w 711"/>
                <a:gd name="T15" fmla="*/ 83 h 109"/>
                <a:gd name="T16" fmla="*/ 80 w 711"/>
                <a:gd name="T17" fmla="*/ 57 h 109"/>
                <a:gd name="T18" fmla="*/ 132 w 711"/>
                <a:gd name="T19" fmla="*/ 55 h 109"/>
                <a:gd name="T20" fmla="*/ 177 w 711"/>
                <a:gd name="T21" fmla="*/ 81 h 109"/>
                <a:gd name="T22" fmla="*/ 151 w 711"/>
                <a:gd name="T23" fmla="*/ 77 h 109"/>
                <a:gd name="T24" fmla="*/ 142 w 711"/>
                <a:gd name="T25" fmla="*/ 27 h 109"/>
                <a:gd name="T26" fmla="*/ 160 w 711"/>
                <a:gd name="T27" fmla="*/ 13 h 109"/>
                <a:gd name="T28" fmla="*/ 175 w 711"/>
                <a:gd name="T29" fmla="*/ 36 h 109"/>
                <a:gd name="T30" fmla="*/ 176 w 711"/>
                <a:gd name="T31" fmla="*/ 77 h 109"/>
                <a:gd name="T32" fmla="*/ 223 w 711"/>
                <a:gd name="T33" fmla="*/ 15 h 109"/>
                <a:gd name="T34" fmla="*/ 212 w 711"/>
                <a:gd name="T35" fmla="*/ 85 h 109"/>
                <a:gd name="T36" fmla="*/ 188 w 711"/>
                <a:gd name="T37" fmla="*/ 6 h 109"/>
                <a:gd name="T38" fmla="*/ 305 w 711"/>
                <a:gd name="T39" fmla="*/ 79 h 109"/>
                <a:gd name="T40" fmla="*/ 272 w 711"/>
                <a:gd name="T41" fmla="*/ 28 h 109"/>
                <a:gd name="T42" fmla="*/ 292 w 711"/>
                <a:gd name="T43" fmla="*/ 36 h 109"/>
                <a:gd name="T44" fmla="*/ 284 w 711"/>
                <a:gd name="T45" fmla="*/ 79 h 109"/>
                <a:gd name="T46" fmla="*/ 351 w 711"/>
                <a:gd name="T47" fmla="*/ 88 h 109"/>
                <a:gd name="T48" fmla="*/ 329 w 711"/>
                <a:gd name="T49" fmla="*/ 109 h 109"/>
                <a:gd name="T50" fmla="*/ 328 w 711"/>
                <a:gd name="T51" fmla="*/ 27 h 109"/>
                <a:gd name="T52" fmla="*/ 353 w 711"/>
                <a:gd name="T53" fmla="*/ 26 h 109"/>
                <a:gd name="T54" fmla="*/ 351 w 711"/>
                <a:gd name="T55" fmla="*/ 35 h 109"/>
                <a:gd name="T56" fmla="*/ 361 w 711"/>
                <a:gd name="T57" fmla="*/ 72 h 109"/>
                <a:gd name="T58" fmla="*/ 391 w 711"/>
                <a:gd name="T59" fmla="*/ 86 h 109"/>
                <a:gd name="T60" fmla="*/ 387 w 711"/>
                <a:gd name="T61" fmla="*/ 73 h 109"/>
                <a:gd name="T62" fmla="*/ 415 w 711"/>
                <a:gd name="T63" fmla="*/ 55 h 109"/>
                <a:gd name="T64" fmla="*/ 399 w 711"/>
                <a:gd name="T65" fmla="*/ 6 h 109"/>
                <a:gd name="T66" fmla="*/ 428 w 711"/>
                <a:gd name="T67" fmla="*/ 15 h 109"/>
                <a:gd name="T68" fmla="*/ 403 w 711"/>
                <a:gd name="T69" fmla="*/ 14 h 109"/>
                <a:gd name="T70" fmla="*/ 426 w 711"/>
                <a:gd name="T71" fmla="*/ 50 h 109"/>
                <a:gd name="T72" fmla="*/ 468 w 711"/>
                <a:gd name="T73" fmla="*/ 78 h 109"/>
                <a:gd name="T74" fmla="*/ 497 w 711"/>
                <a:gd name="T75" fmla="*/ 79 h 109"/>
                <a:gd name="T76" fmla="*/ 464 w 711"/>
                <a:gd name="T77" fmla="*/ 86 h 109"/>
                <a:gd name="T78" fmla="*/ 494 w 711"/>
                <a:gd name="T79" fmla="*/ 34 h 109"/>
                <a:gd name="T80" fmla="*/ 460 w 711"/>
                <a:gd name="T81" fmla="*/ 45 h 109"/>
                <a:gd name="T82" fmla="*/ 517 w 711"/>
                <a:gd name="T83" fmla="*/ 87 h 109"/>
                <a:gd name="T84" fmla="*/ 525 w 711"/>
                <a:gd name="T85" fmla="*/ 0 h 109"/>
                <a:gd name="T86" fmla="*/ 550 w 711"/>
                <a:gd name="T87" fmla="*/ 87 h 109"/>
                <a:gd name="T88" fmla="*/ 555 w 711"/>
                <a:gd name="T89" fmla="*/ 0 h 109"/>
                <a:gd name="T90" fmla="*/ 571 w 711"/>
                <a:gd name="T91" fmla="*/ 68 h 109"/>
                <a:gd name="T92" fmla="*/ 609 w 711"/>
                <a:gd name="T93" fmla="*/ 76 h 109"/>
                <a:gd name="T94" fmla="*/ 595 w 711"/>
                <a:gd name="T95" fmla="*/ 87 h 109"/>
                <a:gd name="T96" fmla="*/ 587 w 711"/>
                <a:gd name="T97" fmla="*/ 26 h 109"/>
                <a:gd name="T98" fmla="*/ 580 w 711"/>
                <a:gd name="T99" fmla="*/ 36 h 109"/>
                <a:gd name="T100" fmla="*/ 659 w 711"/>
                <a:gd name="T101" fmla="*/ 37 h 109"/>
                <a:gd name="T102" fmla="*/ 638 w 711"/>
                <a:gd name="T103" fmla="*/ 85 h 109"/>
                <a:gd name="T104" fmla="*/ 628 w 711"/>
                <a:gd name="T105" fmla="*/ 29 h 109"/>
                <a:gd name="T106" fmla="*/ 637 w 711"/>
                <a:gd name="T107" fmla="*/ 37 h 109"/>
                <a:gd name="T108" fmla="*/ 660 w 711"/>
                <a:gd name="T109" fmla="*/ 28 h 109"/>
                <a:gd name="T110" fmla="*/ 683 w 711"/>
                <a:gd name="T111" fmla="*/ 87 h 109"/>
                <a:gd name="T112" fmla="*/ 673 w 711"/>
                <a:gd name="T113" fmla="*/ 74 h 109"/>
                <a:gd name="T114" fmla="*/ 699 w 711"/>
                <a:gd name="T115" fmla="*/ 67 h 109"/>
                <a:gd name="T116" fmla="*/ 678 w 711"/>
                <a:gd name="T117" fmla="*/ 31 h 109"/>
                <a:gd name="T118" fmla="*/ 708 w 711"/>
                <a:gd name="T119" fmla="*/ 33 h 109"/>
                <a:gd name="T120" fmla="*/ 693 w 711"/>
                <a:gd name="T121" fmla="*/ 34 h 109"/>
                <a:gd name="T122" fmla="*/ 702 w 711"/>
                <a:gd name="T123"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1" h="109">
                  <a:moveTo>
                    <a:pt x="65" y="17"/>
                  </a:moveTo>
                  <a:cubicBezTo>
                    <a:pt x="65" y="18"/>
                    <a:pt x="65" y="18"/>
                    <a:pt x="65" y="19"/>
                  </a:cubicBezTo>
                  <a:cubicBezTo>
                    <a:pt x="65" y="20"/>
                    <a:pt x="65" y="20"/>
                    <a:pt x="65" y="20"/>
                  </a:cubicBezTo>
                  <a:cubicBezTo>
                    <a:pt x="65" y="21"/>
                    <a:pt x="65" y="21"/>
                    <a:pt x="64" y="21"/>
                  </a:cubicBezTo>
                  <a:cubicBezTo>
                    <a:pt x="64" y="21"/>
                    <a:pt x="64" y="22"/>
                    <a:pt x="64" y="22"/>
                  </a:cubicBezTo>
                  <a:cubicBezTo>
                    <a:pt x="63" y="22"/>
                    <a:pt x="62" y="21"/>
                    <a:pt x="61" y="20"/>
                  </a:cubicBezTo>
                  <a:cubicBezTo>
                    <a:pt x="60" y="20"/>
                    <a:pt x="58" y="19"/>
                    <a:pt x="56" y="18"/>
                  </a:cubicBezTo>
                  <a:cubicBezTo>
                    <a:pt x="54" y="17"/>
                    <a:pt x="52" y="16"/>
                    <a:pt x="49" y="15"/>
                  </a:cubicBezTo>
                  <a:cubicBezTo>
                    <a:pt x="47" y="14"/>
                    <a:pt x="43" y="14"/>
                    <a:pt x="40" y="14"/>
                  </a:cubicBezTo>
                  <a:cubicBezTo>
                    <a:pt x="35" y="14"/>
                    <a:pt x="31" y="15"/>
                    <a:pt x="28" y="16"/>
                  </a:cubicBezTo>
                  <a:cubicBezTo>
                    <a:pt x="24" y="18"/>
                    <a:pt x="21" y="20"/>
                    <a:pt x="19" y="23"/>
                  </a:cubicBezTo>
                  <a:cubicBezTo>
                    <a:pt x="16" y="26"/>
                    <a:pt x="14" y="29"/>
                    <a:pt x="13" y="33"/>
                  </a:cubicBezTo>
                  <a:cubicBezTo>
                    <a:pt x="12" y="37"/>
                    <a:pt x="11" y="42"/>
                    <a:pt x="11" y="46"/>
                  </a:cubicBezTo>
                  <a:cubicBezTo>
                    <a:pt x="11" y="51"/>
                    <a:pt x="12" y="56"/>
                    <a:pt x="13" y="60"/>
                  </a:cubicBezTo>
                  <a:cubicBezTo>
                    <a:pt x="15" y="64"/>
                    <a:pt x="17" y="67"/>
                    <a:pt x="19" y="70"/>
                  </a:cubicBezTo>
                  <a:cubicBezTo>
                    <a:pt x="22" y="73"/>
                    <a:pt x="25" y="75"/>
                    <a:pt x="28" y="76"/>
                  </a:cubicBezTo>
                  <a:cubicBezTo>
                    <a:pt x="32" y="78"/>
                    <a:pt x="36" y="78"/>
                    <a:pt x="40" y="78"/>
                  </a:cubicBezTo>
                  <a:cubicBezTo>
                    <a:pt x="42" y="78"/>
                    <a:pt x="45" y="78"/>
                    <a:pt x="47" y="78"/>
                  </a:cubicBezTo>
                  <a:cubicBezTo>
                    <a:pt x="50" y="77"/>
                    <a:pt x="52" y="76"/>
                    <a:pt x="55" y="75"/>
                  </a:cubicBezTo>
                  <a:lnTo>
                    <a:pt x="55" y="51"/>
                  </a:lnTo>
                  <a:lnTo>
                    <a:pt x="36" y="51"/>
                  </a:lnTo>
                  <a:cubicBezTo>
                    <a:pt x="35" y="51"/>
                    <a:pt x="35" y="51"/>
                    <a:pt x="34" y="50"/>
                  </a:cubicBezTo>
                  <a:cubicBezTo>
                    <a:pt x="34" y="49"/>
                    <a:pt x="34" y="48"/>
                    <a:pt x="34" y="47"/>
                  </a:cubicBezTo>
                  <a:cubicBezTo>
                    <a:pt x="34" y="46"/>
                    <a:pt x="34" y="45"/>
                    <a:pt x="34" y="45"/>
                  </a:cubicBezTo>
                  <a:cubicBezTo>
                    <a:pt x="34" y="44"/>
                    <a:pt x="34" y="44"/>
                    <a:pt x="34" y="43"/>
                  </a:cubicBezTo>
                  <a:cubicBezTo>
                    <a:pt x="34" y="43"/>
                    <a:pt x="35" y="43"/>
                    <a:pt x="35" y="43"/>
                  </a:cubicBezTo>
                  <a:cubicBezTo>
                    <a:pt x="35" y="43"/>
                    <a:pt x="35" y="42"/>
                    <a:pt x="36" y="42"/>
                  </a:cubicBezTo>
                  <a:lnTo>
                    <a:pt x="61" y="42"/>
                  </a:lnTo>
                  <a:cubicBezTo>
                    <a:pt x="62" y="42"/>
                    <a:pt x="62" y="43"/>
                    <a:pt x="63" y="43"/>
                  </a:cubicBezTo>
                  <a:cubicBezTo>
                    <a:pt x="63" y="43"/>
                    <a:pt x="64" y="43"/>
                    <a:pt x="64" y="43"/>
                  </a:cubicBezTo>
                  <a:cubicBezTo>
                    <a:pt x="64" y="44"/>
                    <a:pt x="65" y="44"/>
                    <a:pt x="65" y="45"/>
                  </a:cubicBezTo>
                  <a:cubicBezTo>
                    <a:pt x="65" y="45"/>
                    <a:pt x="65" y="46"/>
                    <a:pt x="65" y="47"/>
                  </a:cubicBezTo>
                  <a:lnTo>
                    <a:pt x="65" y="78"/>
                  </a:lnTo>
                  <a:cubicBezTo>
                    <a:pt x="65" y="79"/>
                    <a:pt x="65" y="80"/>
                    <a:pt x="65" y="80"/>
                  </a:cubicBezTo>
                  <a:cubicBezTo>
                    <a:pt x="64" y="81"/>
                    <a:pt x="64" y="82"/>
                    <a:pt x="62" y="83"/>
                  </a:cubicBezTo>
                  <a:cubicBezTo>
                    <a:pt x="61" y="83"/>
                    <a:pt x="60" y="84"/>
                    <a:pt x="58" y="85"/>
                  </a:cubicBezTo>
                  <a:cubicBezTo>
                    <a:pt x="56" y="85"/>
                    <a:pt x="54" y="86"/>
                    <a:pt x="52" y="86"/>
                  </a:cubicBezTo>
                  <a:cubicBezTo>
                    <a:pt x="50" y="87"/>
                    <a:pt x="48" y="87"/>
                    <a:pt x="46" y="87"/>
                  </a:cubicBezTo>
                  <a:cubicBezTo>
                    <a:pt x="43" y="88"/>
                    <a:pt x="41" y="88"/>
                    <a:pt x="39" y="88"/>
                  </a:cubicBezTo>
                  <a:cubicBezTo>
                    <a:pt x="33" y="88"/>
                    <a:pt x="27" y="87"/>
                    <a:pt x="23" y="85"/>
                  </a:cubicBezTo>
                  <a:cubicBezTo>
                    <a:pt x="18" y="83"/>
                    <a:pt x="14" y="80"/>
                    <a:pt x="10" y="77"/>
                  </a:cubicBezTo>
                  <a:cubicBezTo>
                    <a:pt x="7" y="73"/>
                    <a:pt x="4" y="69"/>
                    <a:pt x="2" y="64"/>
                  </a:cubicBezTo>
                  <a:cubicBezTo>
                    <a:pt x="1" y="59"/>
                    <a:pt x="0" y="53"/>
                    <a:pt x="0" y="47"/>
                  </a:cubicBezTo>
                  <a:cubicBezTo>
                    <a:pt x="0" y="41"/>
                    <a:pt x="1" y="35"/>
                    <a:pt x="3" y="30"/>
                  </a:cubicBezTo>
                  <a:cubicBezTo>
                    <a:pt x="4" y="24"/>
                    <a:pt x="7" y="20"/>
                    <a:pt x="11" y="16"/>
                  </a:cubicBezTo>
                  <a:cubicBezTo>
                    <a:pt x="14" y="13"/>
                    <a:pt x="18" y="10"/>
                    <a:pt x="23" y="8"/>
                  </a:cubicBezTo>
                  <a:cubicBezTo>
                    <a:pt x="28" y="6"/>
                    <a:pt x="34" y="5"/>
                    <a:pt x="40" y="5"/>
                  </a:cubicBezTo>
                  <a:cubicBezTo>
                    <a:pt x="43" y="5"/>
                    <a:pt x="46" y="5"/>
                    <a:pt x="49" y="6"/>
                  </a:cubicBezTo>
                  <a:cubicBezTo>
                    <a:pt x="51" y="6"/>
                    <a:pt x="54" y="7"/>
                    <a:pt x="56" y="7"/>
                  </a:cubicBezTo>
                  <a:cubicBezTo>
                    <a:pt x="58" y="8"/>
                    <a:pt x="60" y="9"/>
                    <a:pt x="61" y="10"/>
                  </a:cubicBezTo>
                  <a:cubicBezTo>
                    <a:pt x="62" y="11"/>
                    <a:pt x="63" y="11"/>
                    <a:pt x="64" y="12"/>
                  </a:cubicBezTo>
                  <a:cubicBezTo>
                    <a:pt x="65" y="12"/>
                    <a:pt x="65" y="13"/>
                    <a:pt x="65" y="14"/>
                  </a:cubicBezTo>
                  <a:cubicBezTo>
                    <a:pt x="65" y="14"/>
                    <a:pt x="65" y="15"/>
                    <a:pt x="65" y="17"/>
                  </a:cubicBezTo>
                  <a:close/>
                  <a:moveTo>
                    <a:pt x="132" y="55"/>
                  </a:moveTo>
                  <a:cubicBezTo>
                    <a:pt x="132" y="56"/>
                    <a:pt x="131" y="57"/>
                    <a:pt x="130" y="58"/>
                  </a:cubicBezTo>
                  <a:cubicBezTo>
                    <a:pt x="129" y="59"/>
                    <a:pt x="129" y="59"/>
                    <a:pt x="128" y="59"/>
                  </a:cubicBezTo>
                  <a:lnTo>
                    <a:pt x="90" y="59"/>
                  </a:lnTo>
                  <a:cubicBezTo>
                    <a:pt x="90" y="62"/>
                    <a:pt x="91" y="65"/>
                    <a:pt x="91" y="68"/>
                  </a:cubicBezTo>
                  <a:cubicBezTo>
                    <a:pt x="92" y="70"/>
                    <a:pt x="93" y="72"/>
                    <a:pt x="95" y="74"/>
                  </a:cubicBezTo>
                  <a:cubicBezTo>
                    <a:pt x="96" y="76"/>
                    <a:pt x="98" y="77"/>
                    <a:pt x="100" y="78"/>
                  </a:cubicBezTo>
                  <a:cubicBezTo>
                    <a:pt x="103" y="79"/>
                    <a:pt x="105" y="80"/>
                    <a:pt x="109" y="80"/>
                  </a:cubicBezTo>
                  <a:cubicBezTo>
                    <a:pt x="112" y="80"/>
                    <a:pt x="114" y="79"/>
                    <a:pt x="116" y="79"/>
                  </a:cubicBezTo>
                  <a:cubicBezTo>
                    <a:pt x="118" y="78"/>
                    <a:pt x="120" y="78"/>
                    <a:pt x="121" y="77"/>
                  </a:cubicBezTo>
                  <a:cubicBezTo>
                    <a:pt x="123" y="77"/>
                    <a:pt x="124" y="76"/>
                    <a:pt x="125" y="76"/>
                  </a:cubicBezTo>
                  <a:cubicBezTo>
                    <a:pt x="126" y="75"/>
                    <a:pt x="127" y="75"/>
                    <a:pt x="127" y="75"/>
                  </a:cubicBezTo>
                  <a:cubicBezTo>
                    <a:pt x="128" y="75"/>
                    <a:pt x="128" y="75"/>
                    <a:pt x="128" y="75"/>
                  </a:cubicBezTo>
                  <a:cubicBezTo>
                    <a:pt x="128" y="76"/>
                    <a:pt x="129" y="76"/>
                    <a:pt x="129" y="76"/>
                  </a:cubicBezTo>
                  <a:cubicBezTo>
                    <a:pt x="129" y="76"/>
                    <a:pt x="129" y="77"/>
                    <a:pt x="129" y="77"/>
                  </a:cubicBezTo>
                  <a:cubicBezTo>
                    <a:pt x="129" y="78"/>
                    <a:pt x="129" y="79"/>
                    <a:pt x="129" y="79"/>
                  </a:cubicBezTo>
                  <a:cubicBezTo>
                    <a:pt x="129" y="80"/>
                    <a:pt x="129" y="80"/>
                    <a:pt x="129" y="81"/>
                  </a:cubicBezTo>
                  <a:cubicBezTo>
                    <a:pt x="129" y="81"/>
                    <a:pt x="129" y="81"/>
                    <a:pt x="129" y="82"/>
                  </a:cubicBezTo>
                  <a:cubicBezTo>
                    <a:pt x="129" y="82"/>
                    <a:pt x="129" y="82"/>
                    <a:pt x="129" y="83"/>
                  </a:cubicBezTo>
                  <a:cubicBezTo>
                    <a:pt x="128" y="83"/>
                    <a:pt x="128" y="83"/>
                    <a:pt x="128" y="83"/>
                  </a:cubicBezTo>
                  <a:cubicBezTo>
                    <a:pt x="128" y="84"/>
                    <a:pt x="127" y="84"/>
                    <a:pt x="126" y="84"/>
                  </a:cubicBezTo>
                  <a:cubicBezTo>
                    <a:pt x="125" y="85"/>
                    <a:pt x="123" y="85"/>
                    <a:pt x="122" y="86"/>
                  </a:cubicBezTo>
                  <a:cubicBezTo>
                    <a:pt x="120" y="86"/>
                    <a:pt x="118" y="87"/>
                    <a:pt x="115" y="87"/>
                  </a:cubicBezTo>
                  <a:cubicBezTo>
                    <a:pt x="113" y="88"/>
                    <a:pt x="111" y="88"/>
                    <a:pt x="108" y="88"/>
                  </a:cubicBezTo>
                  <a:cubicBezTo>
                    <a:pt x="103" y="88"/>
                    <a:pt x="99" y="87"/>
                    <a:pt x="96" y="86"/>
                  </a:cubicBezTo>
                  <a:cubicBezTo>
                    <a:pt x="92" y="85"/>
                    <a:pt x="89" y="83"/>
                    <a:pt x="87" y="80"/>
                  </a:cubicBezTo>
                  <a:cubicBezTo>
                    <a:pt x="85" y="78"/>
                    <a:pt x="83" y="74"/>
                    <a:pt x="82" y="71"/>
                  </a:cubicBezTo>
                  <a:cubicBezTo>
                    <a:pt x="80" y="67"/>
                    <a:pt x="80" y="62"/>
                    <a:pt x="80" y="57"/>
                  </a:cubicBezTo>
                  <a:cubicBezTo>
                    <a:pt x="80" y="52"/>
                    <a:pt x="80" y="48"/>
                    <a:pt x="82" y="44"/>
                  </a:cubicBezTo>
                  <a:cubicBezTo>
                    <a:pt x="83" y="40"/>
                    <a:pt x="85" y="37"/>
                    <a:pt x="87" y="34"/>
                  </a:cubicBezTo>
                  <a:cubicBezTo>
                    <a:pt x="89" y="32"/>
                    <a:pt x="92" y="30"/>
                    <a:pt x="96" y="28"/>
                  </a:cubicBezTo>
                  <a:cubicBezTo>
                    <a:pt x="99" y="27"/>
                    <a:pt x="103" y="26"/>
                    <a:pt x="107" y="26"/>
                  </a:cubicBezTo>
                  <a:cubicBezTo>
                    <a:pt x="111" y="26"/>
                    <a:pt x="115" y="27"/>
                    <a:pt x="118" y="28"/>
                  </a:cubicBezTo>
                  <a:cubicBezTo>
                    <a:pt x="121" y="30"/>
                    <a:pt x="124" y="32"/>
                    <a:pt x="126" y="34"/>
                  </a:cubicBezTo>
                  <a:cubicBezTo>
                    <a:pt x="128" y="36"/>
                    <a:pt x="129" y="39"/>
                    <a:pt x="130" y="42"/>
                  </a:cubicBezTo>
                  <a:cubicBezTo>
                    <a:pt x="131" y="46"/>
                    <a:pt x="132" y="49"/>
                    <a:pt x="132" y="53"/>
                  </a:cubicBezTo>
                  <a:lnTo>
                    <a:pt x="132" y="55"/>
                  </a:lnTo>
                  <a:close/>
                  <a:moveTo>
                    <a:pt x="121" y="52"/>
                  </a:moveTo>
                  <a:cubicBezTo>
                    <a:pt x="121" y="46"/>
                    <a:pt x="120" y="42"/>
                    <a:pt x="118" y="39"/>
                  </a:cubicBezTo>
                  <a:cubicBezTo>
                    <a:pt x="115" y="36"/>
                    <a:pt x="111" y="34"/>
                    <a:pt x="106" y="34"/>
                  </a:cubicBezTo>
                  <a:cubicBezTo>
                    <a:pt x="104" y="34"/>
                    <a:pt x="101" y="35"/>
                    <a:pt x="100" y="36"/>
                  </a:cubicBezTo>
                  <a:cubicBezTo>
                    <a:pt x="98" y="37"/>
                    <a:pt x="96" y="38"/>
                    <a:pt x="95" y="39"/>
                  </a:cubicBezTo>
                  <a:cubicBezTo>
                    <a:pt x="93" y="41"/>
                    <a:pt x="92" y="43"/>
                    <a:pt x="92" y="45"/>
                  </a:cubicBezTo>
                  <a:cubicBezTo>
                    <a:pt x="91" y="47"/>
                    <a:pt x="91" y="49"/>
                    <a:pt x="90" y="52"/>
                  </a:cubicBezTo>
                  <a:lnTo>
                    <a:pt x="121" y="52"/>
                  </a:lnTo>
                  <a:close/>
                  <a:moveTo>
                    <a:pt x="177" y="81"/>
                  </a:moveTo>
                  <a:cubicBezTo>
                    <a:pt x="177" y="82"/>
                    <a:pt x="177" y="83"/>
                    <a:pt x="177" y="84"/>
                  </a:cubicBezTo>
                  <a:cubicBezTo>
                    <a:pt x="176" y="85"/>
                    <a:pt x="176" y="85"/>
                    <a:pt x="176" y="85"/>
                  </a:cubicBezTo>
                  <a:cubicBezTo>
                    <a:pt x="175" y="86"/>
                    <a:pt x="175" y="86"/>
                    <a:pt x="174" y="86"/>
                  </a:cubicBezTo>
                  <a:cubicBezTo>
                    <a:pt x="174" y="87"/>
                    <a:pt x="173" y="87"/>
                    <a:pt x="172" y="87"/>
                  </a:cubicBezTo>
                  <a:cubicBezTo>
                    <a:pt x="171" y="87"/>
                    <a:pt x="170" y="87"/>
                    <a:pt x="169" y="88"/>
                  </a:cubicBezTo>
                  <a:cubicBezTo>
                    <a:pt x="168" y="88"/>
                    <a:pt x="167" y="88"/>
                    <a:pt x="166" y="88"/>
                  </a:cubicBezTo>
                  <a:cubicBezTo>
                    <a:pt x="163" y="88"/>
                    <a:pt x="161" y="87"/>
                    <a:pt x="159" y="87"/>
                  </a:cubicBezTo>
                  <a:cubicBezTo>
                    <a:pt x="157" y="86"/>
                    <a:pt x="155" y="85"/>
                    <a:pt x="154" y="83"/>
                  </a:cubicBezTo>
                  <a:cubicBezTo>
                    <a:pt x="152" y="82"/>
                    <a:pt x="151" y="80"/>
                    <a:pt x="151" y="77"/>
                  </a:cubicBezTo>
                  <a:cubicBezTo>
                    <a:pt x="150" y="75"/>
                    <a:pt x="150" y="72"/>
                    <a:pt x="150" y="69"/>
                  </a:cubicBezTo>
                  <a:lnTo>
                    <a:pt x="150" y="36"/>
                  </a:lnTo>
                  <a:lnTo>
                    <a:pt x="142" y="36"/>
                  </a:lnTo>
                  <a:cubicBezTo>
                    <a:pt x="141" y="36"/>
                    <a:pt x="141" y="35"/>
                    <a:pt x="141" y="35"/>
                  </a:cubicBezTo>
                  <a:cubicBezTo>
                    <a:pt x="140" y="34"/>
                    <a:pt x="140" y="33"/>
                    <a:pt x="140" y="32"/>
                  </a:cubicBezTo>
                  <a:cubicBezTo>
                    <a:pt x="140" y="31"/>
                    <a:pt x="140" y="30"/>
                    <a:pt x="140" y="30"/>
                  </a:cubicBezTo>
                  <a:cubicBezTo>
                    <a:pt x="140" y="29"/>
                    <a:pt x="140" y="29"/>
                    <a:pt x="141" y="28"/>
                  </a:cubicBezTo>
                  <a:cubicBezTo>
                    <a:pt x="141" y="28"/>
                    <a:pt x="141" y="28"/>
                    <a:pt x="141" y="27"/>
                  </a:cubicBezTo>
                  <a:cubicBezTo>
                    <a:pt x="142" y="27"/>
                    <a:pt x="142" y="27"/>
                    <a:pt x="142" y="27"/>
                  </a:cubicBezTo>
                  <a:lnTo>
                    <a:pt x="150" y="27"/>
                  </a:lnTo>
                  <a:lnTo>
                    <a:pt x="150" y="14"/>
                  </a:lnTo>
                  <a:cubicBezTo>
                    <a:pt x="150" y="14"/>
                    <a:pt x="150" y="13"/>
                    <a:pt x="150" y="13"/>
                  </a:cubicBezTo>
                  <a:cubicBezTo>
                    <a:pt x="150" y="13"/>
                    <a:pt x="151" y="13"/>
                    <a:pt x="151" y="12"/>
                  </a:cubicBezTo>
                  <a:cubicBezTo>
                    <a:pt x="151" y="12"/>
                    <a:pt x="152" y="12"/>
                    <a:pt x="153" y="12"/>
                  </a:cubicBezTo>
                  <a:cubicBezTo>
                    <a:pt x="153" y="12"/>
                    <a:pt x="154" y="12"/>
                    <a:pt x="155" y="12"/>
                  </a:cubicBezTo>
                  <a:cubicBezTo>
                    <a:pt x="156" y="12"/>
                    <a:pt x="157" y="12"/>
                    <a:pt x="158" y="12"/>
                  </a:cubicBezTo>
                  <a:cubicBezTo>
                    <a:pt x="158" y="12"/>
                    <a:pt x="159" y="12"/>
                    <a:pt x="159" y="12"/>
                  </a:cubicBezTo>
                  <a:cubicBezTo>
                    <a:pt x="160" y="13"/>
                    <a:pt x="160" y="13"/>
                    <a:pt x="160" y="13"/>
                  </a:cubicBezTo>
                  <a:cubicBezTo>
                    <a:pt x="160" y="13"/>
                    <a:pt x="160" y="14"/>
                    <a:pt x="160" y="14"/>
                  </a:cubicBezTo>
                  <a:lnTo>
                    <a:pt x="160" y="27"/>
                  </a:lnTo>
                  <a:lnTo>
                    <a:pt x="175" y="27"/>
                  </a:lnTo>
                  <a:cubicBezTo>
                    <a:pt x="175" y="27"/>
                    <a:pt x="175" y="27"/>
                    <a:pt x="176" y="27"/>
                  </a:cubicBezTo>
                  <a:cubicBezTo>
                    <a:pt x="176" y="28"/>
                    <a:pt x="176" y="28"/>
                    <a:pt x="176" y="28"/>
                  </a:cubicBezTo>
                  <a:cubicBezTo>
                    <a:pt x="176" y="29"/>
                    <a:pt x="177" y="29"/>
                    <a:pt x="177" y="30"/>
                  </a:cubicBezTo>
                  <a:cubicBezTo>
                    <a:pt x="177" y="30"/>
                    <a:pt x="177" y="31"/>
                    <a:pt x="177" y="32"/>
                  </a:cubicBezTo>
                  <a:cubicBezTo>
                    <a:pt x="177" y="33"/>
                    <a:pt x="177" y="34"/>
                    <a:pt x="176" y="35"/>
                  </a:cubicBezTo>
                  <a:cubicBezTo>
                    <a:pt x="176" y="35"/>
                    <a:pt x="175" y="36"/>
                    <a:pt x="175" y="36"/>
                  </a:cubicBezTo>
                  <a:lnTo>
                    <a:pt x="160" y="36"/>
                  </a:lnTo>
                  <a:lnTo>
                    <a:pt x="160" y="67"/>
                  </a:lnTo>
                  <a:cubicBezTo>
                    <a:pt x="160" y="71"/>
                    <a:pt x="161" y="74"/>
                    <a:pt x="162" y="76"/>
                  </a:cubicBezTo>
                  <a:cubicBezTo>
                    <a:pt x="163" y="78"/>
                    <a:pt x="165" y="79"/>
                    <a:pt x="168" y="79"/>
                  </a:cubicBezTo>
                  <a:cubicBezTo>
                    <a:pt x="169" y="79"/>
                    <a:pt x="170" y="79"/>
                    <a:pt x="171" y="79"/>
                  </a:cubicBezTo>
                  <a:cubicBezTo>
                    <a:pt x="171" y="78"/>
                    <a:pt x="172" y="78"/>
                    <a:pt x="173" y="78"/>
                  </a:cubicBezTo>
                  <a:cubicBezTo>
                    <a:pt x="173" y="78"/>
                    <a:pt x="174" y="78"/>
                    <a:pt x="174" y="77"/>
                  </a:cubicBezTo>
                  <a:cubicBezTo>
                    <a:pt x="175" y="77"/>
                    <a:pt x="175" y="77"/>
                    <a:pt x="175" y="77"/>
                  </a:cubicBezTo>
                  <a:cubicBezTo>
                    <a:pt x="176" y="77"/>
                    <a:pt x="176" y="77"/>
                    <a:pt x="176" y="77"/>
                  </a:cubicBezTo>
                  <a:cubicBezTo>
                    <a:pt x="176" y="77"/>
                    <a:pt x="176" y="78"/>
                    <a:pt x="176" y="78"/>
                  </a:cubicBezTo>
                  <a:cubicBezTo>
                    <a:pt x="176" y="78"/>
                    <a:pt x="177" y="79"/>
                    <a:pt x="177" y="79"/>
                  </a:cubicBezTo>
                  <a:cubicBezTo>
                    <a:pt x="177" y="80"/>
                    <a:pt x="177" y="80"/>
                    <a:pt x="177" y="81"/>
                  </a:cubicBezTo>
                  <a:close/>
                  <a:moveTo>
                    <a:pt x="247" y="10"/>
                  </a:moveTo>
                  <a:cubicBezTo>
                    <a:pt x="247" y="11"/>
                    <a:pt x="247" y="12"/>
                    <a:pt x="247" y="13"/>
                  </a:cubicBezTo>
                  <a:cubicBezTo>
                    <a:pt x="247" y="13"/>
                    <a:pt x="247" y="14"/>
                    <a:pt x="247" y="14"/>
                  </a:cubicBezTo>
                  <a:cubicBezTo>
                    <a:pt x="247" y="14"/>
                    <a:pt x="246" y="15"/>
                    <a:pt x="246" y="15"/>
                  </a:cubicBezTo>
                  <a:cubicBezTo>
                    <a:pt x="246" y="15"/>
                    <a:pt x="246" y="15"/>
                    <a:pt x="245" y="15"/>
                  </a:cubicBezTo>
                  <a:lnTo>
                    <a:pt x="223" y="15"/>
                  </a:lnTo>
                  <a:lnTo>
                    <a:pt x="223" y="85"/>
                  </a:lnTo>
                  <a:cubicBezTo>
                    <a:pt x="223" y="85"/>
                    <a:pt x="222" y="86"/>
                    <a:pt x="222" y="86"/>
                  </a:cubicBezTo>
                  <a:cubicBezTo>
                    <a:pt x="222" y="86"/>
                    <a:pt x="222" y="86"/>
                    <a:pt x="221" y="87"/>
                  </a:cubicBezTo>
                  <a:cubicBezTo>
                    <a:pt x="221" y="87"/>
                    <a:pt x="220" y="87"/>
                    <a:pt x="220" y="87"/>
                  </a:cubicBezTo>
                  <a:cubicBezTo>
                    <a:pt x="219" y="87"/>
                    <a:pt x="218" y="87"/>
                    <a:pt x="217" y="87"/>
                  </a:cubicBezTo>
                  <a:cubicBezTo>
                    <a:pt x="216" y="87"/>
                    <a:pt x="215" y="87"/>
                    <a:pt x="215" y="87"/>
                  </a:cubicBezTo>
                  <a:cubicBezTo>
                    <a:pt x="214" y="87"/>
                    <a:pt x="213" y="87"/>
                    <a:pt x="213" y="87"/>
                  </a:cubicBezTo>
                  <a:cubicBezTo>
                    <a:pt x="212" y="86"/>
                    <a:pt x="212" y="86"/>
                    <a:pt x="212" y="86"/>
                  </a:cubicBezTo>
                  <a:cubicBezTo>
                    <a:pt x="212" y="86"/>
                    <a:pt x="212" y="85"/>
                    <a:pt x="212" y="85"/>
                  </a:cubicBezTo>
                  <a:lnTo>
                    <a:pt x="212" y="15"/>
                  </a:lnTo>
                  <a:lnTo>
                    <a:pt x="189" y="15"/>
                  </a:lnTo>
                  <a:cubicBezTo>
                    <a:pt x="189" y="15"/>
                    <a:pt x="188" y="15"/>
                    <a:pt x="188" y="15"/>
                  </a:cubicBezTo>
                  <a:cubicBezTo>
                    <a:pt x="188" y="15"/>
                    <a:pt x="188" y="14"/>
                    <a:pt x="187" y="14"/>
                  </a:cubicBezTo>
                  <a:cubicBezTo>
                    <a:pt x="187" y="14"/>
                    <a:pt x="187" y="13"/>
                    <a:pt x="187" y="13"/>
                  </a:cubicBezTo>
                  <a:cubicBezTo>
                    <a:pt x="187" y="12"/>
                    <a:pt x="187" y="11"/>
                    <a:pt x="187" y="10"/>
                  </a:cubicBezTo>
                  <a:cubicBezTo>
                    <a:pt x="187" y="10"/>
                    <a:pt x="187" y="9"/>
                    <a:pt x="187" y="8"/>
                  </a:cubicBezTo>
                  <a:cubicBezTo>
                    <a:pt x="187" y="8"/>
                    <a:pt x="187" y="7"/>
                    <a:pt x="187" y="7"/>
                  </a:cubicBezTo>
                  <a:cubicBezTo>
                    <a:pt x="188" y="7"/>
                    <a:pt x="188" y="6"/>
                    <a:pt x="188" y="6"/>
                  </a:cubicBezTo>
                  <a:cubicBezTo>
                    <a:pt x="188" y="6"/>
                    <a:pt x="189" y="6"/>
                    <a:pt x="189" y="6"/>
                  </a:cubicBezTo>
                  <a:lnTo>
                    <a:pt x="245" y="6"/>
                  </a:lnTo>
                  <a:cubicBezTo>
                    <a:pt x="246" y="6"/>
                    <a:pt x="246" y="6"/>
                    <a:pt x="246" y="6"/>
                  </a:cubicBezTo>
                  <a:cubicBezTo>
                    <a:pt x="246" y="6"/>
                    <a:pt x="247" y="7"/>
                    <a:pt x="247" y="7"/>
                  </a:cubicBezTo>
                  <a:cubicBezTo>
                    <a:pt x="247" y="7"/>
                    <a:pt x="247" y="8"/>
                    <a:pt x="247" y="8"/>
                  </a:cubicBezTo>
                  <a:cubicBezTo>
                    <a:pt x="247" y="9"/>
                    <a:pt x="247" y="10"/>
                    <a:pt x="247" y="10"/>
                  </a:cubicBezTo>
                  <a:close/>
                  <a:moveTo>
                    <a:pt x="312" y="56"/>
                  </a:moveTo>
                  <a:cubicBezTo>
                    <a:pt x="312" y="61"/>
                    <a:pt x="311" y="65"/>
                    <a:pt x="310" y="69"/>
                  </a:cubicBezTo>
                  <a:cubicBezTo>
                    <a:pt x="309" y="73"/>
                    <a:pt x="307" y="76"/>
                    <a:pt x="305" y="79"/>
                  </a:cubicBezTo>
                  <a:cubicBezTo>
                    <a:pt x="302" y="82"/>
                    <a:pt x="299" y="84"/>
                    <a:pt x="296" y="86"/>
                  </a:cubicBezTo>
                  <a:cubicBezTo>
                    <a:pt x="292" y="87"/>
                    <a:pt x="288" y="88"/>
                    <a:pt x="283" y="88"/>
                  </a:cubicBezTo>
                  <a:cubicBezTo>
                    <a:pt x="278" y="88"/>
                    <a:pt x="274" y="87"/>
                    <a:pt x="271" y="86"/>
                  </a:cubicBezTo>
                  <a:cubicBezTo>
                    <a:pt x="268" y="84"/>
                    <a:pt x="265" y="82"/>
                    <a:pt x="262" y="80"/>
                  </a:cubicBezTo>
                  <a:cubicBezTo>
                    <a:pt x="260" y="77"/>
                    <a:pt x="258" y="74"/>
                    <a:pt x="257" y="70"/>
                  </a:cubicBezTo>
                  <a:cubicBezTo>
                    <a:pt x="256" y="67"/>
                    <a:pt x="256" y="62"/>
                    <a:pt x="256" y="58"/>
                  </a:cubicBezTo>
                  <a:cubicBezTo>
                    <a:pt x="256" y="53"/>
                    <a:pt x="256" y="49"/>
                    <a:pt x="257" y="45"/>
                  </a:cubicBezTo>
                  <a:cubicBezTo>
                    <a:pt x="259" y="41"/>
                    <a:pt x="260" y="38"/>
                    <a:pt x="263" y="35"/>
                  </a:cubicBezTo>
                  <a:cubicBezTo>
                    <a:pt x="265" y="32"/>
                    <a:pt x="268" y="30"/>
                    <a:pt x="272" y="28"/>
                  </a:cubicBezTo>
                  <a:cubicBezTo>
                    <a:pt x="275" y="27"/>
                    <a:pt x="279" y="26"/>
                    <a:pt x="284" y="26"/>
                  </a:cubicBezTo>
                  <a:cubicBezTo>
                    <a:pt x="289" y="26"/>
                    <a:pt x="293" y="27"/>
                    <a:pt x="296" y="28"/>
                  </a:cubicBezTo>
                  <a:cubicBezTo>
                    <a:pt x="300" y="30"/>
                    <a:pt x="303" y="32"/>
                    <a:pt x="305" y="34"/>
                  </a:cubicBezTo>
                  <a:cubicBezTo>
                    <a:pt x="307" y="37"/>
                    <a:pt x="309" y="40"/>
                    <a:pt x="310" y="44"/>
                  </a:cubicBezTo>
                  <a:cubicBezTo>
                    <a:pt x="311" y="47"/>
                    <a:pt x="312" y="52"/>
                    <a:pt x="312" y="56"/>
                  </a:cubicBezTo>
                  <a:close/>
                  <a:moveTo>
                    <a:pt x="301" y="57"/>
                  </a:moveTo>
                  <a:cubicBezTo>
                    <a:pt x="301" y="54"/>
                    <a:pt x="301" y="51"/>
                    <a:pt x="300" y="48"/>
                  </a:cubicBezTo>
                  <a:cubicBezTo>
                    <a:pt x="300" y="46"/>
                    <a:pt x="299" y="43"/>
                    <a:pt x="297" y="41"/>
                  </a:cubicBezTo>
                  <a:cubicBezTo>
                    <a:pt x="296" y="39"/>
                    <a:pt x="294" y="38"/>
                    <a:pt x="292" y="36"/>
                  </a:cubicBezTo>
                  <a:cubicBezTo>
                    <a:pt x="290" y="35"/>
                    <a:pt x="287" y="35"/>
                    <a:pt x="284" y="35"/>
                  </a:cubicBezTo>
                  <a:cubicBezTo>
                    <a:pt x="281" y="35"/>
                    <a:pt x="278" y="35"/>
                    <a:pt x="276" y="36"/>
                  </a:cubicBezTo>
                  <a:cubicBezTo>
                    <a:pt x="274" y="37"/>
                    <a:pt x="272" y="39"/>
                    <a:pt x="270" y="41"/>
                  </a:cubicBezTo>
                  <a:cubicBezTo>
                    <a:pt x="269" y="43"/>
                    <a:pt x="268" y="45"/>
                    <a:pt x="267" y="48"/>
                  </a:cubicBezTo>
                  <a:cubicBezTo>
                    <a:pt x="267" y="51"/>
                    <a:pt x="266" y="54"/>
                    <a:pt x="266" y="57"/>
                  </a:cubicBezTo>
                  <a:cubicBezTo>
                    <a:pt x="266" y="60"/>
                    <a:pt x="267" y="63"/>
                    <a:pt x="267" y="66"/>
                  </a:cubicBezTo>
                  <a:cubicBezTo>
                    <a:pt x="268" y="68"/>
                    <a:pt x="269" y="71"/>
                    <a:pt x="270" y="73"/>
                  </a:cubicBezTo>
                  <a:cubicBezTo>
                    <a:pt x="271" y="75"/>
                    <a:pt x="273" y="76"/>
                    <a:pt x="275" y="77"/>
                  </a:cubicBezTo>
                  <a:cubicBezTo>
                    <a:pt x="278" y="79"/>
                    <a:pt x="280" y="79"/>
                    <a:pt x="284" y="79"/>
                  </a:cubicBezTo>
                  <a:cubicBezTo>
                    <a:pt x="287" y="79"/>
                    <a:pt x="289" y="79"/>
                    <a:pt x="291" y="78"/>
                  </a:cubicBezTo>
                  <a:cubicBezTo>
                    <a:pt x="294" y="76"/>
                    <a:pt x="296" y="75"/>
                    <a:pt x="297" y="73"/>
                  </a:cubicBezTo>
                  <a:cubicBezTo>
                    <a:pt x="298" y="71"/>
                    <a:pt x="299" y="69"/>
                    <a:pt x="300" y="66"/>
                  </a:cubicBezTo>
                  <a:cubicBezTo>
                    <a:pt x="301" y="63"/>
                    <a:pt x="301" y="60"/>
                    <a:pt x="301" y="57"/>
                  </a:cubicBezTo>
                  <a:close/>
                  <a:moveTo>
                    <a:pt x="375" y="56"/>
                  </a:moveTo>
                  <a:cubicBezTo>
                    <a:pt x="375" y="61"/>
                    <a:pt x="375" y="65"/>
                    <a:pt x="374" y="69"/>
                  </a:cubicBezTo>
                  <a:cubicBezTo>
                    <a:pt x="373" y="73"/>
                    <a:pt x="371" y="77"/>
                    <a:pt x="369" y="79"/>
                  </a:cubicBezTo>
                  <a:cubicBezTo>
                    <a:pt x="367" y="82"/>
                    <a:pt x="364" y="84"/>
                    <a:pt x="361" y="86"/>
                  </a:cubicBezTo>
                  <a:cubicBezTo>
                    <a:pt x="358" y="87"/>
                    <a:pt x="355" y="88"/>
                    <a:pt x="351" y="88"/>
                  </a:cubicBezTo>
                  <a:cubicBezTo>
                    <a:pt x="349" y="88"/>
                    <a:pt x="348" y="88"/>
                    <a:pt x="346" y="87"/>
                  </a:cubicBezTo>
                  <a:cubicBezTo>
                    <a:pt x="345" y="87"/>
                    <a:pt x="343" y="87"/>
                    <a:pt x="342" y="86"/>
                  </a:cubicBezTo>
                  <a:cubicBezTo>
                    <a:pt x="341" y="85"/>
                    <a:pt x="339" y="84"/>
                    <a:pt x="338" y="83"/>
                  </a:cubicBezTo>
                  <a:cubicBezTo>
                    <a:pt x="337" y="82"/>
                    <a:pt x="335" y="81"/>
                    <a:pt x="334" y="79"/>
                  </a:cubicBezTo>
                  <a:lnTo>
                    <a:pt x="334" y="107"/>
                  </a:lnTo>
                  <a:cubicBezTo>
                    <a:pt x="334" y="108"/>
                    <a:pt x="334" y="108"/>
                    <a:pt x="334" y="108"/>
                  </a:cubicBezTo>
                  <a:cubicBezTo>
                    <a:pt x="333" y="109"/>
                    <a:pt x="333" y="109"/>
                    <a:pt x="333" y="109"/>
                  </a:cubicBezTo>
                  <a:cubicBezTo>
                    <a:pt x="332" y="109"/>
                    <a:pt x="332" y="109"/>
                    <a:pt x="331" y="109"/>
                  </a:cubicBezTo>
                  <a:cubicBezTo>
                    <a:pt x="331" y="109"/>
                    <a:pt x="330" y="109"/>
                    <a:pt x="329" y="109"/>
                  </a:cubicBezTo>
                  <a:cubicBezTo>
                    <a:pt x="328" y="109"/>
                    <a:pt x="327" y="109"/>
                    <a:pt x="326" y="109"/>
                  </a:cubicBezTo>
                  <a:cubicBezTo>
                    <a:pt x="325" y="109"/>
                    <a:pt x="325" y="109"/>
                    <a:pt x="325" y="109"/>
                  </a:cubicBezTo>
                  <a:cubicBezTo>
                    <a:pt x="324" y="109"/>
                    <a:pt x="324" y="109"/>
                    <a:pt x="324" y="108"/>
                  </a:cubicBezTo>
                  <a:cubicBezTo>
                    <a:pt x="324" y="108"/>
                    <a:pt x="324" y="108"/>
                    <a:pt x="324" y="107"/>
                  </a:cubicBezTo>
                  <a:lnTo>
                    <a:pt x="324" y="29"/>
                  </a:lnTo>
                  <a:cubicBezTo>
                    <a:pt x="324" y="29"/>
                    <a:pt x="324" y="28"/>
                    <a:pt x="324" y="28"/>
                  </a:cubicBezTo>
                  <a:cubicBezTo>
                    <a:pt x="324" y="28"/>
                    <a:pt x="324" y="28"/>
                    <a:pt x="324" y="27"/>
                  </a:cubicBezTo>
                  <a:cubicBezTo>
                    <a:pt x="325" y="27"/>
                    <a:pt x="325" y="27"/>
                    <a:pt x="326" y="27"/>
                  </a:cubicBezTo>
                  <a:cubicBezTo>
                    <a:pt x="326" y="27"/>
                    <a:pt x="327" y="27"/>
                    <a:pt x="328" y="27"/>
                  </a:cubicBezTo>
                  <a:cubicBezTo>
                    <a:pt x="329" y="27"/>
                    <a:pt x="330" y="27"/>
                    <a:pt x="330" y="27"/>
                  </a:cubicBezTo>
                  <a:cubicBezTo>
                    <a:pt x="331" y="27"/>
                    <a:pt x="331" y="27"/>
                    <a:pt x="332" y="27"/>
                  </a:cubicBezTo>
                  <a:cubicBezTo>
                    <a:pt x="332" y="28"/>
                    <a:pt x="332" y="28"/>
                    <a:pt x="332" y="28"/>
                  </a:cubicBezTo>
                  <a:cubicBezTo>
                    <a:pt x="333" y="28"/>
                    <a:pt x="333" y="29"/>
                    <a:pt x="333" y="29"/>
                  </a:cubicBezTo>
                  <a:lnTo>
                    <a:pt x="333" y="36"/>
                  </a:lnTo>
                  <a:cubicBezTo>
                    <a:pt x="334" y="35"/>
                    <a:pt x="336" y="33"/>
                    <a:pt x="338" y="32"/>
                  </a:cubicBezTo>
                  <a:cubicBezTo>
                    <a:pt x="339" y="31"/>
                    <a:pt x="341" y="30"/>
                    <a:pt x="342" y="29"/>
                  </a:cubicBezTo>
                  <a:cubicBezTo>
                    <a:pt x="344" y="28"/>
                    <a:pt x="346" y="27"/>
                    <a:pt x="347" y="27"/>
                  </a:cubicBezTo>
                  <a:cubicBezTo>
                    <a:pt x="349" y="26"/>
                    <a:pt x="351" y="26"/>
                    <a:pt x="353" y="26"/>
                  </a:cubicBezTo>
                  <a:cubicBezTo>
                    <a:pt x="357" y="26"/>
                    <a:pt x="360" y="27"/>
                    <a:pt x="363" y="28"/>
                  </a:cubicBezTo>
                  <a:cubicBezTo>
                    <a:pt x="366" y="30"/>
                    <a:pt x="368" y="32"/>
                    <a:pt x="370" y="35"/>
                  </a:cubicBezTo>
                  <a:cubicBezTo>
                    <a:pt x="372" y="38"/>
                    <a:pt x="373" y="41"/>
                    <a:pt x="374" y="45"/>
                  </a:cubicBezTo>
                  <a:cubicBezTo>
                    <a:pt x="375" y="48"/>
                    <a:pt x="375" y="52"/>
                    <a:pt x="375" y="56"/>
                  </a:cubicBezTo>
                  <a:close/>
                  <a:moveTo>
                    <a:pt x="365" y="57"/>
                  </a:moveTo>
                  <a:cubicBezTo>
                    <a:pt x="365" y="54"/>
                    <a:pt x="364" y="52"/>
                    <a:pt x="364" y="49"/>
                  </a:cubicBezTo>
                  <a:cubicBezTo>
                    <a:pt x="363" y="46"/>
                    <a:pt x="363" y="44"/>
                    <a:pt x="362" y="42"/>
                  </a:cubicBezTo>
                  <a:cubicBezTo>
                    <a:pt x="361" y="40"/>
                    <a:pt x="359" y="38"/>
                    <a:pt x="357" y="37"/>
                  </a:cubicBezTo>
                  <a:cubicBezTo>
                    <a:pt x="356" y="36"/>
                    <a:pt x="353" y="35"/>
                    <a:pt x="351" y="35"/>
                  </a:cubicBezTo>
                  <a:cubicBezTo>
                    <a:pt x="349" y="35"/>
                    <a:pt x="348" y="35"/>
                    <a:pt x="347" y="36"/>
                  </a:cubicBezTo>
                  <a:cubicBezTo>
                    <a:pt x="345" y="36"/>
                    <a:pt x="344" y="37"/>
                    <a:pt x="343" y="37"/>
                  </a:cubicBezTo>
                  <a:cubicBezTo>
                    <a:pt x="341" y="38"/>
                    <a:pt x="340" y="39"/>
                    <a:pt x="338" y="41"/>
                  </a:cubicBezTo>
                  <a:cubicBezTo>
                    <a:pt x="337" y="42"/>
                    <a:pt x="335" y="44"/>
                    <a:pt x="334" y="46"/>
                  </a:cubicBezTo>
                  <a:lnTo>
                    <a:pt x="334" y="68"/>
                  </a:lnTo>
                  <a:cubicBezTo>
                    <a:pt x="337" y="72"/>
                    <a:pt x="339" y="74"/>
                    <a:pt x="342" y="76"/>
                  </a:cubicBezTo>
                  <a:cubicBezTo>
                    <a:pt x="345" y="78"/>
                    <a:pt x="347" y="79"/>
                    <a:pt x="350" y="79"/>
                  </a:cubicBezTo>
                  <a:cubicBezTo>
                    <a:pt x="353" y="79"/>
                    <a:pt x="355" y="78"/>
                    <a:pt x="357" y="77"/>
                  </a:cubicBezTo>
                  <a:cubicBezTo>
                    <a:pt x="359" y="76"/>
                    <a:pt x="360" y="74"/>
                    <a:pt x="361" y="72"/>
                  </a:cubicBezTo>
                  <a:cubicBezTo>
                    <a:pt x="362" y="70"/>
                    <a:pt x="363" y="68"/>
                    <a:pt x="364" y="65"/>
                  </a:cubicBezTo>
                  <a:cubicBezTo>
                    <a:pt x="364" y="63"/>
                    <a:pt x="365" y="60"/>
                    <a:pt x="365" y="57"/>
                  </a:cubicBezTo>
                  <a:close/>
                  <a:moveTo>
                    <a:pt x="432" y="64"/>
                  </a:moveTo>
                  <a:cubicBezTo>
                    <a:pt x="432" y="68"/>
                    <a:pt x="431" y="71"/>
                    <a:pt x="430" y="74"/>
                  </a:cubicBezTo>
                  <a:cubicBezTo>
                    <a:pt x="429" y="77"/>
                    <a:pt x="427" y="80"/>
                    <a:pt x="424" y="82"/>
                  </a:cubicBezTo>
                  <a:cubicBezTo>
                    <a:pt x="422" y="84"/>
                    <a:pt x="419" y="85"/>
                    <a:pt x="415" y="86"/>
                  </a:cubicBezTo>
                  <a:cubicBezTo>
                    <a:pt x="412" y="87"/>
                    <a:pt x="409" y="88"/>
                    <a:pt x="405" y="88"/>
                  </a:cubicBezTo>
                  <a:cubicBezTo>
                    <a:pt x="402" y="88"/>
                    <a:pt x="399" y="88"/>
                    <a:pt x="397" y="87"/>
                  </a:cubicBezTo>
                  <a:cubicBezTo>
                    <a:pt x="395" y="87"/>
                    <a:pt x="393" y="86"/>
                    <a:pt x="391" y="86"/>
                  </a:cubicBezTo>
                  <a:cubicBezTo>
                    <a:pt x="389" y="85"/>
                    <a:pt x="388" y="84"/>
                    <a:pt x="386" y="83"/>
                  </a:cubicBezTo>
                  <a:cubicBezTo>
                    <a:pt x="385" y="83"/>
                    <a:pt x="384" y="82"/>
                    <a:pt x="384" y="82"/>
                  </a:cubicBezTo>
                  <a:cubicBezTo>
                    <a:pt x="383" y="81"/>
                    <a:pt x="383" y="80"/>
                    <a:pt x="383" y="80"/>
                  </a:cubicBezTo>
                  <a:cubicBezTo>
                    <a:pt x="383" y="79"/>
                    <a:pt x="382" y="78"/>
                    <a:pt x="382" y="77"/>
                  </a:cubicBezTo>
                  <a:cubicBezTo>
                    <a:pt x="382" y="76"/>
                    <a:pt x="382" y="75"/>
                    <a:pt x="383" y="74"/>
                  </a:cubicBezTo>
                  <a:cubicBezTo>
                    <a:pt x="383" y="74"/>
                    <a:pt x="383" y="73"/>
                    <a:pt x="383" y="73"/>
                  </a:cubicBezTo>
                  <a:cubicBezTo>
                    <a:pt x="383" y="73"/>
                    <a:pt x="383" y="72"/>
                    <a:pt x="384" y="72"/>
                  </a:cubicBezTo>
                  <a:cubicBezTo>
                    <a:pt x="384" y="72"/>
                    <a:pt x="384" y="72"/>
                    <a:pt x="384" y="72"/>
                  </a:cubicBezTo>
                  <a:cubicBezTo>
                    <a:pt x="385" y="72"/>
                    <a:pt x="386" y="72"/>
                    <a:pt x="387" y="73"/>
                  </a:cubicBezTo>
                  <a:cubicBezTo>
                    <a:pt x="388" y="74"/>
                    <a:pt x="389" y="74"/>
                    <a:pt x="391" y="75"/>
                  </a:cubicBezTo>
                  <a:cubicBezTo>
                    <a:pt x="393" y="76"/>
                    <a:pt x="395" y="77"/>
                    <a:pt x="397" y="78"/>
                  </a:cubicBezTo>
                  <a:cubicBezTo>
                    <a:pt x="399" y="78"/>
                    <a:pt x="402" y="79"/>
                    <a:pt x="405" y="79"/>
                  </a:cubicBezTo>
                  <a:cubicBezTo>
                    <a:pt x="407" y="79"/>
                    <a:pt x="410" y="78"/>
                    <a:pt x="412" y="78"/>
                  </a:cubicBezTo>
                  <a:cubicBezTo>
                    <a:pt x="413" y="77"/>
                    <a:pt x="415" y="76"/>
                    <a:pt x="417" y="75"/>
                  </a:cubicBezTo>
                  <a:cubicBezTo>
                    <a:pt x="418" y="74"/>
                    <a:pt x="419" y="73"/>
                    <a:pt x="420" y="71"/>
                  </a:cubicBezTo>
                  <a:cubicBezTo>
                    <a:pt x="421" y="69"/>
                    <a:pt x="421" y="67"/>
                    <a:pt x="421" y="65"/>
                  </a:cubicBezTo>
                  <a:cubicBezTo>
                    <a:pt x="421" y="63"/>
                    <a:pt x="420" y="61"/>
                    <a:pt x="419" y="59"/>
                  </a:cubicBezTo>
                  <a:cubicBezTo>
                    <a:pt x="418" y="58"/>
                    <a:pt x="417" y="56"/>
                    <a:pt x="415" y="55"/>
                  </a:cubicBezTo>
                  <a:cubicBezTo>
                    <a:pt x="413" y="54"/>
                    <a:pt x="412" y="53"/>
                    <a:pt x="409" y="52"/>
                  </a:cubicBezTo>
                  <a:cubicBezTo>
                    <a:pt x="407" y="51"/>
                    <a:pt x="405" y="50"/>
                    <a:pt x="403" y="49"/>
                  </a:cubicBezTo>
                  <a:cubicBezTo>
                    <a:pt x="400" y="47"/>
                    <a:pt x="398" y="46"/>
                    <a:pt x="396" y="45"/>
                  </a:cubicBezTo>
                  <a:cubicBezTo>
                    <a:pt x="394" y="44"/>
                    <a:pt x="392" y="42"/>
                    <a:pt x="390" y="40"/>
                  </a:cubicBezTo>
                  <a:cubicBezTo>
                    <a:pt x="388" y="39"/>
                    <a:pt x="387" y="37"/>
                    <a:pt x="386" y="34"/>
                  </a:cubicBezTo>
                  <a:cubicBezTo>
                    <a:pt x="385" y="32"/>
                    <a:pt x="384" y="29"/>
                    <a:pt x="384" y="26"/>
                  </a:cubicBezTo>
                  <a:cubicBezTo>
                    <a:pt x="384" y="22"/>
                    <a:pt x="385" y="19"/>
                    <a:pt x="386" y="17"/>
                  </a:cubicBezTo>
                  <a:cubicBezTo>
                    <a:pt x="387" y="14"/>
                    <a:pt x="389" y="12"/>
                    <a:pt x="391" y="10"/>
                  </a:cubicBezTo>
                  <a:cubicBezTo>
                    <a:pt x="394" y="8"/>
                    <a:pt x="396" y="7"/>
                    <a:pt x="399" y="6"/>
                  </a:cubicBezTo>
                  <a:cubicBezTo>
                    <a:pt x="402" y="5"/>
                    <a:pt x="405" y="5"/>
                    <a:pt x="409" y="5"/>
                  </a:cubicBezTo>
                  <a:cubicBezTo>
                    <a:pt x="411" y="5"/>
                    <a:pt x="413" y="5"/>
                    <a:pt x="414" y="5"/>
                  </a:cubicBezTo>
                  <a:cubicBezTo>
                    <a:pt x="416" y="5"/>
                    <a:pt x="418" y="6"/>
                    <a:pt x="419" y="6"/>
                  </a:cubicBezTo>
                  <a:cubicBezTo>
                    <a:pt x="421" y="7"/>
                    <a:pt x="423" y="7"/>
                    <a:pt x="424" y="8"/>
                  </a:cubicBezTo>
                  <a:cubicBezTo>
                    <a:pt x="425" y="9"/>
                    <a:pt x="426" y="9"/>
                    <a:pt x="426" y="10"/>
                  </a:cubicBezTo>
                  <a:cubicBezTo>
                    <a:pt x="427" y="10"/>
                    <a:pt x="427" y="10"/>
                    <a:pt x="427" y="11"/>
                  </a:cubicBezTo>
                  <a:cubicBezTo>
                    <a:pt x="427" y="11"/>
                    <a:pt x="427" y="11"/>
                    <a:pt x="427" y="11"/>
                  </a:cubicBezTo>
                  <a:cubicBezTo>
                    <a:pt x="427" y="12"/>
                    <a:pt x="427" y="12"/>
                    <a:pt x="428" y="13"/>
                  </a:cubicBezTo>
                  <a:cubicBezTo>
                    <a:pt x="428" y="13"/>
                    <a:pt x="428" y="14"/>
                    <a:pt x="428" y="15"/>
                  </a:cubicBezTo>
                  <a:cubicBezTo>
                    <a:pt x="428" y="15"/>
                    <a:pt x="428" y="16"/>
                    <a:pt x="427" y="17"/>
                  </a:cubicBezTo>
                  <a:cubicBezTo>
                    <a:pt x="427" y="17"/>
                    <a:pt x="427" y="18"/>
                    <a:pt x="427" y="18"/>
                  </a:cubicBezTo>
                  <a:cubicBezTo>
                    <a:pt x="427" y="19"/>
                    <a:pt x="427" y="19"/>
                    <a:pt x="427" y="19"/>
                  </a:cubicBezTo>
                  <a:cubicBezTo>
                    <a:pt x="426" y="19"/>
                    <a:pt x="426" y="19"/>
                    <a:pt x="426" y="19"/>
                  </a:cubicBezTo>
                  <a:cubicBezTo>
                    <a:pt x="425" y="19"/>
                    <a:pt x="425" y="19"/>
                    <a:pt x="424" y="18"/>
                  </a:cubicBezTo>
                  <a:cubicBezTo>
                    <a:pt x="423" y="18"/>
                    <a:pt x="422" y="17"/>
                    <a:pt x="420" y="16"/>
                  </a:cubicBezTo>
                  <a:cubicBezTo>
                    <a:pt x="419" y="16"/>
                    <a:pt x="417" y="15"/>
                    <a:pt x="415" y="14"/>
                  </a:cubicBezTo>
                  <a:cubicBezTo>
                    <a:pt x="413" y="14"/>
                    <a:pt x="411" y="14"/>
                    <a:pt x="409" y="14"/>
                  </a:cubicBezTo>
                  <a:cubicBezTo>
                    <a:pt x="406" y="14"/>
                    <a:pt x="404" y="14"/>
                    <a:pt x="403" y="14"/>
                  </a:cubicBezTo>
                  <a:cubicBezTo>
                    <a:pt x="401" y="15"/>
                    <a:pt x="400" y="16"/>
                    <a:pt x="399" y="17"/>
                  </a:cubicBezTo>
                  <a:cubicBezTo>
                    <a:pt x="397" y="18"/>
                    <a:pt x="397" y="19"/>
                    <a:pt x="396" y="20"/>
                  </a:cubicBezTo>
                  <a:cubicBezTo>
                    <a:pt x="396" y="22"/>
                    <a:pt x="395" y="23"/>
                    <a:pt x="395" y="25"/>
                  </a:cubicBezTo>
                  <a:cubicBezTo>
                    <a:pt x="395" y="27"/>
                    <a:pt x="396" y="29"/>
                    <a:pt x="397" y="31"/>
                  </a:cubicBezTo>
                  <a:cubicBezTo>
                    <a:pt x="398" y="32"/>
                    <a:pt x="399" y="34"/>
                    <a:pt x="401" y="35"/>
                  </a:cubicBezTo>
                  <a:cubicBezTo>
                    <a:pt x="403" y="36"/>
                    <a:pt x="405" y="37"/>
                    <a:pt x="407" y="38"/>
                  </a:cubicBezTo>
                  <a:cubicBezTo>
                    <a:pt x="409" y="39"/>
                    <a:pt x="411" y="40"/>
                    <a:pt x="414" y="42"/>
                  </a:cubicBezTo>
                  <a:cubicBezTo>
                    <a:pt x="416" y="43"/>
                    <a:pt x="418" y="44"/>
                    <a:pt x="420" y="45"/>
                  </a:cubicBezTo>
                  <a:cubicBezTo>
                    <a:pt x="423" y="46"/>
                    <a:pt x="425" y="48"/>
                    <a:pt x="426" y="50"/>
                  </a:cubicBezTo>
                  <a:cubicBezTo>
                    <a:pt x="428" y="51"/>
                    <a:pt x="429" y="53"/>
                    <a:pt x="431" y="56"/>
                  </a:cubicBezTo>
                  <a:cubicBezTo>
                    <a:pt x="432" y="58"/>
                    <a:pt x="432" y="61"/>
                    <a:pt x="432" y="64"/>
                  </a:cubicBezTo>
                  <a:close/>
                  <a:moveTo>
                    <a:pt x="500" y="55"/>
                  </a:moveTo>
                  <a:cubicBezTo>
                    <a:pt x="500" y="56"/>
                    <a:pt x="499" y="57"/>
                    <a:pt x="498" y="58"/>
                  </a:cubicBezTo>
                  <a:cubicBezTo>
                    <a:pt x="497" y="59"/>
                    <a:pt x="497" y="59"/>
                    <a:pt x="496" y="59"/>
                  </a:cubicBezTo>
                  <a:lnTo>
                    <a:pt x="458" y="59"/>
                  </a:lnTo>
                  <a:cubicBezTo>
                    <a:pt x="458" y="62"/>
                    <a:pt x="459" y="65"/>
                    <a:pt x="459" y="68"/>
                  </a:cubicBezTo>
                  <a:cubicBezTo>
                    <a:pt x="460" y="70"/>
                    <a:pt x="461" y="72"/>
                    <a:pt x="463" y="74"/>
                  </a:cubicBezTo>
                  <a:cubicBezTo>
                    <a:pt x="464" y="76"/>
                    <a:pt x="466" y="77"/>
                    <a:pt x="468" y="78"/>
                  </a:cubicBezTo>
                  <a:cubicBezTo>
                    <a:pt x="471" y="79"/>
                    <a:pt x="473" y="80"/>
                    <a:pt x="477" y="80"/>
                  </a:cubicBezTo>
                  <a:cubicBezTo>
                    <a:pt x="480" y="80"/>
                    <a:pt x="482" y="79"/>
                    <a:pt x="484" y="79"/>
                  </a:cubicBezTo>
                  <a:cubicBezTo>
                    <a:pt x="486" y="78"/>
                    <a:pt x="488" y="78"/>
                    <a:pt x="489" y="77"/>
                  </a:cubicBezTo>
                  <a:cubicBezTo>
                    <a:pt x="491" y="77"/>
                    <a:pt x="492" y="76"/>
                    <a:pt x="493" y="76"/>
                  </a:cubicBezTo>
                  <a:cubicBezTo>
                    <a:pt x="494" y="75"/>
                    <a:pt x="495" y="75"/>
                    <a:pt x="495" y="75"/>
                  </a:cubicBezTo>
                  <a:cubicBezTo>
                    <a:pt x="496" y="75"/>
                    <a:pt x="496" y="75"/>
                    <a:pt x="496" y="75"/>
                  </a:cubicBezTo>
                  <a:cubicBezTo>
                    <a:pt x="496" y="76"/>
                    <a:pt x="497" y="76"/>
                    <a:pt x="497" y="76"/>
                  </a:cubicBezTo>
                  <a:cubicBezTo>
                    <a:pt x="497" y="76"/>
                    <a:pt x="497" y="77"/>
                    <a:pt x="497" y="77"/>
                  </a:cubicBezTo>
                  <a:cubicBezTo>
                    <a:pt x="497" y="78"/>
                    <a:pt x="497" y="79"/>
                    <a:pt x="497" y="79"/>
                  </a:cubicBezTo>
                  <a:cubicBezTo>
                    <a:pt x="497" y="80"/>
                    <a:pt x="497" y="80"/>
                    <a:pt x="497" y="81"/>
                  </a:cubicBezTo>
                  <a:cubicBezTo>
                    <a:pt x="497" y="81"/>
                    <a:pt x="497" y="81"/>
                    <a:pt x="497" y="82"/>
                  </a:cubicBezTo>
                  <a:cubicBezTo>
                    <a:pt x="497" y="82"/>
                    <a:pt x="497" y="82"/>
                    <a:pt x="497" y="83"/>
                  </a:cubicBezTo>
                  <a:cubicBezTo>
                    <a:pt x="496" y="83"/>
                    <a:pt x="496" y="83"/>
                    <a:pt x="496" y="83"/>
                  </a:cubicBezTo>
                  <a:cubicBezTo>
                    <a:pt x="496" y="84"/>
                    <a:pt x="495" y="84"/>
                    <a:pt x="494" y="84"/>
                  </a:cubicBezTo>
                  <a:cubicBezTo>
                    <a:pt x="493" y="85"/>
                    <a:pt x="491" y="85"/>
                    <a:pt x="490" y="86"/>
                  </a:cubicBezTo>
                  <a:cubicBezTo>
                    <a:pt x="488" y="86"/>
                    <a:pt x="486" y="87"/>
                    <a:pt x="483" y="87"/>
                  </a:cubicBezTo>
                  <a:cubicBezTo>
                    <a:pt x="481" y="88"/>
                    <a:pt x="479" y="88"/>
                    <a:pt x="476" y="88"/>
                  </a:cubicBezTo>
                  <a:cubicBezTo>
                    <a:pt x="471" y="88"/>
                    <a:pt x="467" y="87"/>
                    <a:pt x="464" y="86"/>
                  </a:cubicBezTo>
                  <a:cubicBezTo>
                    <a:pt x="460" y="85"/>
                    <a:pt x="457" y="83"/>
                    <a:pt x="455" y="80"/>
                  </a:cubicBezTo>
                  <a:cubicBezTo>
                    <a:pt x="453" y="78"/>
                    <a:pt x="451" y="74"/>
                    <a:pt x="450" y="71"/>
                  </a:cubicBezTo>
                  <a:cubicBezTo>
                    <a:pt x="448" y="67"/>
                    <a:pt x="448" y="62"/>
                    <a:pt x="448" y="57"/>
                  </a:cubicBezTo>
                  <a:cubicBezTo>
                    <a:pt x="448" y="52"/>
                    <a:pt x="448" y="48"/>
                    <a:pt x="450" y="44"/>
                  </a:cubicBezTo>
                  <a:cubicBezTo>
                    <a:pt x="451" y="40"/>
                    <a:pt x="453" y="37"/>
                    <a:pt x="455" y="34"/>
                  </a:cubicBezTo>
                  <a:cubicBezTo>
                    <a:pt x="457" y="32"/>
                    <a:pt x="460" y="30"/>
                    <a:pt x="464" y="28"/>
                  </a:cubicBezTo>
                  <a:cubicBezTo>
                    <a:pt x="467" y="27"/>
                    <a:pt x="471" y="26"/>
                    <a:pt x="475" y="26"/>
                  </a:cubicBezTo>
                  <a:cubicBezTo>
                    <a:pt x="479" y="26"/>
                    <a:pt x="483" y="27"/>
                    <a:pt x="486" y="28"/>
                  </a:cubicBezTo>
                  <a:cubicBezTo>
                    <a:pt x="489" y="30"/>
                    <a:pt x="492" y="32"/>
                    <a:pt x="494" y="34"/>
                  </a:cubicBezTo>
                  <a:cubicBezTo>
                    <a:pt x="496" y="36"/>
                    <a:pt x="497" y="39"/>
                    <a:pt x="498" y="42"/>
                  </a:cubicBezTo>
                  <a:cubicBezTo>
                    <a:pt x="499" y="46"/>
                    <a:pt x="500" y="49"/>
                    <a:pt x="500" y="53"/>
                  </a:cubicBezTo>
                  <a:lnTo>
                    <a:pt x="500" y="55"/>
                  </a:lnTo>
                  <a:close/>
                  <a:moveTo>
                    <a:pt x="489" y="52"/>
                  </a:moveTo>
                  <a:cubicBezTo>
                    <a:pt x="489" y="46"/>
                    <a:pt x="488" y="42"/>
                    <a:pt x="486" y="39"/>
                  </a:cubicBezTo>
                  <a:cubicBezTo>
                    <a:pt x="483" y="36"/>
                    <a:pt x="479" y="34"/>
                    <a:pt x="474" y="34"/>
                  </a:cubicBezTo>
                  <a:cubicBezTo>
                    <a:pt x="472" y="34"/>
                    <a:pt x="469" y="35"/>
                    <a:pt x="468" y="36"/>
                  </a:cubicBezTo>
                  <a:cubicBezTo>
                    <a:pt x="466" y="37"/>
                    <a:pt x="464" y="38"/>
                    <a:pt x="463" y="39"/>
                  </a:cubicBezTo>
                  <a:cubicBezTo>
                    <a:pt x="461" y="41"/>
                    <a:pt x="460" y="43"/>
                    <a:pt x="460" y="45"/>
                  </a:cubicBezTo>
                  <a:cubicBezTo>
                    <a:pt x="459" y="47"/>
                    <a:pt x="459" y="49"/>
                    <a:pt x="458" y="52"/>
                  </a:cubicBezTo>
                  <a:lnTo>
                    <a:pt x="489" y="52"/>
                  </a:lnTo>
                  <a:close/>
                  <a:moveTo>
                    <a:pt x="526" y="85"/>
                  </a:moveTo>
                  <a:cubicBezTo>
                    <a:pt x="526" y="85"/>
                    <a:pt x="526" y="86"/>
                    <a:pt x="526" y="86"/>
                  </a:cubicBezTo>
                  <a:cubicBezTo>
                    <a:pt x="525" y="86"/>
                    <a:pt x="525" y="86"/>
                    <a:pt x="525" y="87"/>
                  </a:cubicBezTo>
                  <a:cubicBezTo>
                    <a:pt x="524" y="87"/>
                    <a:pt x="524" y="87"/>
                    <a:pt x="523" y="87"/>
                  </a:cubicBezTo>
                  <a:cubicBezTo>
                    <a:pt x="523" y="87"/>
                    <a:pt x="522" y="87"/>
                    <a:pt x="521" y="87"/>
                  </a:cubicBezTo>
                  <a:cubicBezTo>
                    <a:pt x="520" y="87"/>
                    <a:pt x="519" y="87"/>
                    <a:pt x="518" y="87"/>
                  </a:cubicBezTo>
                  <a:cubicBezTo>
                    <a:pt x="517" y="87"/>
                    <a:pt x="517" y="87"/>
                    <a:pt x="517" y="87"/>
                  </a:cubicBezTo>
                  <a:cubicBezTo>
                    <a:pt x="516" y="86"/>
                    <a:pt x="516" y="86"/>
                    <a:pt x="516" y="86"/>
                  </a:cubicBezTo>
                  <a:cubicBezTo>
                    <a:pt x="516" y="86"/>
                    <a:pt x="516" y="85"/>
                    <a:pt x="516" y="85"/>
                  </a:cubicBezTo>
                  <a:lnTo>
                    <a:pt x="516" y="2"/>
                  </a:lnTo>
                  <a:cubicBezTo>
                    <a:pt x="516" y="1"/>
                    <a:pt x="516" y="1"/>
                    <a:pt x="516" y="1"/>
                  </a:cubicBezTo>
                  <a:cubicBezTo>
                    <a:pt x="516" y="1"/>
                    <a:pt x="516" y="0"/>
                    <a:pt x="517" y="0"/>
                  </a:cubicBezTo>
                  <a:cubicBezTo>
                    <a:pt x="517" y="0"/>
                    <a:pt x="517" y="0"/>
                    <a:pt x="518" y="0"/>
                  </a:cubicBezTo>
                  <a:cubicBezTo>
                    <a:pt x="519" y="0"/>
                    <a:pt x="520" y="0"/>
                    <a:pt x="521" y="0"/>
                  </a:cubicBezTo>
                  <a:cubicBezTo>
                    <a:pt x="522" y="0"/>
                    <a:pt x="523" y="0"/>
                    <a:pt x="523" y="0"/>
                  </a:cubicBezTo>
                  <a:cubicBezTo>
                    <a:pt x="524" y="0"/>
                    <a:pt x="524" y="0"/>
                    <a:pt x="525" y="0"/>
                  </a:cubicBezTo>
                  <a:cubicBezTo>
                    <a:pt x="525" y="0"/>
                    <a:pt x="525" y="1"/>
                    <a:pt x="526" y="1"/>
                  </a:cubicBezTo>
                  <a:cubicBezTo>
                    <a:pt x="526" y="1"/>
                    <a:pt x="526" y="1"/>
                    <a:pt x="526" y="2"/>
                  </a:cubicBezTo>
                  <a:lnTo>
                    <a:pt x="526" y="85"/>
                  </a:lnTo>
                  <a:close/>
                  <a:moveTo>
                    <a:pt x="558" y="85"/>
                  </a:moveTo>
                  <a:cubicBezTo>
                    <a:pt x="558" y="85"/>
                    <a:pt x="558" y="86"/>
                    <a:pt x="558" y="86"/>
                  </a:cubicBezTo>
                  <a:cubicBezTo>
                    <a:pt x="557" y="86"/>
                    <a:pt x="557" y="86"/>
                    <a:pt x="557" y="87"/>
                  </a:cubicBezTo>
                  <a:cubicBezTo>
                    <a:pt x="556" y="87"/>
                    <a:pt x="556" y="87"/>
                    <a:pt x="555" y="87"/>
                  </a:cubicBezTo>
                  <a:cubicBezTo>
                    <a:pt x="555" y="87"/>
                    <a:pt x="554" y="87"/>
                    <a:pt x="553" y="87"/>
                  </a:cubicBezTo>
                  <a:cubicBezTo>
                    <a:pt x="552" y="87"/>
                    <a:pt x="551" y="87"/>
                    <a:pt x="550" y="87"/>
                  </a:cubicBezTo>
                  <a:cubicBezTo>
                    <a:pt x="549" y="87"/>
                    <a:pt x="549" y="87"/>
                    <a:pt x="549" y="87"/>
                  </a:cubicBezTo>
                  <a:cubicBezTo>
                    <a:pt x="548" y="86"/>
                    <a:pt x="548" y="86"/>
                    <a:pt x="548" y="86"/>
                  </a:cubicBezTo>
                  <a:cubicBezTo>
                    <a:pt x="548" y="86"/>
                    <a:pt x="548" y="85"/>
                    <a:pt x="548" y="85"/>
                  </a:cubicBezTo>
                  <a:lnTo>
                    <a:pt x="548" y="2"/>
                  </a:lnTo>
                  <a:cubicBezTo>
                    <a:pt x="548" y="1"/>
                    <a:pt x="548" y="1"/>
                    <a:pt x="548" y="1"/>
                  </a:cubicBezTo>
                  <a:cubicBezTo>
                    <a:pt x="548" y="1"/>
                    <a:pt x="548" y="0"/>
                    <a:pt x="549" y="0"/>
                  </a:cubicBezTo>
                  <a:cubicBezTo>
                    <a:pt x="549" y="0"/>
                    <a:pt x="549" y="0"/>
                    <a:pt x="550" y="0"/>
                  </a:cubicBezTo>
                  <a:cubicBezTo>
                    <a:pt x="551" y="0"/>
                    <a:pt x="552" y="0"/>
                    <a:pt x="553" y="0"/>
                  </a:cubicBezTo>
                  <a:cubicBezTo>
                    <a:pt x="554" y="0"/>
                    <a:pt x="555" y="0"/>
                    <a:pt x="555" y="0"/>
                  </a:cubicBezTo>
                  <a:cubicBezTo>
                    <a:pt x="556" y="0"/>
                    <a:pt x="556" y="0"/>
                    <a:pt x="557" y="0"/>
                  </a:cubicBezTo>
                  <a:cubicBezTo>
                    <a:pt x="557" y="0"/>
                    <a:pt x="557" y="1"/>
                    <a:pt x="558" y="1"/>
                  </a:cubicBezTo>
                  <a:cubicBezTo>
                    <a:pt x="558" y="1"/>
                    <a:pt x="558" y="1"/>
                    <a:pt x="558" y="2"/>
                  </a:cubicBezTo>
                  <a:lnTo>
                    <a:pt x="558" y="85"/>
                  </a:lnTo>
                  <a:close/>
                  <a:moveTo>
                    <a:pt x="612" y="55"/>
                  </a:moveTo>
                  <a:cubicBezTo>
                    <a:pt x="612" y="56"/>
                    <a:pt x="611" y="57"/>
                    <a:pt x="610" y="58"/>
                  </a:cubicBezTo>
                  <a:cubicBezTo>
                    <a:pt x="609" y="59"/>
                    <a:pt x="609" y="59"/>
                    <a:pt x="608" y="59"/>
                  </a:cubicBezTo>
                  <a:lnTo>
                    <a:pt x="570" y="59"/>
                  </a:lnTo>
                  <a:cubicBezTo>
                    <a:pt x="570" y="62"/>
                    <a:pt x="571" y="65"/>
                    <a:pt x="571" y="68"/>
                  </a:cubicBezTo>
                  <a:cubicBezTo>
                    <a:pt x="572" y="70"/>
                    <a:pt x="573" y="72"/>
                    <a:pt x="575" y="74"/>
                  </a:cubicBezTo>
                  <a:cubicBezTo>
                    <a:pt x="576" y="76"/>
                    <a:pt x="578" y="77"/>
                    <a:pt x="580" y="78"/>
                  </a:cubicBezTo>
                  <a:cubicBezTo>
                    <a:pt x="583" y="79"/>
                    <a:pt x="585" y="80"/>
                    <a:pt x="589" y="80"/>
                  </a:cubicBezTo>
                  <a:cubicBezTo>
                    <a:pt x="592" y="80"/>
                    <a:pt x="594" y="79"/>
                    <a:pt x="596" y="79"/>
                  </a:cubicBezTo>
                  <a:cubicBezTo>
                    <a:pt x="598" y="78"/>
                    <a:pt x="600" y="78"/>
                    <a:pt x="601" y="77"/>
                  </a:cubicBezTo>
                  <a:cubicBezTo>
                    <a:pt x="603" y="77"/>
                    <a:pt x="604" y="76"/>
                    <a:pt x="605" y="76"/>
                  </a:cubicBezTo>
                  <a:cubicBezTo>
                    <a:pt x="606" y="75"/>
                    <a:pt x="607" y="75"/>
                    <a:pt x="607" y="75"/>
                  </a:cubicBezTo>
                  <a:cubicBezTo>
                    <a:pt x="608" y="75"/>
                    <a:pt x="608" y="75"/>
                    <a:pt x="608" y="75"/>
                  </a:cubicBezTo>
                  <a:cubicBezTo>
                    <a:pt x="608" y="76"/>
                    <a:pt x="609" y="76"/>
                    <a:pt x="609" y="76"/>
                  </a:cubicBezTo>
                  <a:cubicBezTo>
                    <a:pt x="609" y="76"/>
                    <a:pt x="609" y="77"/>
                    <a:pt x="609" y="77"/>
                  </a:cubicBezTo>
                  <a:cubicBezTo>
                    <a:pt x="609" y="78"/>
                    <a:pt x="609" y="79"/>
                    <a:pt x="609" y="79"/>
                  </a:cubicBezTo>
                  <a:cubicBezTo>
                    <a:pt x="609" y="80"/>
                    <a:pt x="609" y="80"/>
                    <a:pt x="609" y="81"/>
                  </a:cubicBezTo>
                  <a:cubicBezTo>
                    <a:pt x="609" y="81"/>
                    <a:pt x="609" y="81"/>
                    <a:pt x="609" y="82"/>
                  </a:cubicBezTo>
                  <a:cubicBezTo>
                    <a:pt x="609" y="82"/>
                    <a:pt x="609" y="82"/>
                    <a:pt x="609" y="83"/>
                  </a:cubicBezTo>
                  <a:cubicBezTo>
                    <a:pt x="608" y="83"/>
                    <a:pt x="608" y="83"/>
                    <a:pt x="608" y="83"/>
                  </a:cubicBezTo>
                  <a:cubicBezTo>
                    <a:pt x="608" y="84"/>
                    <a:pt x="607" y="84"/>
                    <a:pt x="606" y="84"/>
                  </a:cubicBezTo>
                  <a:cubicBezTo>
                    <a:pt x="605" y="85"/>
                    <a:pt x="603" y="85"/>
                    <a:pt x="602" y="86"/>
                  </a:cubicBezTo>
                  <a:cubicBezTo>
                    <a:pt x="600" y="86"/>
                    <a:pt x="598" y="87"/>
                    <a:pt x="595" y="87"/>
                  </a:cubicBezTo>
                  <a:cubicBezTo>
                    <a:pt x="593" y="88"/>
                    <a:pt x="591" y="88"/>
                    <a:pt x="588" y="88"/>
                  </a:cubicBezTo>
                  <a:cubicBezTo>
                    <a:pt x="583" y="88"/>
                    <a:pt x="579" y="87"/>
                    <a:pt x="576" y="86"/>
                  </a:cubicBezTo>
                  <a:cubicBezTo>
                    <a:pt x="572" y="85"/>
                    <a:pt x="569" y="83"/>
                    <a:pt x="567" y="80"/>
                  </a:cubicBezTo>
                  <a:cubicBezTo>
                    <a:pt x="565" y="78"/>
                    <a:pt x="563" y="74"/>
                    <a:pt x="562" y="71"/>
                  </a:cubicBezTo>
                  <a:cubicBezTo>
                    <a:pt x="560" y="67"/>
                    <a:pt x="560" y="62"/>
                    <a:pt x="560" y="57"/>
                  </a:cubicBezTo>
                  <a:cubicBezTo>
                    <a:pt x="560" y="52"/>
                    <a:pt x="560" y="48"/>
                    <a:pt x="562" y="44"/>
                  </a:cubicBezTo>
                  <a:cubicBezTo>
                    <a:pt x="563" y="40"/>
                    <a:pt x="565" y="37"/>
                    <a:pt x="567" y="34"/>
                  </a:cubicBezTo>
                  <a:cubicBezTo>
                    <a:pt x="569" y="32"/>
                    <a:pt x="572" y="30"/>
                    <a:pt x="576" y="28"/>
                  </a:cubicBezTo>
                  <a:cubicBezTo>
                    <a:pt x="579" y="27"/>
                    <a:pt x="583" y="26"/>
                    <a:pt x="587" y="26"/>
                  </a:cubicBezTo>
                  <a:cubicBezTo>
                    <a:pt x="591" y="26"/>
                    <a:pt x="595" y="27"/>
                    <a:pt x="598" y="28"/>
                  </a:cubicBezTo>
                  <a:cubicBezTo>
                    <a:pt x="601" y="30"/>
                    <a:pt x="604" y="32"/>
                    <a:pt x="606" y="34"/>
                  </a:cubicBezTo>
                  <a:cubicBezTo>
                    <a:pt x="608" y="36"/>
                    <a:pt x="609" y="39"/>
                    <a:pt x="610" y="42"/>
                  </a:cubicBezTo>
                  <a:cubicBezTo>
                    <a:pt x="611" y="46"/>
                    <a:pt x="612" y="49"/>
                    <a:pt x="612" y="53"/>
                  </a:cubicBezTo>
                  <a:lnTo>
                    <a:pt x="612" y="55"/>
                  </a:lnTo>
                  <a:close/>
                  <a:moveTo>
                    <a:pt x="601" y="52"/>
                  </a:moveTo>
                  <a:cubicBezTo>
                    <a:pt x="601" y="46"/>
                    <a:pt x="600" y="42"/>
                    <a:pt x="598" y="39"/>
                  </a:cubicBezTo>
                  <a:cubicBezTo>
                    <a:pt x="595" y="36"/>
                    <a:pt x="591" y="34"/>
                    <a:pt x="586" y="34"/>
                  </a:cubicBezTo>
                  <a:cubicBezTo>
                    <a:pt x="584" y="34"/>
                    <a:pt x="581" y="35"/>
                    <a:pt x="580" y="36"/>
                  </a:cubicBezTo>
                  <a:cubicBezTo>
                    <a:pt x="578" y="37"/>
                    <a:pt x="576" y="38"/>
                    <a:pt x="575" y="39"/>
                  </a:cubicBezTo>
                  <a:cubicBezTo>
                    <a:pt x="573" y="41"/>
                    <a:pt x="572" y="43"/>
                    <a:pt x="572" y="45"/>
                  </a:cubicBezTo>
                  <a:cubicBezTo>
                    <a:pt x="571" y="47"/>
                    <a:pt x="571" y="49"/>
                    <a:pt x="570" y="52"/>
                  </a:cubicBezTo>
                  <a:lnTo>
                    <a:pt x="601" y="52"/>
                  </a:lnTo>
                  <a:close/>
                  <a:moveTo>
                    <a:pt x="660" y="33"/>
                  </a:moveTo>
                  <a:cubicBezTo>
                    <a:pt x="660" y="33"/>
                    <a:pt x="660" y="34"/>
                    <a:pt x="660" y="35"/>
                  </a:cubicBezTo>
                  <a:cubicBezTo>
                    <a:pt x="660" y="36"/>
                    <a:pt x="660" y="36"/>
                    <a:pt x="660" y="36"/>
                  </a:cubicBezTo>
                  <a:cubicBezTo>
                    <a:pt x="660" y="37"/>
                    <a:pt x="660" y="37"/>
                    <a:pt x="660" y="37"/>
                  </a:cubicBezTo>
                  <a:cubicBezTo>
                    <a:pt x="659" y="37"/>
                    <a:pt x="659" y="37"/>
                    <a:pt x="659" y="37"/>
                  </a:cubicBezTo>
                  <a:cubicBezTo>
                    <a:pt x="658" y="37"/>
                    <a:pt x="658" y="37"/>
                    <a:pt x="658" y="37"/>
                  </a:cubicBezTo>
                  <a:cubicBezTo>
                    <a:pt x="657" y="37"/>
                    <a:pt x="657" y="37"/>
                    <a:pt x="656" y="37"/>
                  </a:cubicBezTo>
                  <a:cubicBezTo>
                    <a:pt x="655" y="36"/>
                    <a:pt x="655" y="36"/>
                    <a:pt x="654" y="36"/>
                  </a:cubicBezTo>
                  <a:cubicBezTo>
                    <a:pt x="653" y="36"/>
                    <a:pt x="652" y="36"/>
                    <a:pt x="652" y="36"/>
                  </a:cubicBezTo>
                  <a:cubicBezTo>
                    <a:pt x="650" y="36"/>
                    <a:pt x="649" y="36"/>
                    <a:pt x="648" y="36"/>
                  </a:cubicBezTo>
                  <a:cubicBezTo>
                    <a:pt x="647" y="37"/>
                    <a:pt x="646" y="38"/>
                    <a:pt x="645" y="39"/>
                  </a:cubicBezTo>
                  <a:cubicBezTo>
                    <a:pt x="644" y="39"/>
                    <a:pt x="643" y="41"/>
                    <a:pt x="642" y="42"/>
                  </a:cubicBezTo>
                  <a:cubicBezTo>
                    <a:pt x="641" y="44"/>
                    <a:pt x="639" y="46"/>
                    <a:pt x="638" y="48"/>
                  </a:cubicBezTo>
                  <a:lnTo>
                    <a:pt x="638" y="85"/>
                  </a:lnTo>
                  <a:cubicBezTo>
                    <a:pt x="638" y="85"/>
                    <a:pt x="638" y="86"/>
                    <a:pt x="638" y="86"/>
                  </a:cubicBezTo>
                  <a:cubicBezTo>
                    <a:pt x="637" y="86"/>
                    <a:pt x="637" y="86"/>
                    <a:pt x="637" y="87"/>
                  </a:cubicBezTo>
                  <a:cubicBezTo>
                    <a:pt x="636" y="87"/>
                    <a:pt x="636" y="87"/>
                    <a:pt x="635" y="87"/>
                  </a:cubicBezTo>
                  <a:cubicBezTo>
                    <a:pt x="635" y="87"/>
                    <a:pt x="634" y="87"/>
                    <a:pt x="633" y="87"/>
                  </a:cubicBezTo>
                  <a:cubicBezTo>
                    <a:pt x="632" y="87"/>
                    <a:pt x="631" y="87"/>
                    <a:pt x="630" y="87"/>
                  </a:cubicBezTo>
                  <a:cubicBezTo>
                    <a:pt x="629" y="87"/>
                    <a:pt x="629" y="87"/>
                    <a:pt x="629" y="87"/>
                  </a:cubicBezTo>
                  <a:cubicBezTo>
                    <a:pt x="628" y="86"/>
                    <a:pt x="628" y="86"/>
                    <a:pt x="628" y="86"/>
                  </a:cubicBezTo>
                  <a:cubicBezTo>
                    <a:pt x="628" y="86"/>
                    <a:pt x="628" y="85"/>
                    <a:pt x="628" y="85"/>
                  </a:cubicBezTo>
                  <a:lnTo>
                    <a:pt x="628" y="29"/>
                  </a:lnTo>
                  <a:cubicBezTo>
                    <a:pt x="628" y="29"/>
                    <a:pt x="628" y="28"/>
                    <a:pt x="628" y="28"/>
                  </a:cubicBezTo>
                  <a:cubicBezTo>
                    <a:pt x="628" y="28"/>
                    <a:pt x="628" y="28"/>
                    <a:pt x="628" y="27"/>
                  </a:cubicBezTo>
                  <a:cubicBezTo>
                    <a:pt x="629" y="27"/>
                    <a:pt x="629" y="27"/>
                    <a:pt x="630" y="27"/>
                  </a:cubicBezTo>
                  <a:cubicBezTo>
                    <a:pt x="630" y="27"/>
                    <a:pt x="631" y="27"/>
                    <a:pt x="632" y="27"/>
                  </a:cubicBezTo>
                  <a:cubicBezTo>
                    <a:pt x="633" y="27"/>
                    <a:pt x="634" y="27"/>
                    <a:pt x="634" y="27"/>
                  </a:cubicBezTo>
                  <a:cubicBezTo>
                    <a:pt x="635" y="27"/>
                    <a:pt x="636" y="27"/>
                    <a:pt x="636" y="27"/>
                  </a:cubicBezTo>
                  <a:cubicBezTo>
                    <a:pt x="636" y="28"/>
                    <a:pt x="636" y="28"/>
                    <a:pt x="637" y="28"/>
                  </a:cubicBezTo>
                  <a:cubicBezTo>
                    <a:pt x="637" y="28"/>
                    <a:pt x="637" y="29"/>
                    <a:pt x="637" y="29"/>
                  </a:cubicBezTo>
                  <a:lnTo>
                    <a:pt x="637" y="37"/>
                  </a:lnTo>
                  <a:cubicBezTo>
                    <a:pt x="638" y="35"/>
                    <a:pt x="640" y="33"/>
                    <a:pt x="641" y="32"/>
                  </a:cubicBezTo>
                  <a:cubicBezTo>
                    <a:pt x="643" y="30"/>
                    <a:pt x="644" y="29"/>
                    <a:pt x="645" y="28"/>
                  </a:cubicBezTo>
                  <a:cubicBezTo>
                    <a:pt x="646" y="27"/>
                    <a:pt x="647" y="27"/>
                    <a:pt x="649" y="27"/>
                  </a:cubicBezTo>
                  <a:cubicBezTo>
                    <a:pt x="650" y="26"/>
                    <a:pt x="651" y="26"/>
                    <a:pt x="652" y="26"/>
                  </a:cubicBezTo>
                  <a:cubicBezTo>
                    <a:pt x="653" y="26"/>
                    <a:pt x="653" y="26"/>
                    <a:pt x="654" y="26"/>
                  </a:cubicBezTo>
                  <a:cubicBezTo>
                    <a:pt x="655" y="26"/>
                    <a:pt x="655" y="26"/>
                    <a:pt x="656" y="27"/>
                  </a:cubicBezTo>
                  <a:cubicBezTo>
                    <a:pt x="657" y="27"/>
                    <a:pt x="658" y="27"/>
                    <a:pt x="658" y="27"/>
                  </a:cubicBezTo>
                  <a:cubicBezTo>
                    <a:pt x="659" y="27"/>
                    <a:pt x="659" y="27"/>
                    <a:pt x="660" y="28"/>
                  </a:cubicBezTo>
                  <a:cubicBezTo>
                    <a:pt x="660" y="28"/>
                    <a:pt x="660" y="28"/>
                    <a:pt x="660" y="28"/>
                  </a:cubicBezTo>
                  <a:cubicBezTo>
                    <a:pt x="660" y="28"/>
                    <a:pt x="660" y="29"/>
                    <a:pt x="660" y="29"/>
                  </a:cubicBezTo>
                  <a:cubicBezTo>
                    <a:pt x="660" y="29"/>
                    <a:pt x="660" y="30"/>
                    <a:pt x="660" y="30"/>
                  </a:cubicBezTo>
                  <a:cubicBezTo>
                    <a:pt x="660" y="31"/>
                    <a:pt x="660" y="32"/>
                    <a:pt x="660" y="33"/>
                  </a:cubicBezTo>
                  <a:close/>
                  <a:moveTo>
                    <a:pt x="711" y="70"/>
                  </a:moveTo>
                  <a:cubicBezTo>
                    <a:pt x="711" y="73"/>
                    <a:pt x="710" y="75"/>
                    <a:pt x="709" y="78"/>
                  </a:cubicBezTo>
                  <a:cubicBezTo>
                    <a:pt x="708" y="80"/>
                    <a:pt x="707" y="82"/>
                    <a:pt x="705" y="83"/>
                  </a:cubicBezTo>
                  <a:cubicBezTo>
                    <a:pt x="703" y="85"/>
                    <a:pt x="700" y="86"/>
                    <a:pt x="698" y="87"/>
                  </a:cubicBezTo>
                  <a:cubicBezTo>
                    <a:pt x="695" y="87"/>
                    <a:pt x="692" y="88"/>
                    <a:pt x="689" y="88"/>
                  </a:cubicBezTo>
                  <a:cubicBezTo>
                    <a:pt x="687" y="88"/>
                    <a:pt x="685" y="88"/>
                    <a:pt x="683" y="87"/>
                  </a:cubicBezTo>
                  <a:cubicBezTo>
                    <a:pt x="681" y="87"/>
                    <a:pt x="680" y="87"/>
                    <a:pt x="678" y="86"/>
                  </a:cubicBezTo>
                  <a:cubicBezTo>
                    <a:pt x="677" y="86"/>
                    <a:pt x="676" y="85"/>
                    <a:pt x="675" y="85"/>
                  </a:cubicBezTo>
                  <a:cubicBezTo>
                    <a:pt x="674" y="84"/>
                    <a:pt x="673" y="84"/>
                    <a:pt x="672" y="83"/>
                  </a:cubicBezTo>
                  <a:cubicBezTo>
                    <a:pt x="672" y="83"/>
                    <a:pt x="672" y="82"/>
                    <a:pt x="671" y="82"/>
                  </a:cubicBezTo>
                  <a:cubicBezTo>
                    <a:pt x="671" y="81"/>
                    <a:pt x="671" y="80"/>
                    <a:pt x="671" y="79"/>
                  </a:cubicBezTo>
                  <a:cubicBezTo>
                    <a:pt x="671" y="78"/>
                    <a:pt x="671" y="77"/>
                    <a:pt x="671" y="77"/>
                  </a:cubicBezTo>
                  <a:cubicBezTo>
                    <a:pt x="671" y="76"/>
                    <a:pt x="671" y="76"/>
                    <a:pt x="671" y="75"/>
                  </a:cubicBezTo>
                  <a:cubicBezTo>
                    <a:pt x="672" y="75"/>
                    <a:pt x="672" y="75"/>
                    <a:pt x="672" y="74"/>
                  </a:cubicBezTo>
                  <a:cubicBezTo>
                    <a:pt x="672" y="74"/>
                    <a:pt x="672" y="74"/>
                    <a:pt x="673" y="74"/>
                  </a:cubicBezTo>
                  <a:cubicBezTo>
                    <a:pt x="673" y="74"/>
                    <a:pt x="674" y="75"/>
                    <a:pt x="675" y="75"/>
                  </a:cubicBezTo>
                  <a:cubicBezTo>
                    <a:pt x="676" y="76"/>
                    <a:pt x="677" y="76"/>
                    <a:pt x="678" y="77"/>
                  </a:cubicBezTo>
                  <a:cubicBezTo>
                    <a:pt x="679" y="78"/>
                    <a:pt x="681" y="78"/>
                    <a:pt x="683" y="79"/>
                  </a:cubicBezTo>
                  <a:cubicBezTo>
                    <a:pt x="685" y="79"/>
                    <a:pt x="687" y="80"/>
                    <a:pt x="689" y="80"/>
                  </a:cubicBezTo>
                  <a:cubicBezTo>
                    <a:pt x="691" y="80"/>
                    <a:pt x="692" y="79"/>
                    <a:pt x="694" y="79"/>
                  </a:cubicBezTo>
                  <a:cubicBezTo>
                    <a:pt x="695" y="79"/>
                    <a:pt x="696" y="78"/>
                    <a:pt x="697" y="77"/>
                  </a:cubicBezTo>
                  <a:cubicBezTo>
                    <a:pt x="698" y="77"/>
                    <a:pt x="699" y="76"/>
                    <a:pt x="700" y="75"/>
                  </a:cubicBezTo>
                  <a:cubicBezTo>
                    <a:pt x="700" y="74"/>
                    <a:pt x="701" y="72"/>
                    <a:pt x="701" y="71"/>
                  </a:cubicBezTo>
                  <a:cubicBezTo>
                    <a:pt x="701" y="69"/>
                    <a:pt x="700" y="68"/>
                    <a:pt x="699" y="67"/>
                  </a:cubicBezTo>
                  <a:cubicBezTo>
                    <a:pt x="699" y="66"/>
                    <a:pt x="698" y="65"/>
                    <a:pt x="696" y="64"/>
                  </a:cubicBezTo>
                  <a:cubicBezTo>
                    <a:pt x="695" y="63"/>
                    <a:pt x="693" y="62"/>
                    <a:pt x="692" y="62"/>
                  </a:cubicBezTo>
                  <a:cubicBezTo>
                    <a:pt x="690" y="61"/>
                    <a:pt x="688" y="60"/>
                    <a:pt x="687" y="60"/>
                  </a:cubicBezTo>
                  <a:cubicBezTo>
                    <a:pt x="685" y="59"/>
                    <a:pt x="683" y="58"/>
                    <a:pt x="681" y="57"/>
                  </a:cubicBezTo>
                  <a:cubicBezTo>
                    <a:pt x="680" y="56"/>
                    <a:pt x="678" y="55"/>
                    <a:pt x="677" y="54"/>
                  </a:cubicBezTo>
                  <a:cubicBezTo>
                    <a:pt x="675" y="53"/>
                    <a:pt x="674" y="51"/>
                    <a:pt x="674" y="49"/>
                  </a:cubicBezTo>
                  <a:cubicBezTo>
                    <a:pt x="673" y="47"/>
                    <a:pt x="672" y="45"/>
                    <a:pt x="672" y="43"/>
                  </a:cubicBezTo>
                  <a:cubicBezTo>
                    <a:pt x="672" y="41"/>
                    <a:pt x="673" y="38"/>
                    <a:pt x="674" y="36"/>
                  </a:cubicBezTo>
                  <a:cubicBezTo>
                    <a:pt x="675" y="34"/>
                    <a:pt x="676" y="33"/>
                    <a:pt x="678" y="31"/>
                  </a:cubicBezTo>
                  <a:cubicBezTo>
                    <a:pt x="679" y="30"/>
                    <a:pt x="681" y="28"/>
                    <a:pt x="684" y="27"/>
                  </a:cubicBezTo>
                  <a:cubicBezTo>
                    <a:pt x="686" y="27"/>
                    <a:pt x="689" y="26"/>
                    <a:pt x="693" y="26"/>
                  </a:cubicBezTo>
                  <a:cubicBezTo>
                    <a:pt x="694" y="26"/>
                    <a:pt x="696" y="26"/>
                    <a:pt x="697" y="26"/>
                  </a:cubicBezTo>
                  <a:cubicBezTo>
                    <a:pt x="699" y="27"/>
                    <a:pt x="700" y="27"/>
                    <a:pt x="701" y="27"/>
                  </a:cubicBezTo>
                  <a:cubicBezTo>
                    <a:pt x="703" y="28"/>
                    <a:pt x="704" y="28"/>
                    <a:pt x="705" y="29"/>
                  </a:cubicBezTo>
                  <a:cubicBezTo>
                    <a:pt x="705" y="29"/>
                    <a:pt x="706" y="29"/>
                    <a:pt x="706" y="30"/>
                  </a:cubicBezTo>
                  <a:cubicBezTo>
                    <a:pt x="707" y="30"/>
                    <a:pt x="707" y="30"/>
                    <a:pt x="707" y="31"/>
                  </a:cubicBezTo>
                  <a:cubicBezTo>
                    <a:pt x="708" y="31"/>
                    <a:pt x="708" y="31"/>
                    <a:pt x="708" y="31"/>
                  </a:cubicBezTo>
                  <a:cubicBezTo>
                    <a:pt x="708" y="32"/>
                    <a:pt x="708" y="32"/>
                    <a:pt x="708" y="33"/>
                  </a:cubicBezTo>
                  <a:cubicBezTo>
                    <a:pt x="708" y="33"/>
                    <a:pt x="708" y="34"/>
                    <a:pt x="708" y="34"/>
                  </a:cubicBezTo>
                  <a:cubicBezTo>
                    <a:pt x="708" y="35"/>
                    <a:pt x="708" y="36"/>
                    <a:pt x="708" y="36"/>
                  </a:cubicBezTo>
                  <a:cubicBezTo>
                    <a:pt x="708" y="37"/>
                    <a:pt x="708" y="37"/>
                    <a:pt x="708" y="37"/>
                  </a:cubicBezTo>
                  <a:cubicBezTo>
                    <a:pt x="707" y="38"/>
                    <a:pt x="707" y="38"/>
                    <a:pt x="707" y="38"/>
                  </a:cubicBezTo>
                  <a:cubicBezTo>
                    <a:pt x="707" y="38"/>
                    <a:pt x="707" y="38"/>
                    <a:pt x="706" y="38"/>
                  </a:cubicBezTo>
                  <a:cubicBezTo>
                    <a:pt x="706" y="38"/>
                    <a:pt x="705" y="38"/>
                    <a:pt x="705" y="38"/>
                  </a:cubicBezTo>
                  <a:cubicBezTo>
                    <a:pt x="704" y="37"/>
                    <a:pt x="703" y="37"/>
                    <a:pt x="702" y="36"/>
                  </a:cubicBezTo>
                  <a:cubicBezTo>
                    <a:pt x="701" y="36"/>
                    <a:pt x="700" y="35"/>
                    <a:pt x="698" y="35"/>
                  </a:cubicBezTo>
                  <a:cubicBezTo>
                    <a:pt x="696" y="34"/>
                    <a:pt x="695" y="34"/>
                    <a:pt x="693" y="34"/>
                  </a:cubicBezTo>
                  <a:cubicBezTo>
                    <a:pt x="691" y="34"/>
                    <a:pt x="689" y="34"/>
                    <a:pt x="688" y="35"/>
                  </a:cubicBezTo>
                  <a:cubicBezTo>
                    <a:pt x="687" y="35"/>
                    <a:pt x="686" y="36"/>
                    <a:pt x="685" y="36"/>
                  </a:cubicBezTo>
                  <a:cubicBezTo>
                    <a:pt x="684" y="37"/>
                    <a:pt x="683" y="38"/>
                    <a:pt x="683" y="39"/>
                  </a:cubicBezTo>
                  <a:cubicBezTo>
                    <a:pt x="682" y="40"/>
                    <a:pt x="682" y="41"/>
                    <a:pt x="682" y="42"/>
                  </a:cubicBezTo>
                  <a:cubicBezTo>
                    <a:pt x="682" y="44"/>
                    <a:pt x="683" y="45"/>
                    <a:pt x="684" y="46"/>
                  </a:cubicBezTo>
                  <a:cubicBezTo>
                    <a:pt x="684" y="47"/>
                    <a:pt x="685" y="48"/>
                    <a:pt x="687" y="49"/>
                  </a:cubicBezTo>
                  <a:cubicBezTo>
                    <a:pt x="688" y="50"/>
                    <a:pt x="690" y="51"/>
                    <a:pt x="691" y="51"/>
                  </a:cubicBezTo>
                  <a:cubicBezTo>
                    <a:pt x="693" y="52"/>
                    <a:pt x="695" y="53"/>
                    <a:pt x="697" y="54"/>
                  </a:cubicBezTo>
                  <a:cubicBezTo>
                    <a:pt x="698" y="54"/>
                    <a:pt x="700" y="55"/>
                    <a:pt x="702" y="56"/>
                  </a:cubicBezTo>
                  <a:cubicBezTo>
                    <a:pt x="704" y="57"/>
                    <a:pt x="705" y="58"/>
                    <a:pt x="706" y="59"/>
                  </a:cubicBezTo>
                  <a:cubicBezTo>
                    <a:pt x="708" y="60"/>
                    <a:pt x="709" y="62"/>
                    <a:pt x="710" y="64"/>
                  </a:cubicBezTo>
                  <a:cubicBezTo>
                    <a:pt x="710" y="65"/>
                    <a:pt x="711" y="67"/>
                    <a:pt x="711" y="70"/>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116">
              <a:extLst>
                <a:ext uri="{FF2B5EF4-FFF2-40B4-BE49-F238E27FC236}">
                  <a16:creationId xmlns:a16="http://schemas.microsoft.com/office/drawing/2014/main" id="{6C6E7AE5-51FA-4D10-B5EB-657B94BC5113}"/>
                </a:ext>
              </a:extLst>
            </p:cNvPr>
            <p:cNvSpPr>
              <a:spLocks noEditPoints="1"/>
            </p:cNvSpPr>
            <p:nvPr/>
          </p:nvSpPr>
          <p:spPr bwMode="auto">
            <a:xfrm>
              <a:off x="2554" y="2393"/>
              <a:ext cx="1289" cy="683"/>
            </a:xfrm>
            <a:custGeom>
              <a:avLst/>
              <a:gdLst>
                <a:gd name="T0" fmla="*/ 5 w 2880"/>
                <a:gd name="T1" fmla="*/ 1 h 1525"/>
                <a:gd name="T2" fmla="*/ 33 w 2880"/>
                <a:gd name="T3" fmla="*/ 56 h 1525"/>
                <a:gd name="T4" fmla="*/ 61 w 2880"/>
                <a:gd name="T5" fmla="*/ 110 h 1525"/>
                <a:gd name="T6" fmla="*/ 90 w 2880"/>
                <a:gd name="T7" fmla="*/ 165 h 1525"/>
                <a:gd name="T8" fmla="*/ 120 w 2880"/>
                <a:gd name="T9" fmla="*/ 218 h 1525"/>
                <a:gd name="T10" fmla="*/ 153 w 2880"/>
                <a:gd name="T11" fmla="*/ 270 h 1525"/>
                <a:gd name="T12" fmla="*/ 186 w 2880"/>
                <a:gd name="T13" fmla="*/ 322 h 1525"/>
                <a:gd name="T14" fmla="*/ 215 w 2880"/>
                <a:gd name="T15" fmla="*/ 376 h 1525"/>
                <a:gd name="T16" fmla="*/ 251 w 2880"/>
                <a:gd name="T17" fmla="*/ 426 h 1525"/>
                <a:gd name="T18" fmla="*/ 310 w 2880"/>
                <a:gd name="T19" fmla="*/ 504 h 1525"/>
                <a:gd name="T20" fmla="*/ 347 w 2880"/>
                <a:gd name="T21" fmla="*/ 553 h 1525"/>
                <a:gd name="T22" fmla="*/ 387 w 2880"/>
                <a:gd name="T23" fmla="*/ 599 h 1525"/>
                <a:gd name="T24" fmla="*/ 428 w 2880"/>
                <a:gd name="T25" fmla="*/ 645 h 1525"/>
                <a:gd name="T26" fmla="*/ 469 w 2880"/>
                <a:gd name="T27" fmla="*/ 691 h 1525"/>
                <a:gd name="T28" fmla="*/ 514 w 2880"/>
                <a:gd name="T29" fmla="*/ 736 h 1525"/>
                <a:gd name="T30" fmla="*/ 559 w 2880"/>
                <a:gd name="T31" fmla="*/ 774 h 1525"/>
                <a:gd name="T32" fmla="*/ 604 w 2880"/>
                <a:gd name="T33" fmla="*/ 816 h 1525"/>
                <a:gd name="T34" fmla="*/ 648 w 2880"/>
                <a:gd name="T35" fmla="*/ 859 h 1525"/>
                <a:gd name="T36" fmla="*/ 695 w 2880"/>
                <a:gd name="T37" fmla="*/ 898 h 1525"/>
                <a:gd name="T38" fmla="*/ 743 w 2880"/>
                <a:gd name="T39" fmla="*/ 937 h 1525"/>
                <a:gd name="T40" fmla="*/ 791 w 2880"/>
                <a:gd name="T41" fmla="*/ 975 h 1525"/>
                <a:gd name="T42" fmla="*/ 833 w 2880"/>
                <a:gd name="T43" fmla="*/ 1008 h 1525"/>
                <a:gd name="T44" fmla="*/ 811 w 2880"/>
                <a:gd name="T45" fmla="*/ 991 h 1525"/>
                <a:gd name="T46" fmla="*/ 860 w 2880"/>
                <a:gd name="T47" fmla="*/ 1027 h 1525"/>
                <a:gd name="T48" fmla="*/ 911 w 2880"/>
                <a:gd name="T49" fmla="*/ 1061 h 1525"/>
                <a:gd name="T50" fmla="*/ 963 w 2880"/>
                <a:gd name="T51" fmla="*/ 1095 h 1525"/>
                <a:gd name="T52" fmla="*/ 1013 w 2880"/>
                <a:gd name="T53" fmla="*/ 1129 h 1525"/>
                <a:gd name="T54" fmla="*/ 1067 w 2880"/>
                <a:gd name="T55" fmla="*/ 1159 h 1525"/>
                <a:gd name="T56" fmla="*/ 1121 w 2880"/>
                <a:gd name="T57" fmla="*/ 1189 h 1525"/>
                <a:gd name="T58" fmla="*/ 1172 w 2880"/>
                <a:gd name="T59" fmla="*/ 1224 h 1525"/>
                <a:gd name="T60" fmla="*/ 1227 w 2880"/>
                <a:gd name="T61" fmla="*/ 1252 h 1525"/>
                <a:gd name="T62" fmla="*/ 1282 w 2880"/>
                <a:gd name="T63" fmla="*/ 1277 h 1525"/>
                <a:gd name="T64" fmla="*/ 1338 w 2880"/>
                <a:gd name="T65" fmla="*/ 1303 h 1525"/>
                <a:gd name="T66" fmla="*/ 1394 w 2880"/>
                <a:gd name="T67" fmla="*/ 1329 h 1525"/>
                <a:gd name="T68" fmla="*/ 1452 w 2880"/>
                <a:gd name="T69" fmla="*/ 1350 h 1525"/>
                <a:gd name="T70" fmla="*/ 1510 w 2880"/>
                <a:gd name="T71" fmla="*/ 1371 h 1525"/>
                <a:gd name="T72" fmla="*/ 1601 w 2880"/>
                <a:gd name="T73" fmla="*/ 1404 h 1525"/>
                <a:gd name="T74" fmla="*/ 1664 w 2880"/>
                <a:gd name="T75" fmla="*/ 1418 h 1525"/>
                <a:gd name="T76" fmla="*/ 1723 w 2880"/>
                <a:gd name="T77" fmla="*/ 1434 h 1525"/>
                <a:gd name="T78" fmla="*/ 1782 w 2880"/>
                <a:gd name="T79" fmla="*/ 1451 h 1525"/>
                <a:gd name="T80" fmla="*/ 1842 w 2880"/>
                <a:gd name="T81" fmla="*/ 1464 h 1525"/>
                <a:gd name="T82" fmla="*/ 1903 w 2880"/>
                <a:gd name="T83" fmla="*/ 1475 h 1525"/>
                <a:gd name="T84" fmla="*/ 1963 w 2880"/>
                <a:gd name="T85" fmla="*/ 1486 h 1525"/>
                <a:gd name="T86" fmla="*/ 2021 w 2880"/>
                <a:gd name="T87" fmla="*/ 1494 h 1525"/>
                <a:gd name="T88" fmla="*/ 2047 w 2880"/>
                <a:gd name="T89" fmla="*/ 1497 h 1525"/>
                <a:gd name="T90" fmla="*/ 2108 w 2880"/>
                <a:gd name="T91" fmla="*/ 1503 h 1525"/>
                <a:gd name="T92" fmla="*/ 2169 w 2880"/>
                <a:gd name="T93" fmla="*/ 1509 h 1525"/>
                <a:gd name="T94" fmla="*/ 2230 w 2880"/>
                <a:gd name="T95" fmla="*/ 1516 h 1525"/>
                <a:gd name="T96" fmla="*/ 2227 w 2880"/>
                <a:gd name="T97" fmla="*/ 1518 h 1525"/>
                <a:gd name="T98" fmla="*/ 2289 w 2880"/>
                <a:gd name="T99" fmla="*/ 1519 h 1525"/>
                <a:gd name="T100" fmla="*/ 2350 w 2880"/>
                <a:gd name="T101" fmla="*/ 1521 h 1525"/>
                <a:gd name="T102" fmla="*/ 2411 w 2880"/>
                <a:gd name="T103" fmla="*/ 1522 h 1525"/>
                <a:gd name="T104" fmla="*/ 2473 w 2880"/>
                <a:gd name="T105" fmla="*/ 1521 h 1525"/>
                <a:gd name="T106" fmla="*/ 2534 w 2880"/>
                <a:gd name="T107" fmla="*/ 1517 h 1525"/>
                <a:gd name="T108" fmla="*/ 2595 w 2880"/>
                <a:gd name="T109" fmla="*/ 1513 h 1525"/>
                <a:gd name="T110" fmla="*/ 2675 w 2880"/>
                <a:gd name="T111" fmla="*/ 1511 h 1525"/>
                <a:gd name="T112" fmla="*/ 2756 w 2880"/>
                <a:gd name="T113" fmla="*/ 1499 h 1525"/>
                <a:gd name="T114" fmla="*/ 2817 w 2880"/>
                <a:gd name="T115" fmla="*/ 1490 h 1525"/>
                <a:gd name="T116" fmla="*/ 2878 w 2880"/>
                <a:gd name="T117" fmla="*/ 1481 h 1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1525">
                  <a:moveTo>
                    <a:pt x="5" y="1"/>
                  </a:moveTo>
                  <a:lnTo>
                    <a:pt x="21" y="33"/>
                  </a:lnTo>
                  <a:cubicBezTo>
                    <a:pt x="22" y="34"/>
                    <a:pt x="21" y="36"/>
                    <a:pt x="20" y="37"/>
                  </a:cubicBezTo>
                  <a:cubicBezTo>
                    <a:pt x="19" y="37"/>
                    <a:pt x="17" y="37"/>
                    <a:pt x="17" y="35"/>
                  </a:cubicBezTo>
                  <a:lnTo>
                    <a:pt x="0" y="4"/>
                  </a:lnTo>
                  <a:cubicBezTo>
                    <a:pt x="0" y="2"/>
                    <a:pt x="0" y="1"/>
                    <a:pt x="1" y="0"/>
                  </a:cubicBezTo>
                  <a:cubicBezTo>
                    <a:pt x="3" y="0"/>
                    <a:pt x="4" y="0"/>
                    <a:pt x="5" y="1"/>
                  </a:cubicBezTo>
                  <a:close/>
                  <a:moveTo>
                    <a:pt x="33" y="56"/>
                  </a:moveTo>
                  <a:lnTo>
                    <a:pt x="50" y="88"/>
                  </a:lnTo>
                  <a:cubicBezTo>
                    <a:pt x="50" y="89"/>
                    <a:pt x="50" y="90"/>
                    <a:pt x="49" y="91"/>
                  </a:cubicBezTo>
                  <a:cubicBezTo>
                    <a:pt x="47" y="92"/>
                    <a:pt x="46" y="91"/>
                    <a:pt x="45" y="90"/>
                  </a:cubicBezTo>
                  <a:lnTo>
                    <a:pt x="29" y="58"/>
                  </a:lnTo>
                  <a:cubicBezTo>
                    <a:pt x="28" y="57"/>
                    <a:pt x="28" y="55"/>
                    <a:pt x="30" y="55"/>
                  </a:cubicBezTo>
                  <a:cubicBezTo>
                    <a:pt x="31" y="54"/>
                    <a:pt x="32" y="55"/>
                    <a:pt x="33" y="56"/>
                  </a:cubicBezTo>
                  <a:close/>
                  <a:moveTo>
                    <a:pt x="61" y="110"/>
                  </a:moveTo>
                  <a:lnTo>
                    <a:pt x="78" y="142"/>
                  </a:lnTo>
                  <a:cubicBezTo>
                    <a:pt x="79" y="143"/>
                    <a:pt x="78" y="145"/>
                    <a:pt x="77" y="146"/>
                  </a:cubicBezTo>
                  <a:cubicBezTo>
                    <a:pt x="76" y="146"/>
                    <a:pt x="74" y="146"/>
                    <a:pt x="73" y="144"/>
                  </a:cubicBezTo>
                  <a:lnTo>
                    <a:pt x="57" y="113"/>
                  </a:lnTo>
                  <a:cubicBezTo>
                    <a:pt x="56" y="111"/>
                    <a:pt x="57" y="110"/>
                    <a:pt x="58" y="109"/>
                  </a:cubicBezTo>
                  <a:cubicBezTo>
                    <a:pt x="59" y="109"/>
                    <a:pt x="61" y="109"/>
                    <a:pt x="61" y="110"/>
                  </a:cubicBezTo>
                  <a:close/>
                  <a:moveTo>
                    <a:pt x="90" y="165"/>
                  </a:moveTo>
                  <a:lnTo>
                    <a:pt x="106" y="197"/>
                  </a:lnTo>
                  <a:cubicBezTo>
                    <a:pt x="107" y="198"/>
                    <a:pt x="106" y="199"/>
                    <a:pt x="105" y="200"/>
                  </a:cubicBezTo>
                  <a:cubicBezTo>
                    <a:pt x="104" y="201"/>
                    <a:pt x="102" y="200"/>
                    <a:pt x="102" y="199"/>
                  </a:cubicBezTo>
                  <a:lnTo>
                    <a:pt x="85" y="167"/>
                  </a:lnTo>
                  <a:cubicBezTo>
                    <a:pt x="85" y="166"/>
                    <a:pt x="85" y="164"/>
                    <a:pt x="86" y="164"/>
                  </a:cubicBezTo>
                  <a:cubicBezTo>
                    <a:pt x="88" y="163"/>
                    <a:pt x="89" y="164"/>
                    <a:pt x="90" y="165"/>
                  </a:cubicBezTo>
                  <a:close/>
                  <a:moveTo>
                    <a:pt x="120" y="218"/>
                  </a:moveTo>
                  <a:lnTo>
                    <a:pt x="139" y="248"/>
                  </a:lnTo>
                  <a:cubicBezTo>
                    <a:pt x="140" y="250"/>
                    <a:pt x="139" y="251"/>
                    <a:pt x="138" y="252"/>
                  </a:cubicBezTo>
                  <a:cubicBezTo>
                    <a:pt x="137" y="253"/>
                    <a:pt x="135" y="252"/>
                    <a:pt x="135" y="251"/>
                  </a:cubicBezTo>
                  <a:lnTo>
                    <a:pt x="115" y="221"/>
                  </a:lnTo>
                  <a:cubicBezTo>
                    <a:pt x="115" y="220"/>
                    <a:pt x="115" y="218"/>
                    <a:pt x="116" y="217"/>
                  </a:cubicBezTo>
                  <a:cubicBezTo>
                    <a:pt x="117" y="217"/>
                    <a:pt x="119" y="217"/>
                    <a:pt x="120" y="218"/>
                  </a:cubicBezTo>
                  <a:close/>
                  <a:moveTo>
                    <a:pt x="153" y="270"/>
                  </a:moveTo>
                  <a:lnTo>
                    <a:pt x="172" y="300"/>
                  </a:lnTo>
                  <a:cubicBezTo>
                    <a:pt x="173" y="301"/>
                    <a:pt x="173" y="303"/>
                    <a:pt x="171" y="304"/>
                  </a:cubicBezTo>
                  <a:cubicBezTo>
                    <a:pt x="170" y="304"/>
                    <a:pt x="169" y="304"/>
                    <a:pt x="168" y="303"/>
                  </a:cubicBezTo>
                  <a:lnTo>
                    <a:pt x="148" y="273"/>
                  </a:lnTo>
                  <a:cubicBezTo>
                    <a:pt x="148" y="271"/>
                    <a:pt x="148" y="270"/>
                    <a:pt x="149" y="269"/>
                  </a:cubicBezTo>
                  <a:cubicBezTo>
                    <a:pt x="150" y="268"/>
                    <a:pt x="152" y="269"/>
                    <a:pt x="153" y="270"/>
                  </a:cubicBezTo>
                  <a:close/>
                  <a:moveTo>
                    <a:pt x="186" y="322"/>
                  </a:moveTo>
                  <a:lnTo>
                    <a:pt x="205" y="352"/>
                  </a:lnTo>
                  <a:cubicBezTo>
                    <a:pt x="206" y="353"/>
                    <a:pt x="206" y="355"/>
                    <a:pt x="205" y="355"/>
                  </a:cubicBezTo>
                  <a:cubicBezTo>
                    <a:pt x="203" y="356"/>
                    <a:pt x="202" y="356"/>
                    <a:pt x="201" y="355"/>
                  </a:cubicBezTo>
                  <a:lnTo>
                    <a:pt x="182" y="324"/>
                  </a:lnTo>
                  <a:cubicBezTo>
                    <a:pt x="181" y="323"/>
                    <a:pt x="181" y="322"/>
                    <a:pt x="182" y="321"/>
                  </a:cubicBezTo>
                  <a:cubicBezTo>
                    <a:pt x="184" y="320"/>
                    <a:pt x="185" y="320"/>
                    <a:pt x="186" y="322"/>
                  </a:cubicBezTo>
                  <a:close/>
                  <a:moveTo>
                    <a:pt x="219" y="373"/>
                  </a:moveTo>
                  <a:lnTo>
                    <a:pt x="229" y="388"/>
                  </a:lnTo>
                  <a:lnTo>
                    <a:pt x="240" y="402"/>
                  </a:lnTo>
                  <a:cubicBezTo>
                    <a:pt x="240" y="404"/>
                    <a:pt x="240" y="405"/>
                    <a:pt x="239" y="406"/>
                  </a:cubicBezTo>
                  <a:cubicBezTo>
                    <a:pt x="238" y="407"/>
                    <a:pt x="236" y="407"/>
                    <a:pt x="235" y="406"/>
                  </a:cubicBezTo>
                  <a:lnTo>
                    <a:pt x="224" y="391"/>
                  </a:lnTo>
                  <a:lnTo>
                    <a:pt x="215" y="376"/>
                  </a:lnTo>
                  <a:cubicBezTo>
                    <a:pt x="214" y="375"/>
                    <a:pt x="214" y="373"/>
                    <a:pt x="216" y="373"/>
                  </a:cubicBezTo>
                  <a:cubicBezTo>
                    <a:pt x="217" y="372"/>
                    <a:pt x="218" y="372"/>
                    <a:pt x="219" y="373"/>
                  </a:cubicBezTo>
                  <a:close/>
                  <a:moveTo>
                    <a:pt x="255" y="423"/>
                  </a:moveTo>
                  <a:lnTo>
                    <a:pt x="277" y="452"/>
                  </a:lnTo>
                  <a:cubicBezTo>
                    <a:pt x="277" y="453"/>
                    <a:pt x="277" y="454"/>
                    <a:pt x="276" y="455"/>
                  </a:cubicBezTo>
                  <a:cubicBezTo>
                    <a:pt x="275" y="456"/>
                    <a:pt x="273" y="456"/>
                    <a:pt x="272" y="455"/>
                  </a:cubicBezTo>
                  <a:lnTo>
                    <a:pt x="251" y="426"/>
                  </a:lnTo>
                  <a:cubicBezTo>
                    <a:pt x="250" y="425"/>
                    <a:pt x="250" y="423"/>
                    <a:pt x="251" y="422"/>
                  </a:cubicBezTo>
                  <a:cubicBezTo>
                    <a:pt x="252" y="422"/>
                    <a:pt x="254" y="422"/>
                    <a:pt x="255" y="423"/>
                  </a:cubicBezTo>
                  <a:close/>
                  <a:moveTo>
                    <a:pt x="292" y="472"/>
                  </a:moveTo>
                  <a:lnTo>
                    <a:pt x="314" y="501"/>
                  </a:lnTo>
                  <a:cubicBezTo>
                    <a:pt x="314" y="502"/>
                    <a:pt x="314" y="503"/>
                    <a:pt x="313" y="504"/>
                  </a:cubicBezTo>
                  <a:cubicBezTo>
                    <a:pt x="312" y="505"/>
                    <a:pt x="310" y="505"/>
                    <a:pt x="310" y="504"/>
                  </a:cubicBezTo>
                  <a:lnTo>
                    <a:pt x="310" y="504"/>
                  </a:lnTo>
                  <a:lnTo>
                    <a:pt x="288" y="475"/>
                  </a:lnTo>
                  <a:cubicBezTo>
                    <a:pt x="287" y="474"/>
                    <a:pt x="287" y="472"/>
                    <a:pt x="288" y="471"/>
                  </a:cubicBezTo>
                  <a:cubicBezTo>
                    <a:pt x="290" y="471"/>
                    <a:pt x="291" y="471"/>
                    <a:pt x="292" y="472"/>
                  </a:cubicBezTo>
                  <a:close/>
                  <a:moveTo>
                    <a:pt x="329" y="521"/>
                  </a:moveTo>
                  <a:lnTo>
                    <a:pt x="351" y="550"/>
                  </a:lnTo>
                  <a:cubicBezTo>
                    <a:pt x="351" y="551"/>
                    <a:pt x="351" y="552"/>
                    <a:pt x="350" y="553"/>
                  </a:cubicBezTo>
                  <a:cubicBezTo>
                    <a:pt x="349" y="554"/>
                    <a:pt x="347" y="554"/>
                    <a:pt x="347" y="553"/>
                  </a:cubicBezTo>
                  <a:lnTo>
                    <a:pt x="325" y="524"/>
                  </a:lnTo>
                  <a:cubicBezTo>
                    <a:pt x="324" y="523"/>
                    <a:pt x="324" y="521"/>
                    <a:pt x="325" y="520"/>
                  </a:cubicBezTo>
                  <a:cubicBezTo>
                    <a:pt x="327" y="520"/>
                    <a:pt x="328" y="520"/>
                    <a:pt x="329" y="521"/>
                  </a:cubicBezTo>
                  <a:close/>
                  <a:moveTo>
                    <a:pt x="366" y="569"/>
                  </a:moveTo>
                  <a:lnTo>
                    <a:pt x="390" y="596"/>
                  </a:lnTo>
                  <a:cubicBezTo>
                    <a:pt x="391" y="597"/>
                    <a:pt x="391" y="599"/>
                    <a:pt x="390" y="600"/>
                  </a:cubicBezTo>
                  <a:cubicBezTo>
                    <a:pt x="389" y="601"/>
                    <a:pt x="388" y="600"/>
                    <a:pt x="387" y="599"/>
                  </a:cubicBezTo>
                  <a:lnTo>
                    <a:pt x="363" y="573"/>
                  </a:lnTo>
                  <a:cubicBezTo>
                    <a:pt x="362" y="572"/>
                    <a:pt x="362" y="570"/>
                    <a:pt x="363" y="569"/>
                  </a:cubicBezTo>
                  <a:cubicBezTo>
                    <a:pt x="364" y="568"/>
                    <a:pt x="365" y="568"/>
                    <a:pt x="366" y="569"/>
                  </a:cubicBezTo>
                  <a:close/>
                  <a:moveTo>
                    <a:pt x="408" y="615"/>
                  </a:moveTo>
                  <a:lnTo>
                    <a:pt x="432" y="642"/>
                  </a:lnTo>
                  <a:cubicBezTo>
                    <a:pt x="432" y="643"/>
                    <a:pt x="432" y="644"/>
                    <a:pt x="431" y="645"/>
                  </a:cubicBezTo>
                  <a:cubicBezTo>
                    <a:pt x="430" y="646"/>
                    <a:pt x="429" y="646"/>
                    <a:pt x="428" y="645"/>
                  </a:cubicBezTo>
                  <a:lnTo>
                    <a:pt x="404" y="618"/>
                  </a:lnTo>
                  <a:cubicBezTo>
                    <a:pt x="403" y="617"/>
                    <a:pt x="403" y="616"/>
                    <a:pt x="404" y="615"/>
                  </a:cubicBezTo>
                  <a:cubicBezTo>
                    <a:pt x="405" y="614"/>
                    <a:pt x="407" y="614"/>
                    <a:pt x="408" y="615"/>
                  </a:cubicBezTo>
                  <a:close/>
                  <a:moveTo>
                    <a:pt x="449" y="661"/>
                  </a:moveTo>
                  <a:lnTo>
                    <a:pt x="473" y="687"/>
                  </a:lnTo>
                  <a:cubicBezTo>
                    <a:pt x="474" y="688"/>
                    <a:pt x="474" y="690"/>
                    <a:pt x="472" y="691"/>
                  </a:cubicBezTo>
                  <a:cubicBezTo>
                    <a:pt x="471" y="692"/>
                    <a:pt x="470" y="692"/>
                    <a:pt x="469" y="691"/>
                  </a:cubicBezTo>
                  <a:lnTo>
                    <a:pt x="445" y="664"/>
                  </a:lnTo>
                  <a:cubicBezTo>
                    <a:pt x="444" y="663"/>
                    <a:pt x="444" y="661"/>
                    <a:pt x="445" y="660"/>
                  </a:cubicBezTo>
                  <a:cubicBezTo>
                    <a:pt x="446" y="660"/>
                    <a:pt x="448" y="660"/>
                    <a:pt x="449" y="661"/>
                  </a:cubicBezTo>
                  <a:close/>
                  <a:moveTo>
                    <a:pt x="490" y="706"/>
                  </a:moveTo>
                  <a:lnTo>
                    <a:pt x="507" y="726"/>
                  </a:lnTo>
                  <a:lnTo>
                    <a:pt x="514" y="732"/>
                  </a:lnTo>
                  <a:cubicBezTo>
                    <a:pt x="515" y="733"/>
                    <a:pt x="515" y="735"/>
                    <a:pt x="514" y="736"/>
                  </a:cubicBezTo>
                  <a:cubicBezTo>
                    <a:pt x="513" y="737"/>
                    <a:pt x="512" y="737"/>
                    <a:pt x="511" y="736"/>
                  </a:cubicBezTo>
                  <a:lnTo>
                    <a:pt x="504" y="729"/>
                  </a:lnTo>
                  <a:lnTo>
                    <a:pt x="486" y="710"/>
                  </a:lnTo>
                  <a:cubicBezTo>
                    <a:pt x="485" y="709"/>
                    <a:pt x="485" y="707"/>
                    <a:pt x="486" y="706"/>
                  </a:cubicBezTo>
                  <a:cubicBezTo>
                    <a:pt x="487" y="705"/>
                    <a:pt x="489" y="705"/>
                    <a:pt x="490" y="706"/>
                  </a:cubicBezTo>
                  <a:close/>
                  <a:moveTo>
                    <a:pt x="533" y="750"/>
                  </a:moveTo>
                  <a:lnTo>
                    <a:pt x="559" y="774"/>
                  </a:lnTo>
                  <a:cubicBezTo>
                    <a:pt x="560" y="775"/>
                    <a:pt x="560" y="777"/>
                    <a:pt x="559" y="778"/>
                  </a:cubicBezTo>
                  <a:cubicBezTo>
                    <a:pt x="558" y="779"/>
                    <a:pt x="556" y="779"/>
                    <a:pt x="555" y="778"/>
                  </a:cubicBezTo>
                  <a:lnTo>
                    <a:pt x="529" y="753"/>
                  </a:lnTo>
                  <a:cubicBezTo>
                    <a:pt x="528" y="753"/>
                    <a:pt x="528" y="751"/>
                    <a:pt x="529" y="750"/>
                  </a:cubicBezTo>
                  <a:cubicBezTo>
                    <a:pt x="530" y="749"/>
                    <a:pt x="532" y="749"/>
                    <a:pt x="533" y="750"/>
                  </a:cubicBezTo>
                  <a:close/>
                  <a:moveTo>
                    <a:pt x="578" y="792"/>
                  </a:moveTo>
                  <a:lnTo>
                    <a:pt x="604" y="816"/>
                  </a:lnTo>
                  <a:cubicBezTo>
                    <a:pt x="605" y="817"/>
                    <a:pt x="605" y="819"/>
                    <a:pt x="604" y="820"/>
                  </a:cubicBezTo>
                  <a:cubicBezTo>
                    <a:pt x="603" y="821"/>
                    <a:pt x="601" y="821"/>
                    <a:pt x="600" y="820"/>
                  </a:cubicBezTo>
                  <a:lnTo>
                    <a:pt x="574" y="796"/>
                  </a:lnTo>
                  <a:cubicBezTo>
                    <a:pt x="573" y="795"/>
                    <a:pt x="573" y="793"/>
                    <a:pt x="574" y="792"/>
                  </a:cubicBezTo>
                  <a:cubicBezTo>
                    <a:pt x="575" y="791"/>
                    <a:pt x="577" y="791"/>
                    <a:pt x="578" y="792"/>
                  </a:cubicBezTo>
                  <a:close/>
                  <a:moveTo>
                    <a:pt x="622" y="834"/>
                  </a:moveTo>
                  <a:lnTo>
                    <a:pt x="648" y="859"/>
                  </a:lnTo>
                  <a:cubicBezTo>
                    <a:pt x="649" y="860"/>
                    <a:pt x="649" y="861"/>
                    <a:pt x="648" y="862"/>
                  </a:cubicBezTo>
                  <a:cubicBezTo>
                    <a:pt x="647" y="863"/>
                    <a:pt x="646" y="863"/>
                    <a:pt x="645" y="862"/>
                  </a:cubicBezTo>
                  <a:lnTo>
                    <a:pt x="619" y="838"/>
                  </a:lnTo>
                  <a:cubicBezTo>
                    <a:pt x="618" y="837"/>
                    <a:pt x="618" y="835"/>
                    <a:pt x="619" y="834"/>
                  </a:cubicBezTo>
                  <a:cubicBezTo>
                    <a:pt x="620" y="833"/>
                    <a:pt x="621" y="833"/>
                    <a:pt x="622" y="834"/>
                  </a:cubicBezTo>
                  <a:close/>
                  <a:moveTo>
                    <a:pt x="667" y="876"/>
                  </a:moveTo>
                  <a:lnTo>
                    <a:pt x="695" y="898"/>
                  </a:lnTo>
                  <a:cubicBezTo>
                    <a:pt x="696" y="899"/>
                    <a:pt x="696" y="901"/>
                    <a:pt x="695" y="902"/>
                  </a:cubicBezTo>
                  <a:cubicBezTo>
                    <a:pt x="695" y="903"/>
                    <a:pt x="693" y="903"/>
                    <a:pt x="692" y="902"/>
                  </a:cubicBezTo>
                  <a:lnTo>
                    <a:pt x="664" y="880"/>
                  </a:lnTo>
                  <a:cubicBezTo>
                    <a:pt x="663" y="879"/>
                    <a:pt x="663" y="877"/>
                    <a:pt x="663" y="876"/>
                  </a:cubicBezTo>
                  <a:cubicBezTo>
                    <a:pt x="664" y="875"/>
                    <a:pt x="666" y="875"/>
                    <a:pt x="667" y="876"/>
                  </a:cubicBezTo>
                  <a:close/>
                  <a:moveTo>
                    <a:pt x="715" y="914"/>
                  </a:moveTo>
                  <a:lnTo>
                    <a:pt x="743" y="937"/>
                  </a:lnTo>
                  <a:cubicBezTo>
                    <a:pt x="744" y="937"/>
                    <a:pt x="744" y="939"/>
                    <a:pt x="743" y="940"/>
                  </a:cubicBezTo>
                  <a:cubicBezTo>
                    <a:pt x="743" y="941"/>
                    <a:pt x="741" y="941"/>
                    <a:pt x="740" y="941"/>
                  </a:cubicBezTo>
                  <a:lnTo>
                    <a:pt x="712" y="918"/>
                  </a:lnTo>
                  <a:cubicBezTo>
                    <a:pt x="711" y="917"/>
                    <a:pt x="711" y="916"/>
                    <a:pt x="711" y="915"/>
                  </a:cubicBezTo>
                  <a:cubicBezTo>
                    <a:pt x="712" y="913"/>
                    <a:pt x="714" y="913"/>
                    <a:pt x="715" y="914"/>
                  </a:cubicBezTo>
                  <a:close/>
                  <a:moveTo>
                    <a:pt x="763" y="952"/>
                  </a:moveTo>
                  <a:lnTo>
                    <a:pt x="791" y="975"/>
                  </a:lnTo>
                  <a:cubicBezTo>
                    <a:pt x="792" y="976"/>
                    <a:pt x="792" y="977"/>
                    <a:pt x="791" y="978"/>
                  </a:cubicBezTo>
                  <a:cubicBezTo>
                    <a:pt x="791" y="980"/>
                    <a:pt x="789" y="980"/>
                    <a:pt x="788" y="979"/>
                  </a:cubicBezTo>
                  <a:lnTo>
                    <a:pt x="760" y="956"/>
                  </a:lnTo>
                  <a:cubicBezTo>
                    <a:pt x="759" y="956"/>
                    <a:pt x="759" y="954"/>
                    <a:pt x="759" y="953"/>
                  </a:cubicBezTo>
                  <a:cubicBezTo>
                    <a:pt x="760" y="952"/>
                    <a:pt x="762" y="952"/>
                    <a:pt x="763" y="952"/>
                  </a:cubicBezTo>
                  <a:close/>
                  <a:moveTo>
                    <a:pt x="811" y="991"/>
                  </a:moveTo>
                  <a:lnTo>
                    <a:pt x="833" y="1008"/>
                  </a:lnTo>
                  <a:lnTo>
                    <a:pt x="839" y="1013"/>
                  </a:lnTo>
                  <a:cubicBezTo>
                    <a:pt x="840" y="1013"/>
                    <a:pt x="841" y="1015"/>
                    <a:pt x="840" y="1016"/>
                  </a:cubicBezTo>
                  <a:cubicBezTo>
                    <a:pt x="839" y="1017"/>
                    <a:pt x="838" y="1018"/>
                    <a:pt x="836" y="1017"/>
                  </a:cubicBezTo>
                  <a:lnTo>
                    <a:pt x="830" y="1012"/>
                  </a:lnTo>
                  <a:lnTo>
                    <a:pt x="808" y="995"/>
                  </a:lnTo>
                  <a:cubicBezTo>
                    <a:pt x="807" y="994"/>
                    <a:pt x="807" y="992"/>
                    <a:pt x="807" y="991"/>
                  </a:cubicBezTo>
                  <a:cubicBezTo>
                    <a:pt x="808" y="990"/>
                    <a:pt x="810" y="990"/>
                    <a:pt x="811" y="991"/>
                  </a:cubicBezTo>
                  <a:close/>
                  <a:moveTo>
                    <a:pt x="860" y="1027"/>
                  </a:moveTo>
                  <a:lnTo>
                    <a:pt x="890" y="1047"/>
                  </a:lnTo>
                  <a:cubicBezTo>
                    <a:pt x="891" y="1048"/>
                    <a:pt x="892" y="1049"/>
                    <a:pt x="891" y="1050"/>
                  </a:cubicBezTo>
                  <a:cubicBezTo>
                    <a:pt x="890" y="1052"/>
                    <a:pt x="889" y="1052"/>
                    <a:pt x="887" y="1051"/>
                  </a:cubicBezTo>
                  <a:lnTo>
                    <a:pt x="858" y="1031"/>
                  </a:lnTo>
                  <a:cubicBezTo>
                    <a:pt x="856" y="1030"/>
                    <a:pt x="856" y="1029"/>
                    <a:pt x="857" y="1028"/>
                  </a:cubicBezTo>
                  <a:cubicBezTo>
                    <a:pt x="858" y="1026"/>
                    <a:pt x="859" y="1026"/>
                    <a:pt x="860" y="1027"/>
                  </a:cubicBezTo>
                  <a:close/>
                  <a:moveTo>
                    <a:pt x="911" y="1061"/>
                  </a:moveTo>
                  <a:lnTo>
                    <a:pt x="941" y="1081"/>
                  </a:lnTo>
                  <a:cubicBezTo>
                    <a:pt x="942" y="1082"/>
                    <a:pt x="943" y="1083"/>
                    <a:pt x="942" y="1085"/>
                  </a:cubicBezTo>
                  <a:cubicBezTo>
                    <a:pt x="941" y="1086"/>
                    <a:pt x="940" y="1086"/>
                    <a:pt x="938" y="1085"/>
                  </a:cubicBezTo>
                  <a:lnTo>
                    <a:pt x="909" y="1065"/>
                  </a:lnTo>
                  <a:cubicBezTo>
                    <a:pt x="907" y="1064"/>
                    <a:pt x="907" y="1063"/>
                    <a:pt x="908" y="1062"/>
                  </a:cubicBezTo>
                  <a:cubicBezTo>
                    <a:pt x="909" y="1061"/>
                    <a:pt x="910" y="1060"/>
                    <a:pt x="911" y="1061"/>
                  </a:cubicBezTo>
                  <a:close/>
                  <a:moveTo>
                    <a:pt x="963" y="1095"/>
                  </a:moveTo>
                  <a:lnTo>
                    <a:pt x="992" y="1115"/>
                  </a:lnTo>
                  <a:cubicBezTo>
                    <a:pt x="993" y="1116"/>
                    <a:pt x="994" y="1118"/>
                    <a:pt x="993" y="1119"/>
                  </a:cubicBezTo>
                  <a:cubicBezTo>
                    <a:pt x="992" y="1120"/>
                    <a:pt x="991" y="1120"/>
                    <a:pt x="989" y="1119"/>
                  </a:cubicBezTo>
                  <a:lnTo>
                    <a:pt x="960" y="1099"/>
                  </a:lnTo>
                  <a:cubicBezTo>
                    <a:pt x="958" y="1099"/>
                    <a:pt x="958" y="1097"/>
                    <a:pt x="959" y="1096"/>
                  </a:cubicBezTo>
                  <a:cubicBezTo>
                    <a:pt x="960" y="1095"/>
                    <a:pt x="961" y="1094"/>
                    <a:pt x="963" y="1095"/>
                  </a:cubicBezTo>
                  <a:close/>
                  <a:moveTo>
                    <a:pt x="1013" y="1129"/>
                  </a:moveTo>
                  <a:lnTo>
                    <a:pt x="1045" y="1147"/>
                  </a:lnTo>
                  <a:cubicBezTo>
                    <a:pt x="1046" y="1147"/>
                    <a:pt x="1046" y="1149"/>
                    <a:pt x="1046" y="1150"/>
                  </a:cubicBezTo>
                  <a:cubicBezTo>
                    <a:pt x="1045" y="1151"/>
                    <a:pt x="1043" y="1152"/>
                    <a:pt x="1042" y="1151"/>
                  </a:cubicBezTo>
                  <a:lnTo>
                    <a:pt x="1011" y="1134"/>
                  </a:lnTo>
                  <a:cubicBezTo>
                    <a:pt x="1010" y="1133"/>
                    <a:pt x="1009" y="1131"/>
                    <a:pt x="1010" y="1130"/>
                  </a:cubicBezTo>
                  <a:cubicBezTo>
                    <a:pt x="1011" y="1129"/>
                    <a:pt x="1012" y="1129"/>
                    <a:pt x="1013" y="1129"/>
                  </a:cubicBezTo>
                  <a:close/>
                  <a:moveTo>
                    <a:pt x="1067" y="1159"/>
                  </a:moveTo>
                  <a:lnTo>
                    <a:pt x="1098" y="1177"/>
                  </a:lnTo>
                  <a:cubicBezTo>
                    <a:pt x="1099" y="1178"/>
                    <a:pt x="1100" y="1179"/>
                    <a:pt x="1099" y="1180"/>
                  </a:cubicBezTo>
                  <a:cubicBezTo>
                    <a:pt x="1099" y="1182"/>
                    <a:pt x="1097" y="1182"/>
                    <a:pt x="1096" y="1181"/>
                  </a:cubicBezTo>
                  <a:lnTo>
                    <a:pt x="1065" y="1164"/>
                  </a:lnTo>
                  <a:cubicBezTo>
                    <a:pt x="1063" y="1163"/>
                    <a:pt x="1063" y="1161"/>
                    <a:pt x="1064" y="1160"/>
                  </a:cubicBezTo>
                  <a:cubicBezTo>
                    <a:pt x="1064" y="1159"/>
                    <a:pt x="1066" y="1159"/>
                    <a:pt x="1067" y="1159"/>
                  </a:cubicBezTo>
                  <a:close/>
                  <a:moveTo>
                    <a:pt x="1121" y="1189"/>
                  </a:moveTo>
                  <a:lnTo>
                    <a:pt x="1152" y="1207"/>
                  </a:lnTo>
                  <a:cubicBezTo>
                    <a:pt x="1153" y="1208"/>
                    <a:pt x="1154" y="1209"/>
                    <a:pt x="1153" y="1210"/>
                  </a:cubicBezTo>
                  <a:cubicBezTo>
                    <a:pt x="1152" y="1212"/>
                    <a:pt x="1151" y="1212"/>
                    <a:pt x="1149" y="1211"/>
                  </a:cubicBezTo>
                  <a:lnTo>
                    <a:pt x="1118" y="1194"/>
                  </a:lnTo>
                  <a:cubicBezTo>
                    <a:pt x="1117" y="1193"/>
                    <a:pt x="1116" y="1192"/>
                    <a:pt x="1117" y="1190"/>
                  </a:cubicBezTo>
                  <a:cubicBezTo>
                    <a:pt x="1118" y="1189"/>
                    <a:pt x="1119" y="1189"/>
                    <a:pt x="1121" y="1189"/>
                  </a:cubicBezTo>
                  <a:close/>
                  <a:moveTo>
                    <a:pt x="1174" y="1219"/>
                  </a:moveTo>
                  <a:lnTo>
                    <a:pt x="1199" y="1233"/>
                  </a:lnTo>
                  <a:lnTo>
                    <a:pt x="1205" y="1236"/>
                  </a:lnTo>
                  <a:cubicBezTo>
                    <a:pt x="1207" y="1237"/>
                    <a:pt x="1207" y="1238"/>
                    <a:pt x="1207" y="1240"/>
                  </a:cubicBezTo>
                  <a:cubicBezTo>
                    <a:pt x="1206" y="1241"/>
                    <a:pt x="1205" y="1242"/>
                    <a:pt x="1203" y="1241"/>
                  </a:cubicBezTo>
                  <a:lnTo>
                    <a:pt x="1196" y="1238"/>
                  </a:lnTo>
                  <a:lnTo>
                    <a:pt x="1172" y="1224"/>
                  </a:lnTo>
                  <a:cubicBezTo>
                    <a:pt x="1170" y="1223"/>
                    <a:pt x="1170" y="1222"/>
                    <a:pt x="1171" y="1220"/>
                  </a:cubicBezTo>
                  <a:cubicBezTo>
                    <a:pt x="1171" y="1219"/>
                    <a:pt x="1173" y="1219"/>
                    <a:pt x="1174" y="1219"/>
                  </a:cubicBezTo>
                  <a:close/>
                  <a:moveTo>
                    <a:pt x="1229" y="1247"/>
                  </a:moveTo>
                  <a:lnTo>
                    <a:pt x="1261" y="1262"/>
                  </a:lnTo>
                  <a:cubicBezTo>
                    <a:pt x="1263" y="1263"/>
                    <a:pt x="1263" y="1264"/>
                    <a:pt x="1263" y="1265"/>
                  </a:cubicBezTo>
                  <a:cubicBezTo>
                    <a:pt x="1262" y="1267"/>
                    <a:pt x="1260" y="1267"/>
                    <a:pt x="1259" y="1267"/>
                  </a:cubicBezTo>
                  <a:lnTo>
                    <a:pt x="1227" y="1252"/>
                  </a:lnTo>
                  <a:cubicBezTo>
                    <a:pt x="1225" y="1251"/>
                    <a:pt x="1225" y="1250"/>
                    <a:pt x="1225" y="1248"/>
                  </a:cubicBezTo>
                  <a:cubicBezTo>
                    <a:pt x="1226" y="1247"/>
                    <a:pt x="1227" y="1246"/>
                    <a:pt x="1229" y="1247"/>
                  </a:cubicBezTo>
                  <a:close/>
                  <a:moveTo>
                    <a:pt x="1285" y="1273"/>
                  </a:moveTo>
                  <a:lnTo>
                    <a:pt x="1317" y="1288"/>
                  </a:lnTo>
                  <a:cubicBezTo>
                    <a:pt x="1318" y="1288"/>
                    <a:pt x="1319" y="1290"/>
                    <a:pt x="1318" y="1291"/>
                  </a:cubicBezTo>
                  <a:cubicBezTo>
                    <a:pt x="1318" y="1293"/>
                    <a:pt x="1316" y="1293"/>
                    <a:pt x="1315" y="1292"/>
                  </a:cubicBezTo>
                  <a:lnTo>
                    <a:pt x="1282" y="1277"/>
                  </a:lnTo>
                  <a:cubicBezTo>
                    <a:pt x="1281" y="1277"/>
                    <a:pt x="1281" y="1275"/>
                    <a:pt x="1281" y="1274"/>
                  </a:cubicBezTo>
                  <a:cubicBezTo>
                    <a:pt x="1282" y="1273"/>
                    <a:pt x="1283" y="1272"/>
                    <a:pt x="1285" y="1273"/>
                  </a:cubicBezTo>
                  <a:close/>
                  <a:moveTo>
                    <a:pt x="1340" y="1299"/>
                  </a:moveTo>
                  <a:lnTo>
                    <a:pt x="1373" y="1314"/>
                  </a:lnTo>
                  <a:cubicBezTo>
                    <a:pt x="1374" y="1314"/>
                    <a:pt x="1375" y="1316"/>
                    <a:pt x="1374" y="1317"/>
                  </a:cubicBezTo>
                  <a:cubicBezTo>
                    <a:pt x="1373" y="1318"/>
                    <a:pt x="1372" y="1319"/>
                    <a:pt x="1371" y="1318"/>
                  </a:cubicBezTo>
                  <a:lnTo>
                    <a:pt x="1338" y="1303"/>
                  </a:lnTo>
                  <a:cubicBezTo>
                    <a:pt x="1337" y="1303"/>
                    <a:pt x="1336" y="1301"/>
                    <a:pt x="1337" y="1300"/>
                  </a:cubicBezTo>
                  <a:cubicBezTo>
                    <a:pt x="1337" y="1299"/>
                    <a:pt x="1339" y="1298"/>
                    <a:pt x="1340" y="1299"/>
                  </a:cubicBezTo>
                  <a:close/>
                  <a:moveTo>
                    <a:pt x="1396" y="1324"/>
                  </a:moveTo>
                  <a:lnTo>
                    <a:pt x="1430" y="1336"/>
                  </a:lnTo>
                  <a:cubicBezTo>
                    <a:pt x="1431" y="1337"/>
                    <a:pt x="1432" y="1338"/>
                    <a:pt x="1431" y="1340"/>
                  </a:cubicBezTo>
                  <a:cubicBezTo>
                    <a:pt x="1431" y="1341"/>
                    <a:pt x="1429" y="1342"/>
                    <a:pt x="1428" y="1341"/>
                  </a:cubicBezTo>
                  <a:lnTo>
                    <a:pt x="1394" y="1329"/>
                  </a:lnTo>
                  <a:cubicBezTo>
                    <a:pt x="1393" y="1328"/>
                    <a:pt x="1392" y="1327"/>
                    <a:pt x="1393" y="1326"/>
                  </a:cubicBezTo>
                  <a:cubicBezTo>
                    <a:pt x="1393" y="1324"/>
                    <a:pt x="1395" y="1324"/>
                    <a:pt x="1396" y="1324"/>
                  </a:cubicBezTo>
                  <a:close/>
                  <a:moveTo>
                    <a:pt x="1454" y="1345"/>
                  </a:moveTo>
                  <a:lnTo>
                    <a:pt x="1487" y="1357"/>
                  </a:lnTo>
                  <a:cubicBezTo>
                    <a:pt x="1489" y="1358"/>
                    <a:pt x="1489" y="1359"/>
                    <a:pt x="1489" y="1361"/>
                  </a:cubicBezTo>
                  <a:cubicBezTo>
                    <a:pt x="1488" y="1362"/>
                    <a:pt x="1487" y="1363"/>
                    <a:pt x="1486" y="1362"/>
                  </a:cubicBezTo>
                  <a:lnTo>
                    <a:pt x="1452" y="1350"/>
                  </a:lnTo>
                  <a:cubicBezTo>
                    <a:pt x="1451" y="1349"/>
                    <a:pt x="1450" y="1348"/>
                    <a:pt x="1450" y="1347"/>
                  </a:cubicBezTo>
                  <a:cubicBezTo>
                    <a:pt x="1451" y="1345"/>
                    <a:pt x="1452" y="1345"/>
                    <a:pt x="1454" y="1345"/>
                  </a:cubicBezTo>
                  <a:close/>
                  <a:moveTo>
                    <a:pt x="1511" y="1366"/>
                  </a:moveTo>
                  <a:lnTo>
                    <a:pt x="1545" y="1378"/>
                  </a:lnTo>
                  <a:cubicBezTo>
                    <a:pt x="1546" y="1379"/>
                    <a:pt x="1547" y="1380"/>
                    <a:pt x="1547" y="1382"/>
                  </a:cubicBezTo>
                  <a:cubicBezTo>
                    <a:pt x="1546" y="1383"/>
                    <a:pt x="1545" y="1384"/>
                    <a:pt x="1543" y="1383"/>
                  </a:cubicBezTo>
                  <a:lnTo>
                    <a:pt x="1510" y="1371"/>
                  </a:lnTo>
                  <a:cubicBezTo>
                    <a:pt x="1508" y="1370"/>
                    <a:pt x="1508" y="1369"/>
                    <a:pt x="1508" y="1368"/>
                  </a:cubicBezTo>
                  <a:cubicBezTo>
                    <a:pt x="1509" y="1366"/>
                    <a:pt x="1510" y="1366"/>
                    <a:pt x="1511" y="1366"/>
                  </a:cubicBezTo>
                  <a:close/>
                  <a:moveTo>
                    <a:pt x="1569" y="1387"/>
                  </a:moveTo>
                  <a:lnTo>
                    <a:pt x="1596" y="1397"/>
                  </a:lnTo>
                  <a:lnTo>
                    <a:pt x="1603" y="1399"/>
                  </a:lnTo>
                  <a:cubicBezTo>
                    <a:pt x="1604" y="1399"/>
                    <a:pt x="1605" y="1401"/>
                    <a:pt x="1605" y="1402"/>
                  </a:cubicBezTo>
                  <a:cubicBezTo>
                    <a:pt x="1604" y="1403"/>
                    <a:pt x="1603" y="1404"/>
                    <a:pt x="1601" y="1404"/>
                  </a:cubicBezTo>
                  <a:lnTo>
                    <a:pt x="1595" y="1402"/>
                  </a:lnTo>
                  <a:lnTo>
                    <a:pt x="1567" y="1392"/>
                  </a:lnTo>
                  <a:cubicBezTo>
                    <a:pt x="1566" y="1391"/>
                    <a:pt x="1565" y="1390"/>
                    <a:pt x="1566" y="1389"/>
                  </a:cubicBezTo>
                  <a:cubicBezTo>
                    <a:pt x="1566" y="1387"/>
                    <a:pt x="1568" y="1387"/>
                    <a:pt x="1569" y="1387"/>
                  </a:cubicBezTo>
                  <a:close/>
                  <a:moveTo>
                    <a:pt x="1627" y="1406"/>
                  </a:moveTo>
                  <a:lnTo>
                    <a:pt x="1662" y="1415"/>
                  </a:lnTo>
                  <a:cubicBezTo>
                    <a:pt x="1663" y="1415"/>
                    <a:pt x="1664" y="1417"/>
                    <a:pt x="1664" y="1418"/>
                  </a:cubicBezTo>
                  <a:cubicBezTo>
                    <a:pt x="1663" y="1420"/>
                    <a:pt x="1662" y="1420"/>
                    <a:pt x="1661" y="1420"/>
                  </a:cubicBezTo>
                  <a:lnTo>
                    <a:pt x="1626" y="1411"/>
                  </a:lnTo>
                  <a:cubicBezTo>
                    <a:pt x="1625" y="1410"/>
                    <a:pt x="1624" y="1409"/>
                    <a:pt x="1624" y="1407"/>
                  </a:cubicBezTo>
                  <a:cubicBezTo>
                    <a:pt x="1625" y="1406"/>
                    <a:pt x="1626" y="1405"/>
                    <a:pt x="1627" y="1406"/>
                  </a:cubicBezTo>
                  <a:close/>
                  <a:moveTo>
                    <a:pt x="1687" y="1422"/>
                  </a:moveTo>
                  <a:lnTo>
                    <a:pt x="1721" y="1431"/>
                  </a:lnTo>
                  <a:cubicBezTo>
                    <a:pt x="1723" y="1432"/>
                    <a:pt x="1723" y="1433"/>
                    <a:pt x="1723" y="1434"/>
                  </a:cubicBezTo>
                  <a:cubicBezTo>
                    <a:pt x="1723" y="1436"/>
                    <a:pt x="1721" y="1437"/>
                    <a:pt x="1720" y="1436"/>
                  </a:cubicBezTo>
                  <a:lnTo>
                    <a:pt x="1685" y="1427"/>
                  </a:lnTo>
                  <a:cubicBezTo>
                    <a:pt x="1684" y="1426"/>
                    <a:pt x="1683" y="1425"/>
                    <a:pt x="1684" y="1424"/>
                  </a:cubicBezTo>
                  <a:cubicBezTo>
                    <a:pt x="1684" y="1422"/>
                    <a:pt x="1685" y="1421"/>
                    <a:pt x="1687" y="1422"/>
                  </a:cubicBezTo>
                  <a:close/>
                  <a:moveTo>
                    <a:pt x="1746" y="1438"/>
                  </a:moveTo>
                  <a:lnTo>
                    <a:pt x="1781" y="1448"/>
                  </a:lnTo>
                  <a:cubicBezTo>
                    <a:pt x="1782" y="1448"/>
                    <a:pt x="1783" y="1449"/>
                    <a:pt x="1782" y="1451"/>
                  </a:cubicBezTo>
                  <a:cubicBezTo>
                    <a:pt x="1782" y="1452"/>
                    <a:pt x="1781" y="1453"/>
                    <a:pt x="1779" y="1452"/>
                  </a:cubicBezTo>
                  <a:lnTo>
                    <a:pt x="1745" y="1443"/>
                  </a:lnTo>
                  <a:cubicBezTo>
                    <a:pt x="1743" y="1443"/>
                    <a:pt x="1742" y="1441"/>
                    <a:pt x="1743" y="1440"/>
                  </a:cubicBezTo>
                  <a:cubicBezTo>
                    <a:pt x="1743" y="1438"/>
                    <a:pt x="1745" y="1438"/>
                    <a:pt x="1746" y="1438"/>
                  </a:cubicBezTo>
                  <a:close/>
                  <a:moveTo>
                    <a:pt x="1805" y="1454"/>
                  </a:moveTo>
                  <a:lnTo>
                    <a:pt x="1840" y="1461"/>
                  </a:lnTo>
                  <a:cubicBezTo>
                    <a:pt x="1842" y="1461"/>
                    <a:pt x="1843" y="1462"/>
                    <a:pt x="1842" y="1464"/>
                  </a:cubicBezTo>
                  <a:cubicBezTo>
                    <a:pt x="1842" y="1465"/>
                    <a:pt x="1841" y="1466"/>
                    <a:pt x="1839" y="1466"/>
                  </a:cubicBezTo>
                  <a:lnTo>
                    <a:pt x="1804" y="1459"/>
                  </a:lnTo>
                  <a:cubicBezTo>
                    <a:pt x="1803" y="1459"/>
                    <a:pt x="1802" y="1458"/>
                    <a:pt x="1802" y="1456"/>
                  </a:cubicBezTo>
                  <a:cubicBezTo>
                    <a:pt x="1802" y="1455"/>
                    <a:pt x="1804" y="1454"/>
                    <a:pt x="1805" y="1454"/>
                  </a:cubicBezTo>
                  <a:close/>
                  <a:moveTo>
                    <a:pt x="1865" y="1465"/>
                  </a:moveTo>
                  <a:lnTo>
                    <a:pt x="1901" y="1472"/>
                  </a:lnTo>
                  <a:cubicBezTo>
                    <a:pt x="1902" y="1472"/>
                    <a:pt x="1903" y="1474"/>
                    <a:pt x="1903" y="1475"/>
                  </a:cubicBezTo>
                  <a:cubicBezTo>
                    <a:pt x="1902" y="1476"/>
                    <a:pt x="1901" y="1477"/>
                    <a:pt x="1900" y="1477"/>
                  </a:cubicBezTo>
                  <a:lnTo>
                    <a:pt x="1864" y="1471"/>
                  </a:lnTo>
                  <a:cubicBezTo>
                    <a:pt x="1863" y="1470"/>
                    <a:pt x="1862" y="1469"/>
                    <a:pt x="1862" y="1468"/>
                  </a:cubicBezTo>
                  <a:cubicBezTo>
                    <a:pt x="1863" y="1466"/>
                    <a:pt x="1864" y="1465"/>
                    <a:pt x="1865" y="1465"/>
                  </a:cubicBezTo>
                  <a:close/>
                  <a:moveTo>
                    <a:pt x="1926" y="1477"/>
                  </a:moveTo>
                  <a:lnTo>
                    <a:pt x="1961" y="1483"/>
                  </a:lnTo>
                  <a:cubicBezTo>
                    <a:pt x="1962" y="1484"/>
                    <a:pt x="1963" y="1485"/>
                    <a:pt x="1963" y="1486"/>
                  </a:cubicBezTo>
                  <a:cubicBezTo>
                    <a:pt x="1963" y="1488"/>
                    <a:pt x="1961" y="1489"/>
                    <a:pt x="1960" y="1488"/>
                  </a:cubicBezTo>
                  <a:lnTo>
                    <a:pt x="1925" y="1482"/>
                  </a:lnTo>
                  <a:cubicBezTo>
                    <a:pt x="1923" y="1482"/>
                    <a:pt x="1923" y="1480"/>
                    <a:pt x="1923" y="1479"/>
                  </a:cubicBezTo>
                  <a:cubicBezTo>
                    <a:pt x="1923" y="1477"/>
                    <a:pt x="1924" y="1477"/>
                    <a:pt x="1926" y="1477"/>
                  </a:cubicBezTo>
                  <a:close/>
                  <a:moveTo>
                    <a:pt x="1986" y="1488"/>
                  </a:moveTo>
                  <a:lnTo>
                    <a:pt x="2017" y="1494"/>
                  </a:lnTo>
                  <a:lnTo>
                    <a:pt x="2021" y="1494"/>
                  </a:lnTo>
                  <a:cubicBezTo>
                    <a:pt x="2023" y="1495"/>
                    <a:pt x="2024" y="1496"/>
                    <a:pt x="2023" y="1497"/>
                  </a:cubicBezTo>
                  <a:cubicBezTo>
                    <a:pt x="2023" y="1499"/>
                    <a:pt x="2022" y="1500"/>
                    <a:pt x="2021" y="1499"/>
                  </a:cubicBezTo>
                  <a:lnTo>
                    <a:pt x="2016" y="1499"/>
                  </a:lnTo>
                  <a:lnTo>
                    <a:pt x="1985" y="1493"/>
                  </a:lnTo>
                  <a:cubicBezTo>
                    <a:pt x="1984" y="1493"/>
                    <a:pt x="1983" y="1492"/>
                    <a:pt x="1983" y="1490"/>
                  </a:cubicBezTo>
                  <a:cubicBezTo>
                    <a:pt x="1983" y="1489"/>
                    <a:pt x="1985" y="1488"/>
                    <a:pt x="1986" y="1488"/>
                  </a:cubicBezTo>
                  <a:close/>
                  <a:moveTo>
                    <a:pt x="2047" y="1497"/>
                  </a:moveTo>
                  <a:lnTo>
                    <a:pt x="2082" y="1501"/>
                  </a:lnTo>
                  <a:cubicBezTo>
                    <a:pt x="2084" y="1501"/>
                    <a:pt x="2085" y="1502"/>
                    <a:pt x="2085" y="1503"/>
                  </a:cubicBezTo>
                  <a:cubicBezTo>
                    <a:pt x="2084" y="1505"/>
                    <a:pt x="2083" y="1506"/>
                    <a:pt x="2082" y="1506"/>
                  </a:cubicBezTo>
                  <a:lnTo>
                    <a:pt x="2046" y="1502"/>
                  </a:lnTo>
                  <a:cubicBezTo>
                    <a:pt x="2045" y="1502"/>
                    <a:pt x="2044" y="1501"/>
                    <a:pt x="2044" y="1499"/>
                  </a:cubicBezTo>
                  <a:cubicBezTo>
                    <a:pt x="2044" y="1498"/>
                    <a:pt x="2045" y="1497"/>
                    <a:pt x="2047" y="1497"/>
                  </a:cubicBezTo>
                  <a:close/>
                  <a:moveTo>
                    <a:pt x="2108" y="1503"/>
                  </a:moveTo>
                  <a:lnTo>
                    <a:pt x="2143" y="1507"/>
                  </a:lnTo>
                  <a:cubicBezTo>
                    <a:pt x="2145" y="1507"/>
                    <a:pt x="2146" y="1508"/>
                    <a:pt x="2146" y="1510"/>
                  </a:cubicBezTo>
                  <a:cubicBezTo>
                    <a:pt x="2146" y="1511"/>
                    <a:pt x="2144" y="1512"/>
                    <a:pt x="2143" y="1512"/>
                  </a:cubicBezTo>
                  <a:lnTo>
                    <a:pt x="2107" y="1508"/>
                  </a:lnTo>
                  <a:cubicBezTo>
                    <a:pt x="2106" y="1508"/>
                    <a:pt x="2105" y="1507"/>
                    <a:pt x="2105" y="1505"/>
                  </a:cubicBezTo>
                  <a:cubicBezTo>
                    <a:pt x="2105" y="1504"/>
                    <a:pt x="2106" y="1503"/>
                    <a:pt x="2108" y="1503"/>
                  </a:cubicBezTo>
                  <a:close/>
                  <a:moveTo>
                    <a:pt x="2169" y="1509"/>
                  </a:moveTo>
                  <a:lnTo>
                    <a:pt x="2205" y="1513"/>
                  </a:lnTo>
                  <a:cubicBezTo>
                    <a:pt x="2206" y="1513"/>
                    <a:pt x="2207" y="1514"/>
                    <a:pt x="2207" y="1516"/>
                  </a:cubicBezTo>
                  <a:cubicBezTo>
                    <a:pt x="2207" y="1517"/>
                    <a:pt x="2205" y="1518"/>
                    <a:pt x="2204" y="1518"/>
                  </a:cubicBezTo>
                  <a:lnTo>
                    <a:pt x="2168" y="1514"/>
                  </a:lnTo>
                  <a:cubicBezTo>
                    <a:pt x="2167" y="1514"/>
                    <a:pt x="2166" y="1513"/>
                    <a:pt x="2166" y="1512"/>
                  </a:cubicBezTo>
                  <a:cubicBezTo>
                    <a:pt x="2166" y="1510"/>
                    <a:pt x="2168" y="1509"/>
                    <a:pt x="2169" y="1509"/>
                  </a:cubicBezTo>
                  <a:close/>
                  <a:moveTo>
                    <a:pt x="2230" y="1516"/>
                  </a:moveTo>
                  <a:lnTo>
                    <a:pt x="2234" y="1516"/>
                  </a:lnTo>
                  <a:lnTo>
                    <a:pt x="2266" y="1516"/>
                  </a:lnTo>
                  <a:cubicBezTo>
                    <a:pt x="2267" y="1517"/>
                    <a:pt x="2268" y="1518"/>
                    <a:pt x="2268" y="1519"/>
                  </a:cubicBezTo>
                  <a:cubicBezTo>
                    <a:pt x="2268" y="1521"/>
                    <a:pt x="2267" y="1522"/>
                    <a:pt x="2266" y="1522"/>
                  </a:cubicBezTo>
                  <a:lnTo>
                    <a:pt x="2233" y="1521"/>
                  </a:lnTo>
                  <a:lnTo>
                    <a:pt x="2230" y="1521"/>
                  </a:lnTo>
                  <a:cubicBezTo>
                    <a:pt x="2228" y="1521"/>
                    <a:pt x="2227" y="1519"/>
                    <a:pt x="2227" y="1518"/>
                  </a:cubicBezTo>
                  <a:cubicBezTo>
                    <a:pt x="2227" y="1516"/>
                    <a:pt x="2229" y="1515"/>
                    <a:pt x="2230" y="1516"/>
                  </a:cubicBezTo>
                  <a:close/>
                  <a:moveTo>
                    <a:pt x="2291" y="1517"/>
                  </a:moveTo>
                  <a:lnTo>
                    <a:pt x="2327" y="1518"/>
                  </a:lnTo>
                  <a:cubicBezTo>
                    <a:pt x="2328" y="1518"/>
                    <a:pt x="2330" y="1519"/>
                    <a:pt x="2330" y="1520"/>
                  </a:cubicBezTo>
                  <a:cubicBezTo>
                    <a:pt x="2330" y="1522"/>
                    <a:pt x="2328" y="1523"/>
                    <a:pt x="2327" y="1523"/>
                  </a:cubicBezTo>
                  <a:lnTo>
                    <a:pt x="2291" y="1522"/>
                  </a:lnTo>
                  <a:cubicBezTo>
                    <a:pt x="2290" y="1522"/>
                    <a:pt x="2289" y="1521"/>
                    <a:pt x="2289" y="1519"/>
                  </a:cubicBezTo>
                  <a:cubicBezTo>
                    <a:pt x="2289" y="1518"/>
                    <a:pt x="2290" y="1517"/>
                    <a:pt x="2291" y="1517"/>
                  </a:cubicBezTo>
                  <a:close/>
                  <a:moveTo>
                    <a:pt x="2353" y="1518"/>
                  </a:moveTo>
                  <a:lnTo>
                    <a:pt x="2388" y="1519"/>
                  </a:lnTo>
                  <a:cubicBezTo>
                    <a:pt x="2390" y="1519"/>
                    <a:pt x="2391" y="1520"/>
                    <a:pt x="2391" y="1521"/>
                  </a:cubicBezTo>
                  <a:cubicBezTo>
                    <a:pt x="2391" y="1523"/>
                    <a:pt x="2390" y="1524"/>
                    <a:pt x="2388" y="1524"/>
                  </a:cubicBezTo>
                  <a:lnTo>
                    <a:pt x="2353" y="1523"/>
                  </a:lnTo>
                  <a:cubicBezTo>
                    <a:pt x="2351" y="1523"/>
                    <a:pt x="2350" y="1522"/>
                    <a:pt x="2350" y="1521"/>
                  </a:cubicBezTo>
                  <a:cubicBezTo>
                    <a:pt x="2350" y="1519"/>
                    <a:pt x="2351" y="1518"/>
                    <a:pt x="2353" y="1518"/>
                  </a:cubicBezTo>
                  <a:close/>
                  <a:moveTo>
                    <a:pt x="2414" y="1519"/>
                  </a:moveTo>
                  <a:lnTo>
                    <a:pt x="2450" y="1520"/>
                  </a:lnTo>
                  <a:cubicBezTo>
                    <a:pt x="2451" y="1520"/>
                    <a:pt x="2452" y="1521"/>
                    <a:pt x="2452" y="1522"/>
                  </a:cubicBezTo>
                  <a:cubicBezTo>
                    <a:pt x="2452" y="1524"/>
                    <a:pt x="2451" y="1525"/>
                    <a:pt x="2450" y="1525"/>
                  </a:cubicBezTo>
                  <a:lnTo>
                    <a:pt x="2414" y="1524"/>
                  </a:lnTo>
                  <a:cubicBezTo>
                    <a:pt x="2413" y="1524"/>
                    <a:pt x="2411" y="1523"/>
                    <a:pt x="2411" y="1522"/>
                  </a:cubicBezTo>
                  <a:cubicBezTo>
                    <a:pt x="2412" y="1520"/>
                    <a:pt x="2413" y="1519"/>
                    <a:pt x="2414" y="1519"/>
                  </a:cubicBezTo>
                  <a:close/>
                  <a:moveTo>
                    <a:pt x="2475" y="1519"/>
                  </a:moveTo>
                  <a:lnTo>
                    <a:pt x="2511" y="1516"/>
                  </a:lnTo>
                  <a:cubicBezTo>
                    <a:pt x="2512" y="1516"/>
                    <a:pt x="2514" y="1517"/>
                    <a:pt x="2514" y="1519"/>
                  </a:cubicBezTo>
                  <a:cubicBezTo>
                    <a:pt x="2514" y="1520"/>
                    <a:pt x="2513" y="1521"/>
                    <a:pt x="2511" y="1521"/>
                  </a:cubicBezTo>
                  <a:lnTo>
                    <a:pt x="2476" y="1524"/>
                  </a:lnTo>
                  <a:cubicBezTo>
                    <a:pt x="2474" y="1524"/>
                    <a:pt x="2473" y="1523"/>
                    <a:pt x="2473" y="1521"/>
                  </a:cubicBezTo>
                  <a:cubicBezTo>
                    <a:pt x="2473" y="1520"/>
                    <a:pt x="2474" y="1519"/>
                    <a:pt x="2475" y="1519"/>
                  </a:cubicBezTo>
                  <a:close/>
                  <a:moveTo>
                    <a:pt x="2537" y="1515"/>
                  </a:moveTo>
                  <a:lnTo>
                    <a:pt x="2572" y="1512"/>
                  </a:lnTo>
                  <a:cubicBezTo>
                    <a:pt x="2574" y="1512"/>
                    <a:pt x="2575" y="1513"/>
                    <a:pt x="2575" y="1515"/>
                  </a:cubicBezTo>
                  <a:cubicBezTo>
                    <a:pt x="2575" y="1516"/>
                    <a:pt x="2574" y="1517"/>
                    <a:pt x="2573" y="1517"/>
                  </a:cubicBezTo>
                  <a:lnTo>
                    <a:pt x="2537" y="1520"/>
                  </a:lnTo>
                  <a:cubicBezTo>
                    <a:pt x="2535" y="1520"/>
                    <a:pt x="2534" y="1519"/>
                    <a:pt x="2534" y="1517"/>
                  </a:cubicBezTo>
                  <a:cubicBezTo>
                    <a:pt x="2534" y="1516"/>
                    <a:pt x="2535" y="1515"/>
                    <a:pt x="2537" y="1515"/>
                  </a:cubicBezTo>
                  <a:close/>
                  <a:moveTo>
                    <a:pt x="2598" y="1511"/>
                  </a:moveTo>
                  <a:lnTo>
                    <a:pt x="2634" y="1508"/>
                  </a:lnTo>
                  <a:cubicBezTo>
                    <a:pt x="2635" y="1508"/>
                    <a:pt x="2636" y="1509"/>
                    <a:pt x="2636" y="1511"/>
                  </a:cubicBezTo>
                  <a:cubicBezTo>
                    <a:pt x="2636" y="1512"/>
                    <a:pt x="2635" y="1514"/>
                    <a:pt x="2634" y="1514"/>
                  </a:cubicBezTo>
                  <a:lnTo>
                    <a:pt x="2598" y="1516"/>
                  </a:lnTo>
                  <a:cubicBezTo>
                    <a:pt x="2597" y="1516"/>
                    <a:pt x="2596" y="1515"/>
                    <a:pt x="2595" y="1513"/>
                  </a:cubicBezTo>
                  <a:cubicBezTo>
                    <a:pt x="2595" y="1512"/>
                    <a:pt x="2596" y="1511"/>
                    <a:pt x="2598" y="1511"/>
                  </a:cubicBezTo>
                  <a:close/>
                  <a:moveTo>
                    <a:pt x="2659" y="1507"/>
                  </a:moveTo>
                  <a:lnTo>
                    <a:pt x="2674" y="1506"/>
                  </a:lnTo>
                  <a:lnTo>
                    <a:pt x="2695" y="1503"/>
                  </a:lnTo>
                  <a:cubicBezTo>
                    <a:pt x="2696" y="1503"/>
                    <a:pt x="2697" y="1504"/>
                    <a:pt x="2697" y="1505"/>
                  </a:cubicBezTo>
                  <a:cubicBezTo>
                    <a:pt x="2698" y="1506"/>
                    <a:pt x="2697" y="1508"/>
                    <a:pt x="2695" y="1508"/>
                  </a:cubicBezTo>
                  <a:lnTo>
                    <a:pt x="2675" y="1511"/>
                  </a:lnTo>
                  <a:lnTo>
                    <a:pt x="2660" y="1512"/>
                  </a:lnTo>
                  <a:cubicBezTo>
                    <a:pt x="2658" y="1512"/>
                    <a:pt x="2657" y="1511"/>
                    <a:pt x="2657" y="1510"/>
                  </a:cubicBezTo>
                  <a:cubicBezTo>
                    <a:pt x="2657" y="1508"/>
                    <a:pt x="2658" y="1507"/>
                    <a:pt x="2659" y="1507"/>
                  </a:cubicBezTo>
                  <a:close/>
                  <a:moveTo>
                    <a:pt x="2720" y="1499"/>
                  </a:moveTo>
                  <a:lnTo>
                    <a:pt x="2755" y="1494"/>
                  </a:lnTo>
                  <a:cubicBezTo>
                    <a:pt x="2757" y="1494"/>
                    <a:pt x="2758" y="1495"/>
                    <a:pt x="2758" y="1496"/>
                  </a:cubicBezTo>
                  <a:cubicBezTo>
                    <a:pt x="2758" y="1497"/>
                    <a:pt x="2757" y="1499"/>
                    <a:pt x="2756" y="1499"/>
                  </a:cubicBezTo>
                  <a:lnTo>
                    <a:pt x="2721" y="1504"/>
                  </a:lnTo>
                  <a:cubicBezTo>
                    <a:pt x="2719" y="1504"/>
                    <a:pt x="2718" y="1503"/>
                    <a:pt x="2718" y="1502"/>
                  </a:cubicBezTo>
                  <a:cubicBezTo>
                    <a:pt x="2718" y="1501"/>
                    <a:pt x="2718" y="1499"/>
                    <a:pt x="2720" y="1499"/>
                  </a:cubicBezTo>
                  <a:close/>
                  <a:moveTo>
                    <a:pt x="2781" y="1490"/>
                  </a:moveTo>
                  <a:lnTo>
                    <a:pt x="2816" y="1485"/>
                  </a:lnTo>
                  <a:cubicBezTo>
                    <a:pt x="2818" y="1485"/>
                    <a:pt x="2819" y="1486"/>
                    <a:pt x="2819" y="1487"/>
                  </a:cubicBezTo>
                  <a:cubicBezTo>
                    <a:pt x="2819" y="1488"/>
                    <a:pt x="2818" y="1490"/>
                    <a:pt x="2817" y="1490"/>
                  </a:cubicBezTo>
                  <a:lnTo>
                    <a:pt x="2781" y="1495"/>
                  </a:lnTo>
                  <a:cubicBezTo>
                    <a:pt x="2780" y="1495"/>
                    <a:pt x="2779" y="1494"/>
                    <a:pt x="2778" y="1493"/>
                  </a:cubicBezTo>
                  <a:cubicBezTo>
                    <a:pt x="2778" y="1492"/>
                    <a:pt x="2779" y="1490"/>
                    <a:pt x="2781" y="1490"/>
                  </a:cubicBezTo>
                  <a:close/>
                  <a:moveTo>
                    <a:pt x="2841" y="1481"/>
                  </a:moveTo>
                  <a:lnTo>
                    <a:pt x="2877" y="1476"/>
                  </a:lnTo>
                  <a:cubicBezTo>
                    <a:pt x="2878" y="1476"/>
                    <a:pt x="2880" y="1477"/>
                    <a:pt x="2880" y="1478"/>
                  </a:cubicBezTo>
                  <a:cubicBezTo>
                    <a:pt x="2880" y="1479"/>
                    <a:pt x="2879" y="1481"/>
                    <a:pt x="2878" y="1481"/>
                  </a:cubicBezTo>
                  <a:lnTo>
                    <a:pt x="2842" y="1486"/>
                  </a:lnTo>
                  <a:cubicBezTo>
                    <a:pt x="2841" y="1486"/>
                    <a:pt x="2839" y="1485"/>
                    <a:pt x="2839" y="1484"/>
                  </a:cubicBezTo>
                  <a:cubicBezTo>
                    <a:pt x="2839" y="1483"/>
                    <a:pt x="2840" y="1481"/>
                    <a:pt x="2841" y="1481"/>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17">
              <a:extLst>
                <a:ext uri="{FF2B5EF4-FFF2-40B4-BE49-F238E27FC236}">
                  <a16:creationId xmlns:a16="http://schemas.microsoft.com/office/drawing/2014/main" id="{383ED2DE-71A5-44EB-8B56-B661256987B3}"/>
                </a:ext>
              </a:extLst>
            </p:cNvPr>
            <p:cNvSpPr>
              <a:spLocks/>
            </p:cNvSpPr>
            <p:nvPr/>
          </p:nvSpPr>
          <p:spPr bwMode="auto">
            <a:xfrm>
              <a:off x="3839" y="3029"/>
              <a:ext cx="57" cy="52"/>
            </a:xfrm>
            <a:custGeom>
              <a:avLst/>
              <a:gdLst>
                <a:gd name="T0" fmla="*/ 0 w 57"/>
                <a:gd name="T1" fmla="*/ 0 h 52"/>
                <a:gd name="T2" fmla="*/ 57 w 57"/>
                <a:gd name="T3" fmla="*/ 15 h 52"/>
                <a:gd name="T4" fmla="*/ 11 w 57"/>
                <a:gd name="T5" fmla="*/ 52 h 52"/>
                <a:gd name="T6" fmla="*/ 0 w 57"/>
                <a:gd name="T7" fmla="*/ 0 h 52"/>
              </a:gdLst>
              <a:ahLst/>
              <a:cxnLst>
                <a:cxn ang="0">
                  <a:pos x="T0" y="T1"/>
                </a:cxn>
                <a:cxn ang="0">
                  <a:pos x="T2" y="T3"/>
                </a:cxn>
                <a:cxn ang="0">
                  <a:pos x="T4" y="T5"/>
                </a:cxn>
                <a:cxn ang="0">
                  <a:pos x="T6" y="T7"/>
                </a:cxn>
              </a:cxnLst>
              <a:rect l="0" t="0" r="r" b="b"/>
              <a:pathLst>
                <a:path w="57" h="52">
                  <a:moveTo>
                    <a:pt x="0" y="0"/>
                  </a:moveTo>
                  <a:lnTo>
                    <a:pt x="57" y="15"/>
                  </a:lnTo>
                  <a:lnTo>
                    <a:pt x="11" y="52"/>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8">
              <a:extLst>
                <a:ext uri="{FF2B5EF4-FFF2-40B4-BE49-F238E27FC236}">
                  <a16:creationId xmlns:a16="http://schemas.microsoft.com/office/drawing/2014/main" id="{6934B901-8929-4813-835E-4A81BE5460ED}"/>
                </a:ext>
              </a:extLst>
            </p:cNvPr>
            <p:cNvSpPr>
              <a:spLocks noChangeArrowheads="1"/>
            </p:cNvSpPr>
            <p:nvPr/>
          </p:nvSpPr>
          <p:spPr bwMode="auto">
            <a:xfrm>
              <a:off x="2978" y="2922"/>
              <a:ext cx="266" cy="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19">
              <a:extLst>
                <a:ext uri="{FF2B5EF4-FFF2-40B4-BE49-F238E27FC236}">
                  <a16:creationId xmlns:a16="http://schemas.microsoft.com/office/drawing/2014/main" id="{90C3F7B8-0518-47A6-99D4-DD9053680731}"/>
                </a:ext>
              </a:extLst>
            </p:cNvPr>
            <p:cNvSpPr>
              <a:spLocks noEditPoints="1"/>
            </p:cNvSpPr>
            <p:nvPr/>
          </p:nvSpPr>
          <p:spPr bwMode="auto">
            <a:xfrm>
              <a:off x="2981" y="2935"/>
              <a:ext cx="258" cy="40"/>
            </a:xfrm>
            <a:custGeom>
              <a:avLst/>
              <a:gdLst>
                <a:gd name="T0" fmla="*/ 42 w 577"/>
                <a:gd name="T1" fmla="*/ 87 h 88"/>
                <a:gd name="T2" fmla="*/ 21 w 577"/>
                <a:gd name="T3" fmla="*/ 8 h 88"/>
                <a:gd name="T4" fmla="*/ 58 w 577"/>
                <a:gd name="T5" fmla="*/ 15 h 88"/>
                <a:gd name="T6" fmla="*/ 44 w 577"/>
                <a:gd name="T7" fmla="*/ 15 h 88"/>
                <a:gd name="T8" fmla="*/ 25 w 577"/>
                <a:gd name="T9" fmla="*/ 76 h 88"/>
                <a:gd name="T10" fmla="*/ 58 w 577"/>
                <a:gd name="T11" fmla="*/ 73 h 88"/>
                <a:gd name="T12" fmla="*/ 106 w 577"/>
                <a:gd name="T13" fmla="*/ 86 h 88"/>
                <a:gd name="T14" fmla="*/ 86 w 577"/>
                <a:gd name="T15" fmla="*/ 38 h 88"/>
                <a:gd name="T16" fmla="*/ 68 w 577"/>
                <a:gd name="T17" fmla="*/ 86 h 88"/>
                <a:gd name="T18" fmla="*/ 75 w 577"/>
                <a:gd name="T19" fmla="*/ 0 h 88"/>
                <a:gd name="T20" fmla="*/ 111 w 577"/>
                <a:gd name="T21" fmla="*/ 33 h 88"/>
                <a:gd name="T22" fmla="*/ 139 w 577"/>
                <a:gd name="T23" fmla="*/ 67 h 88"/>
                <a:gd name="T24" fmla="*/ 176 w 577"/>
                <a:gd name="T25" fmla="*/ 75 h 88"/>
                <a:gd name="T26" fmla="*/ 174 w 577"/>
                <a:gd name="T27" fmla="*/ 84 h 88"/>
                <a:gd name="T28" fmla="*/ 129 w 577"/>
                <a:gd name="T29" fmla="*/ 44 h 88"/>
                <a:gd name="T30" fmla="*/ 179 w 577"/>
                <a:gd name="T31" fmla="*/ 54 h 88"/>
                <a:gd name="T32" fmla="*/ 169 w 577"/>
                <a:gd name="T33" fmla="*/ 51 h 88"/>
                <a:gd name="T34" fmla="*/ 222 w 577"/>
                <a:gd name="T35" fmla="*/ 87 h 88"/>
                <a:gd name="T36" fmla="*/ 207 w 577"/>
                <a:gd name="T37" fmla="*/ 28 h 88"/>
                <a:gd name="T38" fmla="*/ 235 w 577"/>
                <a:gd name="T39" fmla="*/ 35 h 88"/>
                <a:gd name="T40" fmla="*/ 206 w 577"/>
                <a:gd name="T41" fmla="*/ 40 h 88"/>
                <a:gd name="T42" fmla="*/ 232 w 577"/>
                <a:gd name="T43" fmla="*/ 73 h 88"/>
                <a:gd name="T44" fmla="*/ 304 w 577"/>
                <a:gd name="T45" fmla="*/ 86 h 88"/>
                <a:gd name="T46" fmla="*/ 270 w 577"/>
                <a:gd name="T47" fmla="*/ 85 h 88"/>
                <a:gd name="T48" fmla="*/ 259 w 577"/>
                <a:gd name="T49" fmla="*/ 85 h 88"/>
                <a:gd name="T50" fmla="*/ 269 w 577"/>
                <a:gd name="T51" fmla="*/ 1 h 88"/>
                <a:gd name="T52" fmla="*/ 300 w 577"/>
                <a:gd name="T53" fmla="*/ 27 h 88"/>
                <a:gd name="T54" fmla="*/ 305 w 577"/>
                <a:gd name="T55" fmla="*/ 84 h 88"/>
                <a:gd name="T56" fmla="*/ 311 w 577"/>
                <a:gd name="T57" fmla="*/ 85 h 88"/>
                <a:gd name="T58" fmla="*/ 304 w 577"/>
                <a:gd name="T59" fmla="*/ 72 h 88"/>
                <a:gd name="T60" fmla="*/ 341 w 577"/>
                <a:gd name="T61" fmla="*/ 65 h 88"/>
                <a:gd name="T62" fmla="*/ 304 w 577"/>
                <a:gd name="T63" fmla="*/ 26 h 88"/>
                <a:gd name="T64" fmla="*/ 346 w 577"/>
                <a:gd name="T65" fmla="*/ 10 h 88"/>
                <a:gd name="T66" fmla="*/ 346 w 577"/>
                <a:gd name="T67" fmla="*/ 19 h 88"/>
                <a:gd name="T68" fmla="*/ 315 w 577"/>
                <a:gd name="T69" fmla="*/ 25 h 88"/>
                <a:gd name="T70" fmla="*/ 352 w 577"/>
                <a:gd name="T71" fmla="*/ 64 h 88"/>
                <a:gd name="T72" fmla="*/ 383 w 577"/>
                <a:gd name="T73" fmla="*/ 87 h 88"/>
                <a:gd name="T74" fmla="*/ 364 w 577"/>
                <a:gd name="T75" fmla="*/ 29 h 88"/>
                <a:gd name="T76" fmla="*/ 376 w 577"/>
                <a:gd name="T77" fmla="*/ 12 h 88"/>
                <a:gd name="T78" fmla="*/ 399 w 577"/>
                <a:gd name="T79" fmla="*/ 27 h 88"/>
                <a:gd name="T80" fmla="*/ 386 w 577"/>
                <a:gd name="T81" fmla="*/ 76 h 88"/>
                <a:gd name="T82" fmla="*/ 400 w 577"/>
                <a:gd name="T83" fmla="*/ 79 h 88"/>
                <a:gd name="T84" fmla="*/ 422 w 577"/>
                <a:gd name="T85" fmla="*/ 80 h 88"/>
                <a:gd name="T86" fmla="*/ 465 w 577"/>
                <a:gd name="T87" fmla="*/ 34 h 88"/>
                <a:gd name="T88" fmla="*/ 436 w 577"/>
                <a:gd name="T89" fmla="*/ 36 h 88"/>
                <a:gd name="T90" fmla="*/ 451 w 577"/>
                <a:gd name="T91" fmla="*/ 77 h 88"/>
                <a:gd name="T92" fmla="*/ 522 w 577"/>
                <a:gd name="T93" fmla="*/ 82 h 88"/>
                <a:gd name="T94" fmla="*/ 479 w 577"/>
                <a:gd name="T95" fmla="*/ 58 h 88"/>
                <a:gd name="T96" fmla="*/ 522 w 577"/>
                <a:gd name="T97" fmla="*/ 32 h 88"/>
                <a:gd name="T98" fmla="*/ 516 w 577"/>
                <a:gd name="T99" fmla="*/ 38 h 88"/>
                <a:gd name="T100" fmla="*/ 506 w 577"/>
                <a:gd name="T101" fmla="*/ 79 h 88"/>
                <a:gd name="T102" fmla="*/ 524 w 577"/>
                <a:gd name="T103" fmla="*/ 76 h 88"/>
                <a:gd name="T104" fmla="*/ 566 w 577"/>
                <a:gd name="T105" fmla="*/ 86 h 88"/>
                <a:gd name="T106" fmla="*/ 534 w 577"/>
                <a:gd name="T107" fmla="*/ 87 h 88"/>
                <a:gd name="T108" fmla="*/ 536 w 577"/>
                <a:gd name="T109" fmla="*/ 0 h 88"/>
                <a:gd name="T110" fmla="*/ 565 w 577"/>
                <a:gd name="T111" fmla="*/ 27 h 88"/>
                <a:gd name="T112" fmla="*/ 573 w 577"/>
                <a:gd name="T113" fmla="*/ 3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7" h="88">
                  <a:moveTo>
                    <a:pt x="58" y="75"/>
                  </a:moveTo>
                  <a:cubicBezTo>
                    <a:pt x="58" y="76"/>
                    <a:pt x="58" y="76"/>
                    <a:pt x="58" y="77"/>
                  </a:cubicBezTo>
                  <a:cubicBezTo>
                    <a:pt x="58" y="77"/>
                    <a:pt x="58" y="78"/>
                    <a:pt x="58" y="78"/>
                  </a:cubicBezTo>
                  <a:cubicBezTo>
                    <a:pt x="58" y="79"/>
                    <a:pt x="58" y="79"/>
                    <a:pt x="58" y="79"/>
                  </a:cubicBezTo>
                  <a:cubicBezTo>
                    <a:pt x="58" y="80"/>
                    <a:pt x="57" y="80"/>
                    <a:pt x="57" y="80"/>
                  </a:cubicBezTo>
                  <a:cubicBezTo>
                    <a:pt x="56" y="81"/>
                    <a:pt x="56" y="81"/>
                    <a:pt x="54" y="82"/>
                  </a:cubicBezTo>
                  <a:cubicBezTo>
                    <a:pt x="53" y="83"/>
                    <a:pt x="51" y="84"/>
                    <a:pt x="49" y="85"/>
                  </a:cubicBezTo>
                  <a:cubicBezTo>
                    <a:pt x="47" y="86"/>
                    <a:pt x="45" y="86"/>
                    <a:pt x="42" y="87"/>
                  </a:cubicBezTo>
                  <a:cubicBezTo>
                    <a:pt x="40" y="87"/>
                    <a:pt x="37" y="88"/>
                    <a:pt x="34" y="88"/>
                  </a:cubicBezTo>
                  <a:cubicBezTo>
                    <a:pt x="29" y="88"/>
                    <a:pt x="24" y="87"/>
                    <a:pt x="20" y="85"/>
                  </a:cubicBezTo>
                  <a:cubicBezTo>
                    <a:pt x="16" y="83"/>
                    <a:pt x="12" y="81"/>
                    <a:pt x="9" y="77"/>
                  </a:cubicBezTo>
                  <a:cubicBezTo>
                    <a:pt x="6" y="74"/>
                    <a:pt x="4" y="70"/>
                    <a:pt x="2" y="65"/>
                  </a:cubicBezTo>
                  <a:cubicBezTo>
                    <a:pt x="1" y="60"/>
                    <a:pt x="0" y="54"/>
                    <a:pt x="0" y="47"/>
                  </a:cubicBezTo>
                  <a:cubicBezTo>
                    <a:pt x="0" y="41"/>
                    <a:pt x="1" y="35"/>
                    <a:pt x="2" y="29"/>
                  </a:cubicBezTo>
                  <a:cubicBezTo>
                    <a:pt x="4" y="24"/>
                    <a:pt x="6" y="20"/>
                    <a:pt x="10" y="16"/>
                  </a:cubicBezTo>
                  <a:cubicBezTo>
                    <a:pt x="13" y="12"/>
                    <a:pt x="16" y="10"/>
                    <a:pt x="21" y="8"/>
                  </a:cubicBezTo>
                  <a:cubicBezTo>
                    <a:pt x="25" y="6"/>
                    <a:pt x="30" y="5"/>
                    <a:pt x="35" y="5"/>
                  </a:cubicBezTo>
                  <a:cubicBezTo>
                    <a:pt x="38" y="5"/>
                    <a:pt x="40" y="5"/>
                    <a:pt x="42" y="5"/>
                  </a:cubicBezTo>
                  <a:cubicBezTo>
                    <a:pt x="44" y="6"/>
                    <a:pt x="46" y="6"/>
                    <a:pt x="48" y="7"/>
                  </a:cubicBezTo>
                  <a:cubicBezTo>
                    <a:pt x="50" y="8"/>
                    <a:pt x="52" y="8"/>
                    <a:pt x="53" y="9"/>
                  </a:cubicBezTo>
                  <a:cubicBezTo>
                    <a:pt x="55" y="10"/>
                    <a:pt x="56" y="11"/>
                    <a:pt x="56" y="12"/>
                  </a:cubicBezTo>
                  <a:cubicBezTo>
                    <a:pt x="57" y="12"/>
                    <a:pt x="57" y="13"/>
                    <a:pt x="57" y="13"/>
                  </a:cubicBezTo>
                  <a:cubicBezTo>
                    <a:pt x="58" y="13"/>
                    <a:pt x="58" y="13"/>
                    <a:pt x="58" y="14"/>
                  </a:cubicBezTo>
                  <a:cubicBezTo>
                    <a:pt x="58" y="14"/>
                    <a:pt x="58" y="15"/>
                    <a:pt x="58" y="15"/>
                  </a:cubicBezTo>
                  <a:cubicBezTo>
                    <a:pt x="58" y="16"/>
                    <a:pt x="58" y="16"/>
                    <a:pt x="58" y="17"/>
                  </a:cubicBezTo>
                  <a:cubicBezTo>
                    <a:pt x="58" y="18"/>
                    <a:pt x="58" y="19"/>
                    <a:pt x="58" y="19"/>
                  </a:cubicBezTo>
                  <a:cubicBezTo>
                    <a:pt x="58" y="20"/>
                    <a:pt x="58" y="20"/>
                    <a:pt x="58" y="21"/>
                  </a:cubicBezTo>
                  <a:cubicBezTo>
                    <a:pt x="57" y="21"/>
                    <a:pt x="57" y="21"/>
                    <a:pt x="57" y="22"/>
                  </a:cubicBezTo>
                  <a:cubicBezTo>
                    <a:pt x="57" y="22"/>
                    <a:pt x="56" y="22"/>
                    <a:pt x="56" y="22"/>
                  </a:cubicBezTo>
                  <a:cubicBezTo>
                    <a:pt x="56" y="22"/>
                    <a:pt x="55" y="22"/>
                    <a:pt x="54" y="21"/>
                  </a:cubicBezTo>
                  <a:cubicBezTo>
                    <a:pt x="53" y="20"/>
                    <a:pt x="51" y="19"/>
                    <a:pt x="50" y="18"/>
                  </a:cubicBezTo>
                  <a:cubicBezTo>
                    <a:pt x="48" y="17"/>
                    <a:pt x="46" y="16"/>
                    <a:pt x="44" y="15"/>
                  </a:cubicBezTo>
                  <a:cubicBezTo>
                    <a:pt x="41" y="15"/>
                    <a:pt x="38" y="14"/>
                    <a:pt x="35" y="14"/>
                  </a:cubicBezTo>
                  <a:cubicBezTo>
                    <a:pt x="31" y="14"/>
                    <a:pt x="28" y="15"/>
                    <a:pt x="25" y="16"/>
                  </a:cubicBezTo>
                  <a:cubicBezTo>
                    <a:pt x="22" y="18"/>
                    <a:pt x="20" y="20"/>
                    <a:pt x="18" y="23"/>
                  </a:cubicBezTo>
                  <a:cubicBezTo>
                    <a:pt x="16" y="25"/>
                    <a:pt x="14" y="29"/>
                    <a:pt x="13" y="33"/>
                  </a:cubicBezTo>
                  <a:cubicBezTo>
                    <a:pt x="12" y="37"/>
                    <a:pt x="11" y="41"/>
                    <a:pt x="11" y="47"/>
                  </a:cubicBezTo>
                  <a:cubicBezTo>
                    <a:pt x="11" y="52"/>
                    <a:pt x="12" y="56"/>
                    <a:pt x="13" y="60"/>
                  </a:cubicBezTo>
                  <a:cubicBezTo>
                    <a:pt x="14" y="64"/>
                    <a:pt x="15" y="67"/>
                    <a:pt x="18" y="70"/>
                  </a:cubicBezTo>
                  <a:cubicBezTo>
                    <a:pt x="20" y="73"/>
                    <a:pt x="22" y="75"/>
                    <a:pt x="25" y="76"/>
                  </a:cubicBezTo>
                  <a:cubicBezTo>
                    <a:pt x="28" y="77"/>
                    <a:pt x="32" y="78"/>
                    <a:pt x="35" y="78"/>
                  </a:cubicBezTo>
                  <a:cubicBezTo>
                    <a:pt x="39" y="78"/>
                    <a:pt x="41" y="78"/>
                    <a:pt x="44" y="77"/>
                  </a:cubicBezTo>
                  <a:cubicBezTo>
                    <a:pt x="46" y="76"/>
                    <a:pt x="48" y="75"/>
                    <a:pt x="50" y="74"/>
                  </a:cubicBezTo>
                  <a:cubicBezTo>
                    <a:pt x="52" y="73"/>
                    <a:pt x="53" y="72"/>
                    <a:pt x="54" y="72"/>
                  </a:cubicBezTo>
                  <a:cubicBezTo>
                    <a:pt x="55" y="71"/>
                    <a:pt x="56" y="70"/>
                    <a:pt x="57" y="70"/>
                  </a:cubicBezTo>
                  <a:cubicBezTo>
                    <a:pt x="57" y="70"/>
                    <a:pt x="57" y="70"/>
                    <a:pt x="58" y="71"/>
                  </a:cubicBezTo>
                  <a:cubicBezTo>
                    <a:pt x="58" y="71"/>
                    <a:pt x="58" y="71"/>
                    <a:pt x="58" y="71"/>
                  </a:cubicBezTo>
                  <a:cubicBezTo>
                    <a:pt x="58" y="72"/>
                    <a:pt x="58" y="72"/>
                    <a:pt x="58" y="73"/>
                  </a:cubicBezTo>
                  <a:cubicBezTo>
                    <a:pt x="58" y="73"/>
                    <a:pt x="58" y="74"/>
                    <a:pt x="58" y="75"/>
                  </a:cubicBezTo>
                  <a:close/>
                  <a:moveTo>
                    <a:pt x="116" y="85"/>
                  </a:moveTo>
                  <a:cubicBezTo>
                    <a:pt x="116" y="85"/>
                    <a:pt x="116" y="86"/>
                    <a:pt x="115" y="86"/>
                  </a:cubicBezTo>
                  <a:cubicBezTo>
                    <a:pt x="115" y="86"/>
                    <a:pt x="115" y="86"/>
                    <a:pt x="115" y="86"/>
                  </a:cubicBezTo>
                  <a:cubicBezTo>
                    <a:pt x="114" y="87"/>
                    <a:pt x="114" y="87"/>
                    <a:pt x="113" y="87"/>
                  </a:cubicBezTo>
                  <a:cubicBezTo>
                    <a:pt x="112" y="87"/>
                    <a:pt x="112" y="87"/>
                    <a:pt x="111" y="87"/>
                  </a:cubicBezTo>
                  <a:cubicBezTo>
                    <a:pt x="109" y="87"/>
                    <a:pt x="109" y="87"/>
                    <a:pt x="108" y="87"/>
                  </a:cubicBezTo>
                  <a:cubicBezTo>
                    <a:pt x="107" y="87"/>
                    <a:pt x="107" y="87"/>
                    <a:pt x="106" y="86"/>
                  </a:cubicBezTo>
                  <a:cubicBezTo>
                    <a:pt x="106" y="86"/>
                    <a:pt x="106" y="86"/>
                    <a:pt x="106" y="86"/>
                  </a:cubicBezTo>
                  <a:cubicBezTo>
                    <a:pt x="105" y="86"/>
                    <a:pt x="105" y="85"/>
                    <a:pt x="105" y="85"/>
                  </a:cubicBezTo>
                  <a:lnTo>
                    <a:pt x="105" y="52"/>
                  </a:lnTo>
                  <a:cubicBezTo>
                    <a:pt x="105" y="49"/>
                    <a:pt x="105" y="46"/>
                    <a:pt x="105" y="44"/>
                  </a:cubicBezTo>
                  <a:cubicBezTo>
                    <a:pt x="104" y="42"/>
                    <a:pt x="103" y="41"/>
                    <a:pt x="102" y="39"/>
                  </a:cubicBezTo>
                  <a:cubicBezTo>
                    <a:pt x="101" y="38"/>
                    <a:pt x="100" y="37"/>
                    <a:pt x="99" y="36"/>
                  </a:cubicBezTo>
                  <a:cubicBezTo>
                    <a:pt x="97" y="35"/>
                    <a:pt x="95" y="35"/>
                    <a:pt x="93" y="35"/>
                  </a:cubicBezTo>
                  <a:cubicBezTo>
                    <a:pt x="91" y="35"/>
                    <a:pt x="88" y="36"/>
                    <a:pt x="86" y="38"/>
                  </a:cubicBezTo>
                  <a:cubicBezTo>
                    <a:pt x="83" y="40"/>
                    <a:pt x="80" y="42"/>
                    <a:pt x="78" y="46"/>
                  </a:cubicBezTo>
                  <a:lnTo>
                    <a:pt x="78" y="85"/>
                  </a:lnTo>
                  <a:cubicBezTo>
                    <a:pt x="78" y="85"/>
                    <a:pt x="77" y="86"/>
                    <a:pt x="77" y="86"/>
                  </a:cubicBezTo>
                  <a:cubicBezTo>
                    <a:pt x="77" y="86"/>
                    <a:pt x="77" y="86"/>
                    <a:pt x="76" y="86"/>
                  </a:cubicBezTo>
                  <a:cubicBezTo>
                    <a:pt x="76" y="87"/>
                    <a:pt x="76" y="87"/>
                    <a:pt x="75" y="87"/>
                  </a:cubicBezTo>
                  <a:cubicBezTo>
                    <a:pt x="74" y="87"/>
                    <a:pt x="73" y="87"/>
                    <a:pt x="72" y="87"/>
                  </a:cubicBezTo>
                  <a:cubicBezTo>
                    <a:pt x="71" y="87"/>
                    <a:pt x="71" y="87"/>
                    <a:pt x="70" y="87"/>
                  </a:cubicBezTo>
                  <a:cubicBezTo>
                    <a:pt x="69" y="87"/>
                    <a:pt x="69" y="87"/>
                    <a:pt x="68" y="86"/>
                  </a:cubicBezTo>
                  <a:cubicBezTo>
                    <a:pt x="68" y="86"/>
                    <a:pt x="68" y="86"/>
                    <a:pt x="67" y="86"/>
                  </a:cubicBezTo>
                  <a:cubicBezTo>
                    <a:pt x="67" y="86"/>
                    <a:pt x="67" y="85"/>
                    <a:pt x="67" y="85"/>
                  </a:cubicBezTo>
                  <a:lnTo>
                    <a:pt x="67" y="2"/>
                  </a:lnTo>
                  <a:cubicBezTo>
                    <a:pt x="67" y="1"/>
                    <a:pt x="67" y="1"/>
                    <a:pt x="67" y="1"/>
                  </a:cubicBezTo>
                  <a:cubicBezTo>
                    <a:pt x="68" y="0"/>
                    <a:pt x="68" y="0"/>
                    <a:pt x="68" y="0"/>
                  </a:cubicBezTo>
                  <a:cubicBezTo>
                    <a:pt x="69" y="0"/>
                    <a:pt x="69" y="0"/>
                    <a:pt x="70" y="0"/>
                  </a:cubicBezTo>
                  <a:cubicBezTo>
                    <a:pt x="71" y="0"/>
                    <a:pt x="71" y="0"/>
                    <a:pt x="72" y="0"/>
                  </a:cubicBezTo>
                  <a:cubicBezTo>
                    <a:pt x="73" y="0"/>
                    <a:pt x="74" y="0"/>
                    <a:pt x="75" y="0"/>
                  </a:cubicBezTo>
                  <a:cubicBezTo>
                    <a:pt x="76" y="0"/>
                    <a:pt x="76" y="0"/>
                    <a:pt x="76" y="0"/>
                  </a:cubicBezTo>
                  <a:cubicBezTo>
                    <a:pt x="77" y="0"/>
                    <a:pt x="77" y="0"/>
                    <a:pt x="77" y="1"/>
                  </a:cubicBezTo>
                  <a:cubicBezTo>
                    <a:pt x="77" y="1"/>
                    <a:pt x="78" y="1"/>
                    <a:pt x="78" y="2"/>
                  </a:cubicBezTo>
                  <a:lnTo>
                    <a:pt x="78" y="35"/>
                  </a:lnTo>
                  <a:cubicBezTo>
                    <a:pt x="80" y="32"/>
                    <a:pt x="83" y="30"/>
                    <a:pt x="86" y="28"/>
                  </a:cubicBezTo>
                  <a:cubicBezTo>
                    <a:pt x="89" y="27"/>
                    <a:pt x="92" y="26"/>
                    <a:pt x="96" y="26"/>
                  </a:cubicBezTo>
                  <a:cubicBezTo>
                    <a:pt x="99" y="26"/>
                    <a:pt x="102" y="27"/>
                    <a:pt x="105" y="28"/>
                  </a:cubicBezTo>
                  <a:cubicBezTo>
                    <a:pt x="108" y="29"/>
                    <a:pt x="110" y="31"/>
                    <a:pt x="111" y="33"/>
                  </a:cubicBezTo>
                  <a:cubicBezTo>
                    <a:pt x="113" y="35"/>
                    <a:pt x="114" y="38"/>
                    <a:pt x="115" y="40"/>
                  </a:cubicBezTo>
                  <a:cubicBezTo>
                    <a:pt x="115" y="43"/>
                    <a:pt x="116" y="47"/>
                    <a:pt x="116" y="51"/>
                  </a:cubicBezTo>
                  <a:lnTo>
                    <a:pt x="116" y="85"/>
                  </a:lnTo>
                  <a:close/>
                  <a:moveTo>
                    <a:pt x="179" y="54"/>
                  </a:moveTo>
                  <a:cubicBezTo>
                    <a:pt x="179" y="56"/>
                    <a:pt x="179" y="57"/>
                    <a:pt x="178" y="58"/>
                  </a:cubicBezTo>
                  <a:cubicBezTo>
                    <a:pt x="177" y="59"/>
                    <a:pt x="176" y="59"/>
                    <a:pt x="175" y="59"/>
                  </a:cubicBezTo>
                  <a:lnTo>
                    <a:pt x="138" y="59"/>
                  </a:lnTo>
                  <a:cubicBezTo>
                    <a:pt x="138" y="62"/>
                    <a:pt x="138" y="65"/>
                    <a:pt x="139" y="67"/>
                  </a:cubicBezTo>
                  <a:cubicBezTo>
                    <a:pt x="140" y="70"/>
                    <a:pt x="141" y="72"/>
                    <a:pt x="142" y="74"/>
                  </a:cubicBezTo>
                  <a:cubicBezTo>
                    <a:pt x="144" y="76"/>
                    <a:pt x="146" y="77"/>
                    <a:pt x="148" y="78"/>
                  </a:cubicBezTo>
                  <a:cubicBezTo>
                    <a:pt x="150" y="79"/>
                    <a:pt x="153" y="79"/>
                    <a:pt x="157" y="79"/>
                  </a:cubicBezTo>
                  <a:cubicBezTo>
                    <a:pt x="159" y="79"/>
                    <a:pt x="162" y="79"/>
                    <a:pt x="164" y="79"/>
                  </a:cubicBezTo>
                  <a:cubicBezTo>
                    <a:pt x="166" y="78"/>
                    <a:pt x="168" y="78"/>
                    <a:pt x="169" y="77"/>
                  </a:cubicBezTo>
                  <a:cubicBezTo>
                    <a:pt x="171" y="77"/>
                    <a:pt x="172" y="76"/>
                    <a:pt x="173" y="76"/>
                  </a:cubicBezTo>
                  <a:cubicBezTo>
                    <a:pt x="174" y="75"/>
                    <a:pt x="175" y="75"/>
                    <a:pt x="175" y="75"/>
                  </a:cubicBezTo>
                  <a:cubicBezTo>
                    <a:pt x="175" y="75"/>
                    <a:pt x="176" y="75"/>
                    <a:pt x="176" y="75"/>
                  </a:cubicBezTo>
                  <a:cubicBezTo>
                    <a:pt x="176" y="76"/>
                    <a:pt x="176" y="76"/>
                    <a:pt x="176" y="76"/>
                  </a:cubicBezTo>
                  <a:cubicBezTo>
                    <a:pt x="177" y="76"/>
                    <a:pt x="177" y="77"/>
                    <a:pt x="177" y="77"/>
                  </a:cubicBezTo>
                  <a:cubicBezTo>
                    <a:pt x="177" y="78"/>
                    <a:pt x="177" y="78"/>
                    <a:pt x="177" y="79"/>
                  </a:cubicBezTo>
                  <a:cubicBezTo>
                    <a:pt x="177" y="80"/>
                    <a:pt x="177" y="80"/>
                    <a:pt x="177" y="81"/>
                  </a:cubicBezTo>
                  <a:cubicBezTo>
                    <a:pt x="177" y="81"/>
                    <a:pt x="177" y="81"/>
                    <a:pt x="177" y="82"/>
                  </a:cubicBezTo>
                  <a:cubicBezTo>
                    <a:pt x="177" y="82"/>
                    <a:pt x="176" y="82"/>
                    <a:pt x="176" y="82"/>
                  </a:cubicBezTo>
                  <a:cubicBezTo>
                    <a:pt x="176" y="83"/>
                    <a:pt x="176" y="83"/>
                    <a:pt x="176" y="83"/>
                  </a:cubicBezTo>
                  <a:cubicBezTo>
                    <a:pt x="176" y="83"/>
                    <a:pt x="175" y="84"/>
                    <a:pt x="174" y="84"/>
                  </a:cubicBezTo>
                  <a:cubicBezTo>
                    <a:pt x="173" y="85"/>
                    <a:pt x="171" y="85"/>
                    <a:pt x="169" y="86"/>
                  </a:cubicBezTo>
                  <a:cubicBezTo>
                    <a:pt x="168" y="86"/>
                    <a:pt x="165" y="87"/>
                    <a:pt x="163" y="87"/>
                  </a:cubicBezTo>
                  <a:cubicBezTo>
                    <a:pt x="161" y="88"/>
                    <a:pt x="158" y="88"/>
                    <a:pt x="156" y="88"/>
                  </a:cubicBezTo>
                  <a:cubicBezTo>
                    <a:pt x="151" y="88"/>
                    <a:pt x="147" y="87"/>
                    <a:pt x="143" y="86"/>
                  </a:cubicBezTo>
                  <a:cubicBezTo>
                    <a:pt x="140" y="85"/>
                    <a:pt x="137" y="83"/>
                    <a:pt x="135" y="80"/>
                  </a:cubicBezTo>
                  <a:cubicBezTo>
                    <a:pt x="132" y="78"/>
                    <a:pt x="130" y="74"/>
                    <a:pt x="129" y="71"/>
                  </a:cubicBezTo>
                  <a:cubicBezTo>
                    <a:pt x="128" y="67"/>
                    <a:pt x="127" y="62"/>
                    <a:pt x="127" y="57"/>
                  </a:cubicBezTo>
                  <a:cubicBezTo>
                    <a:pt x="127" y="52"/>
                    <a:pt x="128" y="48"/>
                    <a:pt x="129" y="44"/>
                  </a:cubicBezTo>
                  <a:cubicBezTo>
                    <a:pt x="131" y="40"/>
                    <a:pt x="132" y="37"/>
                    <a:pt x="135" y="34"/>
                  </a:cubicBezTo>
                  <a:cubicBezTo>
                    <a:pt x="137" y="32"/>
                    <a:pt x="140" y="30"/>
                    <a:pt x="143" y="28"/>
                  </a:cubicBezTo>
                  <a:cubicBezTo>
                    <a:pt x="147" y="27"/>
                    <a:pt x="150" y="26"/>
                    <a:pt x="154" y="26"/>
                  </a:cubicBezTo>
                  <a:cubicBezTo>
                    <a:pt x="159" y="26"/>
                    <a:pt x="163" y="27"/>
                    <a:pt x="166" y="28"/>
                  </a:cubicBezTo>
                  <a:cubicBezTo>
                    <a:pt x="169" y="30"/>
                    <a:pt x="171" y="31"/>
                    <a:pt x="173" y="34"/>
                  </a:cubicBezTo>
                  <a:cubicBezTo>
                    <a:pt x="175" y="36"/>
                    <a:pt x="177" y="39"/>
                    <a:pt x="178" y="42"/>
                  </a:cubicBezTo>
                  <a:cubicBezTo>
                    <a:pt x="179" y="45"/>
                    <a:pt x="179" y="49"/>
                    <a:pt x="179" y="53"/>
                  </a:cubicBezTo>
                  <a:lnTo>
                    <a:pt x="179" y="54"/>
                  </a:lnTo>
                  <a:close/>
                  <a:moveTo>
                    <a:pt x="169" y="51"/>
                  </a:moveTo>
                  <a:cubicBezTo>
                    <a:pt x="169" y="46"/>
                    <a:pt x="168" y="42"/>
                    <a:pt x="165" y="39"/>
                  </a:cubicBezTo>
                  <a:cubicBezTo>
                    <a:pt x="163" y="36"/>
                    <a:pt x="159" y="34"/>
                    <a:pt x="154" y="34"/>
                  </a:cubicBezTo>
                  <a:cubicBezTo>
                    <a:pt x="151" y="34"/>
                    <a:pt x="149" y="35"/>
                    <a:pt x="147" y="35"/>
                  </a:cubicBezTo>
                  <a:cubicBezTo>
                    <a:pt x="145" y="36"/>
                    <a:pt x="144" y="38"/>
                    <a:pt x="142" y="39"/>
                  </a:cubicBezTo>
                  <a:cubicBezTo>
                    <a:pt x="141" y="41"/>
                    <a:pt x="140" y="43"/>
                    <a:pt x="139" y="45"/>
                  </a:cubicBezTo>
                  <a:cubicBezTo>
                    <a:pt x="139" y="47"/>
                    <a:pt x="138" y="49"/>
                    <a:pt x="138" y="51"/>
                  </a:cubicBezTo>
                  <a:lnTo>
                    <a:pt x="169" y="51"/>
                  </a:lnTo>
                  <a:close/>
                  <a:moveTo>
                    <a:pt x="236" y="76"/>
                  </a:moveTo>
                  <a:cubicBezTo>
                    <a:pt x="236" y="77"/>
                    <a:pt x="236" y="78"/>
                    <a:pt x="236" y="78"/>
                  </a:cubicBezTo>
                  <a:cubicBezTo>
                    <a:pt x="236" y="79"/>
                    <a:pt x="235" y="79"/>
                    <a:pt x="235" y="80"/>
                  </a:cubicBezTo>
                  <a:cubicBezTo>
                    <a:pt x="235" y="80"/>
                    <a:pt x="235" y="80"/>
                    <a:pt x="235" y="81"/>
                  </a:cubicBezTo>
                  <a:cubicBezTo>
                    <a:pt x="235" y="81"/>
                    <a:pt x="235" y="81"/>
                    <a:pt x="234" y="82"/>
                  </a:cubicBezTo>
                  <a:cubicBezTo>
                    <a:pt x="233" y="82"/>
                    <a:pt x="233" y="83"/>
                    <a:pt x="231" y="84"/>
                  </a:cubicBezTo>
                  <a:cubicBezTo>
                    <a:pt x="230" y="84"/>
                    <a:pt x="229" y="85"/>
                    <a:pt x="227" y="86"/>
                  </a:cubicBezTo>
                  <a:cubicBezTo>
                    <a:pt x="226" y="86"/>
                    <a:pt x="224" y="87"/>
                    <a:pt x="222" y="87"/>
                  </a:cubicBezTo>
                  <a:cubicBezTo>
                    <a:pt x="220" y="88"/>
                    <a:pt x="218" y="88"/>
                    <a:pt x="216" y="88"/>
                  </a:cubicBezTo>
                  <a:cubicBezTo>
                    <a:pt x="212" y="88"/>
                    <a:pt x="209" y="87"/>
                    <a:pt x="206" y="86"/>
                  </a:cubicBezTo>
                  <a:cubicBezTo>
                    <a:pt x="202" y="84"/>
                    <a:pt x="200" y="83"/>
                    <a:pt x="198" y="80"/>
                  </a:cubicBezTo>
                  <a:cubicBezTo>
                    <a:pt x="196" y="77"/>
                    <a:pt x="194" y="74"/>
                    <a:pt x="193" y="71"/>
                  </a:cubicBezTo>
                  <a:cubicBezTo>
                    <a:pt x="192" y="67"/>
                    <a:pt x="191" y="62"/>
                    <a:pt x="191" y="58"/>
                  </a:cubicBezTo>
                  <a:cubicBezTo>
                    <a:pt x="191" y="52"/>
                    <a:pt x="192" y="47"/>
                    <a:pt x="193" y="43"/>
                  </a:cubicBezTo>
                  <a:cubicBezTo>
                    <a:pt x="195" y="39"/>
                    <a:pt x="197" y="36"/>
                    <a:pt x="199" y="34"/>
                  </a:cubicBezTo>
                  <a:cubicBezTo>
                    <a:pt x="201" y="31"/>
                    <a:pt x="204" y="29"/>
                    <a:pt x="207" y="28"/>
                  </a:cubicBezTo>
                  <a:cubicBezTo>
                    <a:pt x="210" y="27"/>
                    <a:pt x="214" y="26"/>
                    <a:pt x="218" y="26"/>
                  </a:cubicBezTo>
                  <a:cubicBezTo>
                    <a:pt x="219" y="26"/>
                    <a:pt x="221" y="26"/>
                    <a:pt x="223" y="27"/>
                  </a:cubicBezTo>
                  <a:cubicBezTo>
                    <a:pt x="224" y="27"/>
                    <a:pt x="226" y="27"/>
                    <a:pt x="227" y="28"/>
                  </a:cubicBezTo>
                  <a:cubicBezTo>
                    <a:pt x="229" y="28"/>
                    <a:pt x="230" y="29"/>
                    <a:pt x="231" y="30"/>
                  </a:cubicBezTo>
                  <a:cubicBezTo>
                    <a:pt x="232" y="30"/>
                    <a:pt x="233" y="31"/>
                    <a:pt x="234" y="32"/>
                  </a:cubicBezTo>
                  <a:cubicBezTo>
                    <a:pt x="234" y="32"/>
                    <a:pt x="234" y="32"/>
                    <a:pt x="235" y="33"/>
                  </a:cubicBezTo>
                  <a:cubicBezTo>
                    <a:pt x="235" y="33"/>
                    <a:pt x="235" y="33"/>
                    <a:pt x="235" y="34"/>
                  </a:cubicBezTo>
                  <a:cubicBezTo>
                    <a:pt x="235" y="34"/>
                    <a:pt x="235" y="35"/>
                    <a:pt x="235" y="35"/>
                  </a:cubicBezTo>
                  <a:cubicBezTo>
                    <a:pt x="235" y="36"/>
                    <a:pt x="235" y="36"/>
                    <a:pt x="235" y="37"/>
                  </a:cubicBezTo>
                  <a:cubicBezTo>
                    <a:pt x="235" y="39"/>
                    <a:pt x="235" y="40"/>
                    <a:pt x="235" y="40"/>
                  </a:cubicBezTo>
                  <a:cubicBezTo>
                    <a:pt x="234" y="41"/>
                    <a:pt x="234" y="41"/>
                    <a:pt x="233" y="41"/>
                  </a:cubicBezTo>
                  <a:cubicBezTo>
                    <a:pt x="233" y="41"/>
                    <a:pt x="232" y="41"/>
                    <a:pt x="231" y="40"/>
                  </a:cubicBezTo>
                  <a:cubicBezTo>
                    <a:pt x="231" y="40"/>
                    <a:pt x="229" y="39"/>
                    <a:pt x="228" y="38"/>
                  </a:cubicBezTo>
                  <a:cubicBezTo>
                    <a:pt x="227" y="37"/>
                    <a:pt x="225" y="36"/>
                    <a:pt x="224" y="36"/>
                  </a:cubicBezTo>
                  <a:cubicBezTo>
                    <a:pt x="222" y="35"/>
                    <a:pt x="220" y="35"/>
                    <a:pt x="217" y="35"/>
                  </a:cubicBezTo>
                  <a:cubicBezTo>
                    <a:pt x="212" y="35"/>
                    <a:pt x="209" y="37"/>
                    <a:pt x="206" y="40"/>
                  </a:cubicBezTo>
                  <a:cubicBezTo>
                    <a:pt x="203" y="44"/>
                    <a:pt x="202" y="50"/>
                    <a:pt x="202" y="57"/>
                  </a:cubicBezTo>
                  <a:cubicBezTo>
                    <a:pt x="202" y="61"/>
                    <a:pt x="202" y="64"/>
                    <a:pt x="203" y="67"/>
                  </a:cubicBezTo>
                  <a:cubicBezTo>
                    <a:pt x="204" y="69"/>
                    <a:pt x="205" y="72"/>
                    <a:pt x="206" y="73"/>
                  </a:cubicBezTo>
                  <a:cubicBezTo>
                    <a:pt x="207" y="75"/>
                    <a:pt x="209" y="77"/>
                    <a:pt x="211" y="78"/>
                  </a:cubicBezTo>
                  <a:cubicBezTo>
                    <a:pt x="213" y="78"/>
                    <a:pt x="215" y="79"/>
                    <a:pt x="218" y="79"/>
                  </a:cubicBezTo>
                  <a:cubicBezTo>
                    <a:pt x="220" y="79"/>
                    <a:pt x="222" y="78"/>
                    <a:pt x="224" y="78"/>
                  </a:cubicBezTo>
                  <a:cubicBezTo>
                    <a:pt x="226" y="77"/>
                    <a:pt x="227" y="76"/>
                    <a:pt x="229" y="75"/>
                  </a:cubicBezTo>
                  <a:cubicBezTo>
                    <a:pt x="230" y="74"/>
                    <a:pt x="231" y="74"/>
                    <a:pt x="232" y="73"/>
                  </a:cubicBezTo>
                  <a:cubicBezTo>
                    <a:pt x="233" y="72"/>
                    <a:pt x="233" y="72"/>
                    <a:pt x="234" y="72"/>
                  </a:cubicBezTo>
                  <a:cubicBezTo>
                    <a:pt x="234" y="72"/>
                    <a:pt x="235" y="72"/>
                    <a:pt x="235" y="72"/>
                  </a:cubicBezTo>
                  <a:cubicBezTo>
                    <a:pt x="235" y="72"/>
                    <a:pt x="235" y="72"/>
                    <a:pt x="235" y="73"/>
                  </a:cubicBezTo>
                  <a:cubicBezTo>
                    <a:pt x="235" y="73"/>
                    <a:pt x="236" y="74"/>
                    <a:pt x="236" y="74"/>
                  </a:cubicBezTo>
                  <a:cubicBezTo>
                    <a:pt x="236" y="75"/>
                    <a:pt x="236" y="76"/>
                    <a:pt x="236" y="76"/>
                  </a:cubicBezTo>
                  <a:close/>
                  <a:moveTo>
                    <a:pt x="305" y="85"/>
                  </a:moveTo>
                  <a:cubicBezTo>
                    <a:pt x="305" y="85"/>
                    <a:pt x="305" y="86"/>
                    <a:pt x="305" y="86"/>
                  </a:cubicBezTo>
                  <a:cubicBezTo>
                    <a:pt x="305" y="86"/>
                    <a:pt x="305" y="86"/>
                    <a:pt x="304" y="86"/>
                  </a:cubicBezTo>
                  <a:cubicBezTo>
                    <a:pt x="304" y="87"/>
                    <a:pt x="303" y="87"/>
                    <a:pt x="303" y="87"/>
                  </a:cubicBezTo>
                  <a:cubicBezTo>
                    <a:pt x="302" y="87"/>
                    <a:pt x="301" y="87"/>
                    <a:pt x="300" y="87"/>
                  </a:cubicBezTo>
                  <a:cubicBezTo>
                    <a:pt x="299" y="87"/>
                    <a:pt x="298" y="87"/>
                    <a:pt x="297" y="87"/>
                  </a:cubicBezTo>
                  <a:cubicBezTo>
                    <a:pt x="296" y="87"/>
                    <a:pt x="296" y="87"/>
                    <a:pt x="295" y="87"/>
                  </a:cubicBezTo>
                  <a:cubicBezTo>
                    <a:pt x="295" y="86"/>
                    <a:pt x="294" y="86"/>
                    <a:pt x="294" y="86"/>
                  </a:cubicBezTo>
                  <a:cubicBezTo>
                    <a:pt x="294" y="86"/>
                    <a:pt x="294" y="85"/>
                    <a:pt x="293" y="85"/>
                  </a:cubicBezTo>
                  <a:lnTo>
                    <a:pt x="270" y="54"/>
                  </a:lnTo>
                  <a:lnTo>
                    <a:pt x="270" y="85"/>
                  </a:lnTo>
                  <a:cubicBezTo>
                    <a:pt x="270" y="85"/>
                    <a:pt x="269" y="86"/>
                    <a:pt x="269" y="86"/>
                  </a:cubicBezTo>
                  <a:cubicBezTo>
                    <a:pt x="269" y="86"/>
                    <a:pt x="269" y="86"/>
                    <a:pt x="268" y="86"/>
                  </a:cubicBezTo>
                  <a:cubicBezTo>
                    <a:pt x="268" y="87"/>
                    <a:pt x="268" y="87"/>
                    <a:pt x="267" y="87"/>
                  </a:cubicBezTo>
                  <a:cubicBezTo>
                    <a:pt x="266" y="87"/>
                    <a:pt x="265" y="87"/>
                    <a:pt x="264" y="87"/>
                  </a:cubicBezTo>
                  <a:cubicBezTo>
                    <a:pt x="263" y="87"/>
                    <a:pt x="263" y="87"/>
                    <a:pt x="262" y="87"/>
                  </a:cubicBezTo>
                  <a:cubicBezTo>
                    <a:pt x="261" y="87"/>
                    <a:pt x="261" y="87"/>
                    <a:pt x="260" y="86"/>
                  </a:cubicBezTo>
                  <a:cubicBezTo>
                    <a:pt x="260" y="86"/>
                    <a:pt x="260" y="86"/>
                    <a:pt x="259" y="86"/>
                  </a:cubicBezTo>
                  <a:cubicBezTo>
                    <a:pt x="259" y="86"/>
                    <a:pt x="259" y="85"/>
                    <a:pt x="259" y="85"/>
                  </a:cubicBezTo>
                  <a:lnTo>
                    <a:pt x="259" y="2"/>
                  </a:lnTo>
                  <a:cubicBezTo>
                    <a:pt x="259" y="1"/>
                    <a:pt x="259" y="1"/>
                    <a:pt x="259" y="1"/>
                  </a:cubicBezTo>
                  <a:cubicBezTo>
                    <a:pt x="260" y="0"/>
                    <a:pt x="260" y="0"/>
                    <a:pt x="260" y="0"/>
                  </a:cubicBezTo>
                  <a:cubicBezTo>
                    <a:pt x="261" y="0"/>
                    <a:pt x="261" y="0"/>
                    <a:pt x="262" y="0"/>
                  </a:cubicBezTo>
                  <a:cubicBezTo>
                    <a:pt x="263" y="0"/>
                    <a:pt x="263" y="0"/>
                    <a:pt x="264" y="0"/>
                  </a:cubicBezTo>
                  <a:cubicBezTo>
                    <a:pt x="265" y="0"/>
                    <a:pt x="266" y="0"/>
                    <a:pt x="267" y="0"/>
                  </a:cubicBezTo>
                  <a:cubicBezTo>
                    <a:pt x="268" y="0"/>
                    <a:pt x="268" y="0"/>
                    <a:pt x="268" y="0"/>
                  </a:cubicBezTo>
                  <a:cubicBezTo>
                    <a:pt x="269" y="0"/>
                    <a:pt x="269" y="0"/>
                    <a:pt x="269" y="1"/>
                  </a:cubicBezTo>
                  <a:cubicBezTo>
                    <a:pt x="269" y="1"/>
                    <a:pt x="270" y="1"/>
                    <a:pt x="270" y="2"/>
                  </a:cubicBezTo>
                  <a:lnTo>
                    <a:pt x="270" y="52"/>
                  </a:lnTo>
                  <a:lnTo>
                    <a:pt x="291" y="29"/>
                  </a:lnTo>
                  <a:cubicBezTo>
                    <a:pt x="291" y="29"/>
                    <a:pt x="291" y="28"/>
                    <a:pt x="292" y="28"/>
                  </a:cubicBezTo>
                  <a:cubicBezTo>
                    <a:pt x="292" y="28"/>
                    <a:pt x="293" y="28"/>
                    <a:pt x="293" y="27"/>
                  </a:cubicBezTo>
                  <a:cubicBezTo>
                    <a:pt x="294" y="27"/>
                    <a:pt x="294" y="27"/>
                    <a:pt x="295" y="27"/>
                  </a:cubicBezTo>
                  <a:cubicBezTo>
                    <a:pt x="296" y="27"/>
                    <a:pt x="297" y="27"/>
                    <a:pt x="298" y="27"/>
                  </a:cubicBezTo>
                  <a:cubicBezTo>
                    <a:pt x="299" y="27"/>
                    <a:pt x="300" y="27"/>
                    <a:pt x="300" y="27"/>
                  </a:cubicBezTo>
                  <a:cubicBezTo>
                    <a:pt x="301" y="27"/>
                    <a:pt x="302" y="27"/>
                    <a:pt x="302" y="27"/>
                  </a:cubicBezTo>
                  <a:cubicBezTo>
                    <a:pt x="302" y="27"/>
                    <a:pt x="303" y="28"/>
                    <a:pt x="303" y="28"/>
                  </a:cubicBezTo>
                  <a:cubicBezTo>
                    <a:pt x="303" y="28"/>
                    <a:pt x="303" y="28"/>
                    <a:pt x="303" y="29"/>
                  </a:cubicBezTo>
                  <a:cubicBezTo>
                    <a:pt x="303" y="29"/>
                    <a:pt x="303" y="30"/>
                    <a:pt x="303" y="30"/>
                  </a:cubicBezTo>
                  <a:cubicBezTo>
                    <a:pt x="302" y="31"/>
                    <a:pt x="302" y="31"/>
                    <a:pt x="301" y="32"/>
                  </a:cubicBezTo>
                  <a:lnTo>
                    <a:pt x="281" y="52"/>
                  </a:lnTo>
                  <a:lnTo>
                    <a:pt x="304" y="82"/>
                  </a:lnTo>
                  <a:cubicBezTo>
                    <a:pt x="304" y="83"/>
                    <a:pt x="305" y="83"/>
                    <a:pt x="305" y="84"/>
                  </a:cubicBezTo>
                  <a:cubicBezTo>
                    <a:pt x="305" y="84"/>
                    <a:pt x="305" y="85"/>
                    <a:pt x="305" y="85"/>
                  </a:cubicBezTo>
                  <a:close/>
                  <a:moveTo>
                    <a:pt x="352" y="64"/>
                  </a:moveTo>
                  <a:cubicBezTo>
                    <a:pt x="352" y="68"/>
                    <a:pt x="351" y="71"/>
                    <a:pt x="350" y="74"/>
                  </a:cubicBezTo>
                  <a:cubicBezTo>
                    <a:pt x="348" y="77"/>
                    <a:pt x="346" y="80"/>
                    <a:pt x="344" y="82"/>
                  </a:cubicBezTo>
                  <a:cubicBezTo>
                    <a:pt x="341" y="84"/>
                    <a:pt x="339" y="85"/>
                    <a:pt x="335" y="86"/>
                  </a:cubicBezTo>
                  <a:cubicBezTo>
                    <a:pt x="332" y="87"/>
                    <a:pt x="328" y="88"/>
                    <a:pt x="324" y="88"/>
                  </a:cubicBezTo>
                  <a:cubicBezTo>
                    <a:pt x="322" y="88"/>
                    <a:pt x="319" y="88"/>
                    <a:pt x="317" y="87"/>
                  </a:cubicBezTo>
                  <a:cubicBezTo>
                    <a:pt x="315" y="87"/>
                    <a:pt x="312" y="86"/>
                    <a:pt x="311" y="85"/>
                  </a:cubicBezTo>
                  <a:cubicBezTo>
                    <a:pt x="309" y="85"/>
                    <a:pt x="307" y="84"/>
                    <a:pt x="306" y="83"/>
                  </a:cubicBezTo>
                  <a:cubicBezTo>
                    <a:pt x="305" y="83"/>
                    <a:pt x="304" y="82"/>
                    <a:pt x="304" y="82"/>
                  </a:cubicBezTo>
                  <a:cubicBezTo>
                    <a:pt x="303" y="81"/>
                    <a:pt x="303" y="80"/>
                    <a:pt x="302" y="80"/>
                  </a:cubicBezTo>
                  <a:cubicBezTo>
                    <a:pt x="302" y="79"/>
                    <a:pt x="302" y="78"/>
                    <a:pt x="302" y="77"/>
                  </a:cubicBezTo>
                  <a:cubicBezTo>
                    <a:pt x="302" y="76"/>
                    <a:pt x="302" y="75"/>
                    <a:pt x="302" y="74"/>
                  </a:cubicBezTo>
                  <a:cubicBezTo>
                    <a:pt x="302" y="74"/>
                    <a:pt x="302" y="73"/>
                    <a:pt x="303" y="73"/>
                  </a:cubicBezTo>
                  <a:cubicBezTo>
                    <a:pt x="303" y="72"/>
                    <a:pt x="303" y="72"/>
                    <a:pt x="303" y="72"/>
                  </a:cubicBezTo>
                  <a:cubicBezTo>
                    <a:pt x="303" y="72"/>
                    <a:pt x="304" y="72"/>
                    <a:pt x="304" y="72"/>
                  </a:cubicBezTo>
                  <a:cubicBezTo>
                    <a:pt x="305" y="72"/>
                    <a:pt x="306" y="72"/>
                    <a:pt x="307" y="73"/>
                  </a:cubicBezTo>
                  <a:cubicBezTo>
                    <a:pt x="308" y="74"/>
                    <a:pt x="309" y="74"/>
                    <a:pt x="311" y="75"/>
                  </a:cubicBezTo>
                  <a:cubicBezTo>
                    <a:pt x="312" y="76"/>
                    <a:pt x="314" y="77"/>
                    <a:pt x="317" y="78"/>
                  </a:cubicBezTo>
                  <a:cubicBezTo>
                    <a:pt x="319" y="78"/>
                    <a:pt x="322" y="79"/>
                    <a:pt x="325" y="79"/>
                  </a:cubicBezTo>
                  <a:cubicBezTo>
                    <a:pt x="327" y="79"/>
                    <a:pt x="329" y="78"/>
                    <a:pt x="331" y="78"/>
                  </a:cubicBezTo>
                  <a:cubicBezTo>
                    <a:pt x="333" y="77"/>
                    <a:pt x="335" y="76"/>
                    <a:pt x="336" y="75"/>
                  </a:cubicBezTo>
                  <a:cubicBezTo>
                    <a:pt x="338" y="74"/>
                    <a:pt x="339" y="72"/>
                    <a:pt x="339" y="71"/>
                  </a:cubicBezTo>
                  <a:cubicBezTo>
                    <a:pt x="340" y="69"/>
                    <a:pt x="341" y="67"/>
                    <a:pt x="341" y="65"/>
                  </a:cubicBezTo>
                  <a:cubicBezTo>
                    <a:pt x="341" y="63"/>
                    <a:pt x="340" y="61"/>
                    <a:pt x="339" y="59"/>
                  </a:cubicBezTo>
                  <a:cubicBezTo>
                    <a:pt x="338" y="58"/>
                    <a:pt x="337" y="56"/>
                    <a:pt x="335" y="55"/>
                  </a:cubicBezTo>
                  <a:cubicBezTo>
                    <a:pt x="333" y="54"/>
                    <a:pt x="331" y="53"/>
                    <a:pt x="329" y="52"/>
                  </a:cubicBezTo>
                  <a:cubicBezTo>
                    <a:pt x="327" y="51"/>
                    <a:pt x="325" y="50"/>
                    <a:pt x="322" y="48"/>
                  </a:cubicBezTo>
                  <a:cubicBezTo>
                    <a:pt x="320" y="47"/>
                    <a:pt x="318" y="46"/>
                    <a:pt x="316" y="45"/>
                  </a:cubicBezTo>
                  <a:cubicBezTo>
                    <a:pt x="313" y="44"/>
                    <a:pt x="312" y="42"/>
                    <a:pt x="310" y="40"/>
                  </a:cubicBezTo>
                  <a:cubicBezTo>
                    <a:pt x="308" y="39"/>
                    <a:pt x="307" y="37"/>
                    <a:pt x="306" y="34"/>
                  </a:cubicBezTo>
                  <a:cubicBezTo>
                    <a:pt x="305" y="32"/>
                    <a:pt x="304" y="29"/>
                    <a:pt x="304" y="26"/>
                  </a:cubicBezTo>
                  <a:cubicBezTo>
                    <a:pt x="304" y="22"/>
                    <a:pt x="305" y="19"/>
                    <a:pt x="306" y="17"/>
                  </a:cubicBezTo>
                  <a:cubicBezTo>
                    <a:pt x="307" y="14"/>
                    <a:pt x="309" y="12"/>
                    <a:pt x="311" y="10"/>
                  </a:cubicBezTo>
                  <a:cubicBezTo>
                    <a:pt x="313" y="8"/>
                    <a:pt x="316" y="7"/>
                    <a:pt x="319" y="6"/>
                  </a:cubicBezTo>
                  <a:cubicBezTo>
                    <a:pt x="322" y="5"/>
                    <a:pt x="325" y="5"/>
                    <a:pt x="329" y="5"/>
                  </a:cubicBezTo>
                  <a:cubicBezTo>
                    <a:pt x="330" y="5"/>
                    <a:pt x="332" y="5"/>
                    <a:pt x="334" y="5"/>
                  </a:cubicBezTo>
                  <a:cubicBezTo>
                    <a:pt x="336" y="5"/>
                    <a:pt x="338" y="6"/>
                    <a:pt x="339" y="6"/>
                  </a:cubicBezTo>
                  <a:cubicBezTo>
                    <a:pt x="341" y="7"/>
                    <a:pt x="342" y="7"/>
                    <a:pt x="343" y="8"/>
                  </a:cubicBezTo>
                  <a:cubicBezTo>
                    <a:pt x="345" y="9"/>
                    <a:pt x="346" y="9"/>
                    <a:pt x="346" y="10"/>
                  </a:cubicBezTo>
                  <a:cubicBezTo>
                    <a:pt x="346" y="10"/>
                    <a:pt x="347" y="10"/>
                    <a:pt x="347" y="11"/>
                  </a:cubicBezTo>
                  <a:cubicBezTo>
                    <a:pt x="347" y="11"/>
                    <a:pt x="347" y="11"/>
                    <a:pt x="347" y="11"/>
                  </a:cubicBezTo>
                  <a:cubicBezTo>
                    <a:pt x="347" y="12"/>
                    <a:pt x="347" y="12"/>
                    <a:pt x="347" y="13"/>
                  </a:cubicBezTo>
                  <a:cubicBezTo>
                    <a:pt x="347" y="13"/>
                    <a:pt x="347" y="14"/>
                    <a:pt x="347" y="15"/>
                  </a:cubicBezTo>
                  <a:cubicBezTo>
                    <a:pt x="347" y="15"/>
                    <a:pt x="347" y="16"/>
                    <a:pt x="347" y="17"/>
                  </a:cubicBezTo>
                  <a:cubicBezTo>
                    <a:pt x="347" y="17"/>
                    <a:pt x="347" y="18"/>
                    <a:pt x="347" y="18"/>
                  </a:cubicBezTo>
                  <a:cubicBezTo>
                    <a:pt x="347" y="18"/>
                    <a:pt x="347" y="19"/>
                    <a:pt x="346" y="19"/>
                  </a:cubicBezTo>
                  <a:cubicBezTo>
                    <a:pt x="346" y="19"/>
                    <a:pt x="346" y="19"/>
                    <a:pt x="346" y="19"/>
                  </a:cubicBezTo>
                  <a:cubicBezTo>
                    <a:pt x="345" y="19"/>
                    <a:pt x="344" y="19"/>
                    <a:pt x="343" y="18"/>
                  </a:cubicBezTo>
                  <a:cubicBezTo>
                    <a:pt x="342" y="18"/>
                    <a:pt x="341" y="17"/>
                    <a:pt x="340" y="16"/>
                  </a:cubicBezTo>
                  <a:cubicBezTo>
                    <a:pt x="338" y="16"/>
                    <a:pt x="337" y="15"/>
                    <a:pt x="335" y="14"/>
                  </a:cubicBezTo>
                  <a:cubicBezTo>
                    <a:pt x="333" y="14"/>
                    <a:pt x="331" y="13"/>
                    <a:pt x="328" y="13"/>
                  </a:cubicBezTo>
                  <a:cubicBezTo>
                    <a:pt x="326" y="13"/>
                    <a:pt x="324" y="14"/>
                    <a:pt x="322" y="14"/>
                  </a:cubicBezTo>
                  <a:cubicBezTo>
                    <a:pt x="321" y="15"/>
                    <a:pt x="319" y="16"/>
                    <a:pt x="318" y="17"/>
                  </a:cubicBezTo>
                  <a:cubicBezTo>
                    <a:pt x="317" y="18"/>
                    <a:pt x="316" y="19"/>
                    <a:pt x="316" y="20"/>
                  </a:cubicBezTo>
                  <a:cubicBezTo>
                    <a:pt x="315" y="22"/>
                    <a:pt x="315" y="23"/>
                    <a:pt x="315" y="25"/>
                  </a:cubicBezTo>
                  <a:cubicBezTo>
                    <a:pt x="315" y="27"/>
                    <a:pt x="316" y="29"/>
                    <a:pt x="317" y="31"/>
                  </a:cubicBezTo>
                  <a:cubicBezTo>
                    <a:pt x="318" y="32"/>
                    <a:pt x="319" y="34"/>
                    <a:pt x="321" y="35"/>
                  </a:cubicBezTo>
                  <a:cubicBezTo>
                    <a:pt x="322" y="36"/>
                    <a:pt x="324" y="37"/>
                    <a:pt x="327" y="38"/>
                  </a:cubicBezTo>
                  <a:cubicBezTo>
                    <a:pt x="329" y="39"/>
                    <a:pt x="331" y="40"/>
                    <a:pt x="333" y="41"/>
                  </a:cubicBezTo>
                  <a:cubicBezTo>
                    <a:pt x="336" y="43"/>
                    <a:pt x="338" y="44"/>
                    <a:pt x="340" y="45"/>
                  </a:cubicBezTo>
                  <a:cubicBezTo>
                    <a:pt x="342" y="46"/>
                    <a:pt x="344" y="48"/>
                    <a:pt x="346" y="49"/>
                  </a:cubicBezTo>
                  <a:cubicBezTo>
                    <a:pt x="348" y="51"/>
                    <a:pt x="349" y="53"/>
                    <a:pt x="350" y="56"/>
                  </a:cubicBezTo>
                  <a:cubicBezTo>
                    <a:pt x="351" y="58"/>
                    <a:pt x="352" y="61"/>
                    <a:pt x="352" y="64"/>
                  </a:cubicBezTo>
                  <a:close/>
                  <a:moveTo>
                    <a:pt x="400" y="81"/>
                  </a:moveTo>
                  <a:cubicBezTo>
                    <a:pt x="400" y="82"/>
                    <a:pt x="400" y="83"/>
                    <a:pt x="400" y="84"/>
                  </a:cubicBezTo>
                  <a:cubicBezTo>
                    <a:pt x="400" y="85"/>
                    <a:pt x="400" y="85"/>
                    <a:pt x="399" y="85"/>
                  </a:cubicBezTo>
                  <a:cubicBezTo>
                    <a:pt x="399" y="86"/>
                    <a:pt x="399" y="86"/>
                    <a:pt x="398" y="86"/>
                  </a:cubicBezTo>
                  <a:cubicBezTo>
                    <a:pt x="397" y="87"/>
                    <a:pt x="397" y="87"/>
                    <a:pt x="396" y="87"/>
                  </a:cubicBezTo>
                  <a:cubicBezTo>
                    <a:pt x="395" y="87"/>
                    <a:pt x="394" y="87"/>
                    <a:pt x="393" y="87"/>
                  </a:cubicBezTo>
                  <a:cubicBezTo>
                    <a:pt x="392" y="88"/>
                    <a:pt x="391" y="88"/>
                    <a:pt x="390" y="88"/>
                  </a:cubicBezTo>
                  <a:cubicBezTo>
                    <a:pt x="387" y="88"/>
                    <a:pt x="385" y="87"/>
                    <a:pt x="383" y="87"/>
                  </a:cubicBezTo>
                  <a:cubicBezTo>
                    <a:pt x="381" y="86"/>
                    <a:pt x="379" y="85"/>
                    <a:pt x="377" y="83"/>
                  </a:cubicBezTo>
                  <a:cubicBezTo>
                    <a:pt x="376" y="81"/>
                    <a:pt x="375" y="79"/>
                    <a:pt x="375" y="77"/>
                  </a:cubicBezTo>
                  <a:cubicBezTo>
                    <a:pt x="374" y="75"/>
                    <a:pt x="374" y="72"/>
                    <a:pt x="374" y="69"/>
                  </a:cubicBezTo>
                  <a:lnTo>
                    <a:pt x="374" y="36"/>
                  </a:lnTo>
                  <a:lnTo>
                    <a:pt x="366" y="36"/>
                  </a:lnTo>
                  <a:cubicBezTo>
                    <a:pt x="365" y="36"/>
                    <a:pt x="365" y="35"/>
                    <a:pt x="364" y="35"/>
                  </a:cubicBezTo>
                  <a:cubicBezTo>
                    <a:pt x="364" y="34"/>
                    <a:pt x="364" y="33"/>
                    <a:pt x="364" y="31"/>
                  </a:cubicBezTo>
                  <a:cubicBezTo>
                    <a:pt x="364" y="31"/>
                    <a:pt x="364" y="30"/>
                    <a:pt x="364" y="29"/>
                  </a:cubicBezTo>
                  <a:cubicBezTo>
                    <a:pt x="364" y="29"/>
                    <a:pt x="364" y="28"/>
                    <a:pt x="364" y="28"/>
                  </a:cubicBezTo>
                  <a:cubicBezTo>
                    <a:pt x="364" y="28"/>
                    <a:pt x="365" y="28"/>
                    <a:pt x="365" y="27"/>
                  </a:cubicBezTo>
                  <a:cubicBezTo>
                    <a:pt x="365" y="27"/>
                    <a:pt x="366" y="27"/>
                    <a:pt x="366" y="27"/>
                  </a:cubicBezTo>
                  <a:lnTo>
                    <a:pt x="374" y="27"/>
                  </a:lnTo>
                  <a:lnTo>
                    <a:pt x="374" y="14"/>
                  </a:lnTo>
                  <a:cubicBezTo>
                    <a:pt x="374" y="14"/>
                    <a:pt x="374" y="13"/>
                    <a:pt x="374" y="13"/>
                  </a:cubicBezTo>
                  <a:cubicBezTo>
                    <a:pt x="374" y="13"/>
                    <a:pt x="374" y="13"/>
                    <a:pt x="375" y="12"/>
                  </a:cubicBezTo>
                  <a:cubicBezTo>
                    <a:pt x="375" y="12"/>
                    <a:pt x="376" y="12"/>
                    <a:pt x="376" y="12"/>
                  </a:cubicBezTo>
                  <a:cubicBezTo>
                    <a:pt x="377" y="12"/>
                    <a:pt x="378" y="12"/>
                    <a:pt x="379" y="12"/>
                  </a:cubicBezTo>
                  <a:cubicBezTo>
                    <a:pt x="380" y="12"/>
                    <a:pt x="381" y="12"/>
                    <a:pt x="381" y="12"/>
                  </a:cubicBezTo>
                  <a:cubicBezTo>
                    <a:pt x="382" y="12"/>
                    <a:pt x="383" y="12"/>
                    <a:pt x="383" y="12"/>
                  </a:cubicBezTo>
                  <a:cubicBezTo>
                    <a:pt x="383" y="13"/>
                    <a:pt x="384" y="13"/>
                    <a:pt x="384" y="13"/>
                  </a:cubicBezTo>
                  <a:cubicBezTo>
                    <a:pt x="384" y="13"/>
                    <a:pt x="384" y="14"/>
                    <a:pt x="384" y="14"/>
                  </a:cubicBezTo>
                  <a:lnTo>
                    <a:pt x="384" y="27"/>
                  </a:lnTo>
                  <a:lnTo>
                    <a:pt x="398" y="27"/>
                  </a:lnTo>
                  <a:cubicBezTo>
                    <a:pt x="399" y="27"/>
                    <a:pt x="399" y="27"/>
                    <a:pt x="399" y="27"/>
                  </a:cubicBezTo>
                  <a:cubicBezTo>
                    <a:pt x="400" y="28"/>
                    <a:pt x="400" y="28"/>
                    <a:pt x="400" y="28"/>
                  </a:cubicBezTo>
                  <a:cubicBezTo>
                    <a:pt x="400" y="28"/>
                    <a:pt x="400" y="29"/>
                    <a:pt x="400" y="29"/>
                  </a:cubicBezTo>
                  <a:cubicBezTo>
                    <a:pt x="400" y="30"/>
                    <a:pt x="400" y="31"/>
                    <a:pt x="400" y="31"/>
                  </a:cubicBezTo>
                  <a:cubicBezTo>
                    <a:pt x="400" y="33"/>
                    <a:pt x="400" y="34"/>
                    <a:pt x="400" y="35"/>
                  </a:cubicBezTo>
                  <a:cubicBezTo>
                    <a:pt x="400" y="35"/>
                    <a:pt x="399" y="36"/>
                    <a:pt x="398" y="36"/>
                  </a:cubicBezTo>
                  <a:lnTo>
                    <a:pt x="384" y="36"/>
                  </a:lnTo>
                  <a:lnTo>
                    <a:pt x="384" y="67"/>
                  </a:lnTo>
                  <a:cubicBezTo>
                    <a:pt x="384" y="71"/>
                    <a:pt x="385" y="74"/>
                    <a:pt x="386" y="76"/>
                  </a:cubicBezTo>
                  <a:cubicBezTo>
                    <a:pt x="387" y="78"/>
                    <a:pt x="389" y="79"/>
                    <a:pt x="392" y="79"/>
                  </a:cubicBezTo>
                  <a:cubicBezTo>
                    <a:pt x="393" y="79"/>
                    <a:pt x="394" y="79"/>
                    <a:pt x="394" y="79"/>
                  </a:cubicBezTo>
                  <a:cubicBezTo>
                    <a:pt x="395" y="78"/>
                    <a:pt x="396" y="78"/>
                    <a:pt x="396" y="78"/>
                  </a:cubicBezTo>
                  <a:cubicBezTo>
                    <a:pt x="397" y="78"/>
                    <a:pt x="397" y="78"/>
                    <a:pt x="398" y="77"/>
                  </a:cubicBezTo>
                  <a:cubicBezTo>
                    <a:pt x="398" y="77"/>
                    <a:pt x="399" y="77"/>
                    <a:pt x="399" y="77"/>
                  </a:cubicBezTo>
                  <a:cubicBezTo>
                    <a:pt x="399" y="77"/>
                    <a:pt x="399" y="77"/>
                    <a:pt x="400" y="77"/>
                  </a:cubicBezTo>
                  <a:cubicBezTo>
                    <a:pt x="400" y="77"/>
                    <a:pt x="400" y="78"/>
                    <a:pt x="400" y="78"/>
                  </a:cubicBezTo>
                  <a:cubicBezTo>
                    <a:pt x="400" y="78"/>
                    <a:pt x="400" y="79"/>
                    <a:pt x="400" y="79"/>
                  </a:cubicBezTo>
                  <a:cubicBezTo>
                    <a:pt x="400" y="80"/>
                    <a:pt x="400" y="80"/>
                    <a:pt x="400" y="81"/>
                  </a:cubicBezTo>
                  <a:close/>
                  <a:moveTo>
                    <a:pt x="472" y="56"/>
                  </a:moveTo>
                  <a:cubicBezTo>
                    <a:pt x="472" y="61"/>
                    <a:pt x="471" y="65"/>
                    <a:pt x="470" y="69"/>
                  </a:cubicBezTo>
                  <a:cubicBezTo>
                    <a:pt x="469" y="73"/>
                    <a:pt x="467" y="76"/>
                    <a:pt x="464" y="79"/>
                  </a:cubicBezTo>
                  <a:cubicBezTo>
                    <a:pt x="462" y="82"/>
                    <a:pt x="459" y="84"/>
                    <a:pt x="455" y="85"/>
                  </a:cubicBezTo>
                  <a:cubicBezTo>
                    <a:pt x="452" y="87"/>
                    <a:pt x="448" y="88"/>
                    <a:pt x="443" y="88"/>
                  </a:cubicBezTo>
                  <a:cubicBezTo>
                    <a:pt x="438" y="88"/>
                    <a:pt x="434" y="87"/>
                    <a:pt x="431" y="86"/>
                  </a:cubicBezTo>
                  <a:cubicBezTo>
                    <a:pt x="427" y="84"/>
                    <a:pt x="424" y="82"/>
                    <a:pt x="422" y="80"/>
                  </a:cubicBezTo>
                  <a:cubicBezTo>
                    <a:pt x="420" y="77"/>
                    <a:pt x="418" y="74"/>
                    <a:pt x="417" y="70"/>
                  </a:cubicBezTo>
                  <a:cubicBezTo>
                    <a:pt x="416" y="66"/>
                    <a:pt x="415" y="62"/>
                    <a:pt x="415" y="57"/>
                  </a:cubicBezTo>
                  <a:cubicBezTo>
                    <a:pt x="415" y="53"/>
                    <a:pt x="416" y="49"/>
                    <a:pt x="417" y="45"/>
                  </a:cubicBezTo>
                  <a:cubicBezTo>
                    <a:pt x="418" y="41"/>
                    <a:pt x="420" y="38"/>
                    <a:pt x="422" y="35"/>
                  </a:cubicBezTo>
                  <a:cubicBezTo>
                    <a:pt x="425" y="32"/>
                    <a:pt x="428" y="30"/>
                    <a:pt x="431" y="28"/>
                  </a:cubicBezTo>
                  <a:cubicBezTo>
                    <a:pt x="435" y="27"/>
                    <a:pt x="439" y="26"/>
                    <a:pt x="444" y="26"/>
                  </a:cubicBezTo>
                  <a:cubicBezTo>
                    <a:pt x="449" y="26"/>
                    <a:pt x="453" y="27"/>
                    <a:pt x="456" y="28"/>
                  </a:cubicBezTo>
                  <a:cubicBezTo>
                    <a:pt x="460" y="29"/>
                    <a:pt x="462" y="31"/>
                    <a:pt x="465" y="34"/>
                  </a:cubicBezTo>
                  <a:cubicBezTo>
                    <a:pt x="467" y="37"/>
                    <a:pt x="469" y="40"/>
                    <a:pt x="470" y="44"/>
                  </a:cubicBezTo>
                  <a:cubicBezTo>
                    <a:pt x="471" y="47"/>
                    <a:pt x="472" y="52"/>
                    <a:pt x="472" y="56"/>
                  </a:cubicBezTo>
                  <a:close/>
                  <a:moveTo>
                    <a:pt x="461" y="57"/>
                  </a:moveTo>
                  <a:cubicBezTo>
                    <a:pt x="461" y="54"/>
                    <a:pt x="461" y="51"/>
                    <a:pt x="460" y="48"/>
                  </a:cubicBezTo>
                  <a:cubicBezTo>
                    <a:pt x="459" y="46"/>
                    <a:pt x="458" y="43"/>
                    <a:pt x="457" y="41"/>
                  </a:cubicBezTo>
                  <a:cubicBezTo>
                    <a:pt x="456" y="39"/>
                    <a:pt x="454" y="38"/>
                    <a:pt x="452" y="36"/>
                  </a:cubicBezTo>
                  <a:cubicBezTo>
                    <a:pt x="450" y="35"/>
                    <a:pt x="447" y="35"/>
                    <a:pt x="444" y="35"/>
                  </a:cubicBezTo>
                  <a:cubicBezTo>
                    <a:pt x="440" y="35"/>
                    <a:pt x="438" y="35"/>
                    <a:pt x="436" y="36"/>
                  </a:cubicBezTo>
                  <a:cubicBezTo>
                    <a:pt x="433" y="37"/>
                    <a:pt x="432" y="39"/>
                    <a:pt x="430" y="41"/>
                  </a:cubicBezTo>
                  <a:cubicBezTo>
                    <a:pt x="429" y="43"/>
                    <a:pt x="428" y="45"/>
                    <a:pt x="427" y="48"/>
                  </a:cubicBezTo>
                  <a:cubicBezTo>
                    <a:pt x="426" y="51"/>
                    <a:pt x="426" y="54"/>
                    <a:pt x="426" y="57"/>
                  </a:cubicBezTo>
                  <a:cubicBezTo>
                    <a:pt x="426" y="60"/>
                    <a:pt x="426" y="63"/>
                    <a:pt x="427" y="65"/>
                  </a:cubicBezTo>
                  <a:cubicBezTo>
                    <a:pt x="427" y="68"/>
                    <a:pt x="428" y="70"/>
                    <a:pt x="430" y="73"/>
                  </a:cubicBezTo>
                  <a:cubicBezTo>
                    <a:pt x="431" y="75"/>
                    <a:pt x="433" y="76"/>
                    <a:pt x="435" y="77"/>
                  </a:cubicBezTo>
                  <a:cubicBezTo>
                    <a:pt x="437" y="79"/>
                    <a:pt x="440" y="79"/>
                    <a:pt x="443" y="79"/>
                  </a:cubicBezTo>
                  <a:cubicBezTo>
                    <a:pt x="446" y="79"/>
                    <a:pt x="449" y="79"/>
                    <a:pt x="451" y="77"/>
                  </a:cubicBezTo>
                  <a:cubicBezTo>
                    <a:pt x="453" y="76"/>
                    <a:pt x="455" y="75"/>
                    <a:pt x="457" y="73"/>
                  </a:cubicBezTo>
                  <a:cubicBezTo>
                    <a:pt x="458" y="71"/>
                    <a:pt x="459" y="69"/>
                    <a:pt x="460" y="66"/>
                  </a:cubicBezTo>
                  <a:cubicBezTo>
                    <a:pt x="461" y="63"/>
                    <a:pt x="461" y="60"/>
                    <a:pt x="461" y="57"/>
                  </a:cubicBezTo>
                  <a:close/>
                  <a:moveTo>
                    <a:pt x="524" y="76"/>
                  </a:moveTo>
                  <a:cubicBezTo>
                    <a:pt x="524" y="77"/>
                    <a:pt x="524" y="78"/>
                    <a:pt x="524" y="78"/>
                  </a:cubicBezTo>
                  <a:cubicBezTo>
                    <a:pt x="524" y="79"/>
                    <a:pt x="523" y="79"/>
                    <a:pt x="523" y="80"/>
                  </a:cubicBezTo>
                  <a:cubicBezTo>
                    <a:pt x="523" y="80"/>
                    <a:pt x="523" y="80"/>
                    <a:pt x="523" y="81"/>
                  </a:cubicBezTo>
                  <a:cubicBezTo>
                    <a:pt x="523" y="81"/>
                    <a:pt x="523" y="81"/>
                    <a:pt x="522" y="82"/>
                  </a:cubicBezTo>
                  <a:cubicBezTo>
                    <a:pt x="521" y="82"/>
                    <a:pt x="521" y="83"/>
                    <a:pt x="519" y="84"/>
                  </a:cubicBezTo>
                  <a:cubicBezTo>
                    <a:pt x="518" y="84"/>
                    <a:pt x="517" y="85"/>
                    <a:pt x="515" y="86"/>
                  </a:cubicBezTo>
                  <a:cubicBezTo>
                    <a:pt x="514" y="86"/>
                    <a:pt x="512" y="87"/>
                    <a:pt x="510" y="87"/>
                  </a:cubicBezTo>
                  <a:cubicBezTo>
                    <a:pt x="508" y="88"/>
                    <a:pt x="506" y="88"/>
                    <a:pt x="504" y="88"/>
                  </a:cubicBezTo>
                  <a:cubicBezTo>
                    <a:pt x="500" y="88"/>
                    <a:pt x="497" y="87"/>
                    <a:pt x="494" y="86"/>
                  </a:cubicBezTo>
                  <a:cubicBezTo>
                    <a:pt x="490" y="84"/>
                    <a:pt x="488" y="83"/>
                    <a:pt x="486" y="80"/>
                  </a:cubicBezTo>
                  <a:cubicBezTo>
                    <a:pt x="484" y="77"/>
                    <a:pt x="482" y="74"/>
                    <a:pt x="481" y="71"/>
                  </a:cubicBezTo>
                  <a:cubicBezTo>
                    <a:pt x="480" y="67"/>
                    <a:pt x="479" y="62"/>
                    <a:pt x="479" y="58"/>
                  </a:cubicBezTo>
                  <a:cubicBezTo>
                    <a:pt x="479" y="52"/>
                    <a:pt x="480" y="47"/>
                    <a:pt x="481" y="43"/>
                  </a:cubicBezTo>
                  <a:cubicBezTo>
                    <a:pt x="483" y="39"/>
                    <a:pt x="485" y="36"/>
                    <a:pt x="487" y="34"/>
                  </a:cubicBezTo>
                  <a:cubicBezTo>
                    <a:pt x="489" y="31"/>
                    <a:pt x="492" y="29"/>
                    <a:pt x="495" y="28"/>
                  </a:cubicBezTo>
                  <a:cubicBezTo>
                    <a:pt x="498" y="27"/>
                    <a:pt x="502" y="26"/>
                    <a:pt x="506" y="26"/>
                  </a:cubicBezTo>
                  <a:cubicBezTo>
                    <a:pt x="507" y="26"/>
                    <a:pt x="509" y="26"/>
                    <a:pt x="511" y="27"/>
                  </a:cubicBezTo>
                  <a:cubicBezTo>
                    <a:pt x="512" y="27"/>
                    <a:pt x="514" y="27"/>
                    <a:pt x="515" y="28"/>
                  </a:cubicBezTo>
                  <a:cubicBezTo>
                    <a:pt x="517" y="28"/>
                    <a:pt x="518" y="29"/>
                    <a:pt x="519" y="30"/>
                  </a:cubicBezTo>
                  <a:cubicBezTo>
                    <a:pt x="520" y="30"/>
                    <a:pt x="521" y="31"/>
                    <a:pt x="522" y="32"/>
                  </a:cubicBezTo>
                  <a:cubicBezTo>
                    <a:pt x="522" y="32"/>
                    <a:pt x="522" y="32"/>
                    <a:pt x="523" y="33"/>
                  </a:cubicBezTo>
                  <a:cubicBezTo>
                    <a:pt x="523" y="33"/>
                    <a:pt x="523" y="33"/>
                    <a:pt x="523" y="34"/>
                  </a:cubicBezTo>
                  <a:cubicBezTo>
                    <a:pt x="523" y="34"/>
                    <a:pt x="523" y="35"/>
                    <a:pt x="523" y="35"/>
                  </a:cubicBezTo>
                  <a:cubicBezTo>
                    <a:pt x="523" y="36"/>
                    <a:pt x="523" y="36"/>
                    <a:pt x="523" y="37"/>
                  </a:cubicBezTo>
                  <a:cubicBezTo>
                    <a:pt x="523" y="39"/>
                    <a:pt x="523" y="40"/>
                    <a:pt x="523" y="40"/>
                  </a:cubicBezTo>
                  <a:cubicBezTo>
                    <a:pt x="522" y="41"/>
                    <a:pt x="522" y="41"/>
                    <a:pt x="521" y="41"/>
                  </a:cubicBezTo>
                  <a:cubicBezTo>
                    <a:pt x="521" y="41"/>
                    <a:pt x="520" y="41"/>
                    <a:pt x="519" y="40"/>
                  </a:cubicBezTo>
                  <a:cubicBezTo>
                    <a:pt x="519" y="40"/>
                    <a:pt x="517" y="39"/>
                    <a:pt x="516" y="38"/>
                  </a:cubicBezTo>
                  <a:cubicBezTo>
                    <a:pt x="515" y="37"/>
                    <a:pt x="513" y="36"/>
                    <a:pt x="512" y="36"/>
                  </a:cubicBezTo>
                  <a:cubicBezTo>
                    <a:pt x="510" y="35"/>
                    <a:pt x="508" y="35"/>
                    <a:pt x="505" y="35"/>
                  </a:cubicBezTo>
                  <a:cubicBezTo>
                    <a:pt x="500" y="35"/>
                    <a:pt x="497" y="37"/>
                    <a:pt x="494" y="40"/>
                  </a:cubicBezTo>
                  <a:cubicBezTo>
                    <a:pt x="491" y="44"/>
                    <a:pt x="490" y="50"/>
                    <a:pt x="490" y="57"/>
                  </a:cubicBezTo>
                  <a:cubicBezTo>
                    <a:pt x="490" y="61"/>
                    <a:pt x="490" y="64"/>
                    <a:pt x="491" y="67"/>
                  </a:cubicBezTo>
                  <a:cubicBezTo>
                    <a:pt x="492" y="69"/>
                    <a:pt x="493" y="72"/>
                    <a:pt x="494" y="73"/>
                  </a:cubicBezTo>
                  <a:cubicBezTo>
                    <a:pt x="495" y="75"/>
                    <a:pt x="497" y="77"/>
                    <a:pt x="499" y="78"/>
                  </a:cubicBezTo>
                  <a:cubicBezTo>
                    <a:pt x="501" y="78"/>
                    <a:pt x="503" y="79"/>
                    <a:pt x="506" y="79"/>
                  </a:cubicBezTo>
                  <a:cubicBezTo>
                    <a:pt x="508" y="79"/>
                    <a:pt x="510" y="78"/>
                    <a:pt x="512" y="78"/>
                  </a:cubicBezTo>
                  <a:cubicBezTo>
                    <a:pt x="514" y="77"/>
                    <a:pt x="515" y="76"/>
                    <a:pt x="517" y="75"/>
                  </a:cubicBezTo>
                  <a:cubicBezTo>
                    <a:pt x="518" y="74"/>
                    <a:pt x="519" y="74"/>
                    <a:pt x="520" y="73"/>
                  </a:cubicBezTo>
                  <a:cubicBezTo>
                    <a:pt x="521" y="72"/>
                    <a:pt x="521" y="72"/>
                    <a:pt x="522" y="72"/>
                  </a:cubicBezTo>
                  <a:cubicBezTo>
                    <a:pt x="522" y="72"/>
                    <a:pt x="523" y="72"/>
                    <a:pt x="523" y="72"/>
                  </a:cubicBezTo>
                  <a:cubicBezTo>
                    <a:pt x="523" y="72"/>
                    <a:pt x="523" y="72"/>
                    <a:pt x="523" y="73"/>
                  </a:cubicBezTo>
                  <a:cubicBezTo>
                    <a:pt x="523" y="73"/>
                    <a:pt x="524" y="74"/>
                    <a:pt x="524" y="74"/>
                  </a:cubicBezTo>
                  <a:cubicBezTo>
                    <a:pt x="524" y="75"/>
                    <a:pt x="524" y="76"/>
                    <a:pt x="524" y="76"/>
                  </a:cubicBezTo>
                  <a:close/>
                  <a:moveTo>
                    <a:pt x="577" y="85"/>
                  </a:moveTo>
                  <a:cubicBezTo>
                    <a:pt x="577" y="85"/>
                    <a:pt x="577" y="86"/>
                    <a:pt x="577" y="86"/>
                  </a:cubicBezTo>
                  <a:cubicBezTo>
                    <a:pt x="577" y="86"/>
                    <a:pt x="577" y="86"/>
                    <a:pt x="576" y="86"/>
                  </a:cubicBezTo>
                  <a:cubicBezTo>
                    <a:pt x="576" y="87"/>
                    <a:pt x="575" y="87"/>
                    <a:pt x="575" y="87"/>
                  </a:cubicBezTo>
                  <a:cubicBezTo>
                    <a:pt x="574" y="87"/>
                    <a:pt x="573" y="87"/>
                    <a:pt x="572" y="87"/>
                  </a:cubicBezTo>
                  <a:cubicBezTo>
                    <a:pt x="571" y="87"/>
                    <a:pt x="570" y="87"/>
                    <a:pt x="569" y="87"/>
                  </a:cubicBezTo>
                  <a:cubicBezTo>
                    <a:pt x="568" y="87"/>
                    <a:pt x="568" y="87"/>
                    <a:pt x="567" y="87"/>
                  </a:cubicBezTo>
                  <a:cubicBezTo>
                    <a:pt x="567" y="86"/>
                    <a:pt x="566" y="86"/>
                    <a:pt x="566" y="86"/>
                  </a:cubicBezTo>
                  <a:cubicBezTo>
                    <a:pt x="566" y="86"/>
                    <a:pt x="566" y="85"/>
                    <a:pt x="565" y="85"/>
                  </a:cubicBezTo>
                  <a:lnTo>
                    <a:pt x="542" y="54"/>
                  </a:lnTo>
                  <a:lnTo>
                    <a:pt x="542" y="85"/>
                  </a:lnTo>
                  <a:cubicBezTo>
                    <a:pt x="542" y="85"/>
                    <a:pt x="541" y="86"/>
                    <a:pt x="541" y="86"/>
                  </a:cubicBezTo>
                  <a:cubicBezTo>
                    <a:pt x="541" y="86"/>
                    <a:pt x="541" y="86"/>
                    <a:pt x="540" y="86"/>
                  </a:cubicBezTo>
                  <a:cubicBezTo>
                    <a:pt x="540" y="87"/>
                    <a:pt x="540" y="87"/>
                    <a:pt x="539" y="87"/>
                  </a:cubicBezTo>
                  <a:cubicBezTo>
                    <a:pt x="538" y="87"/>
                    <a:pt x="537" y="87"/>
                    <a:pt x="536" y="87"/>
                  </a:cubicBezTo>
                  <a:cubicBezTo>
                    <a:pt x="535" y="87"/>
                    <a:pt x="535" y="87"/>
                    <a:pt x="534" y="87"/>
                  </a:cubicBezTo>
                  <a:cubicBezTo>
                    <a:pt x="533" y="87"/>
                    <a:pt x="533" y="87"/>
                    <a:pt x="532" y="86"/>
                  </a:cubicBezTo>
                  <a:cubicBezTo>
                    <a:pt x="532" y="86"/>
                    <a:pt x="532" y="86"/>
                    <a:pt x="531" y="86"/>
                  </a:cubicBezTo>
                  <a:cubicBezTo>
                    <a:pt x="531" y="86"/>
                    <a:pt x="531" y="85"/>
                    <a:pt x="531" y="85"/>
                  </a:cubicBezTo>
                  <a:lnTo>
                    <a:pt x="531" y="2"/>
                  </a:lnTo>
                  <a:cubicBezTo>
                    <a:pt x="531" y="1"/>
                    <a:pt x="531" y="1"/>
                    <a:pt x="531" y="1"/>
                  </a:cubicBezTo>
                  <a:cubicBezTo>
                    <a:pt x="532" y="0"/>
                    <a:pt x="532" y="0"/>
                    <a:pt x="532" y="0"/>
                  </a:cubicBezTo>
                  <a:cubicBezTo>
                    <a:pt x="533" y="0"/>
                    <a:pt x="533" y="0"/>
                    <a:pt x="534" y="0"/>
                  </a:cubicBezTo>
                  <a:cubicBezTo>
                    <a:pt x="535" y="0"/>
                    <a:pt x="535" y="0"/>
                    <a:pt x="536" y="0"/>
                  </a:cubicBezTo>
                  <a:cubicBezTo>
                    <a:pt x="537" y="0"/>
                    <a:pt x="538" y="0"/>
                    <a:pt x="539" y="0"/>
                  </a:cubicBezTo>
                  <a:cubicBezTo>
                    <a:pt x="540" y="0"/>
                    <a:pt x="540" y="0"/>
                    <a:pt x="540" y="0"/>
                  </a:cubicBezTo>
                  <a:cubicBezTo>
                    <a:pt x="541" y="0"/>
                    <a:pt x="541" y="0"/>
                    <a:pt x="541" y="1"/>
                  </a:cubicBezTo>
                  <a:cubicBezTo>
                    <a:pt x="541" y="1"/>
                    <a:pt x="542" y="1"/>
                    <a:pt x="542" y="2"/>
                  </a:cubicBezTo>
                  <a:lnTo>
                    <a:pt x="542" y="52"/>
                  </a:lnTo>
                  <a:lnTo>
                    <a:pt x="563" y="29"/>
                  </a:lnTo>
                  <a:cubicBezTo>
                    <a:pt x="563" y="29"/>
                    <a:pt x="563" y="28"/>
                    <a:pt x="564" y="28"/>
                  </a:cubicBezTo>
                  <a:cubicBezTo>
                    <a:pt x="564" y="28"/>
                    <a:pt x="565" y="28"/>
                    <a:pt x="565" y="27"/>
                  </a:cubicBezTo>
                  <a:cubicBezTo>
                    <a:pt x="566" y="27"/>
                    <a:pt x="566" y="27"/>
                    <a:pt x="567" y="27"/>
                  </a:cubicBezTo>
                  <a:cubicBezTo>
                    <a:pt x="568" y="27"/>
                    <a:pt x="569" y="27"/>
                    <a:pt x="570" y="27"/>
                  </a:cubicBezTo>
                  <a:cubicBezTo>
                    <a:pt x="571" y="27"/>
                    <a:pt x="572" y="27"/>
                    <a:pt x="572" y="27"/>
                  </a:cubicBezTo>
                  <a:cubicBezTo>
                    <a:pt x="573" y="27"/>
                    <a:pt x="574" y="27"/>
                    <a:pt x="574" y="27"/>
                  </a:cubicBezTo>
                  <a:cubicBezTo>
                    <a:pt x="574" y="27"/>
                    <a:pt x="575" y="28"/>
                    <a:pt x="575" y="28"/>
                  </a:cubicBezTo>
                  <a:cubicBezTo>
                    <a:pt x="575" y="28"/>
                    <a:pt x="575" y="28"/>
                    <a:pt x="575" y="29"/>
                  </a:cubicBezTo>
                  <a:cubicBezTo>
                    <a:pt x="575" y="29"/>
                    <a:pt x="575" y="30"/>
                    <a:pt x="575" y="30"/>
                  </a:cubicBezTo>
                  <a:cubicBezTo>
                    <a:pt x="574" y="31"/>
                    <a:pt x="574" y="31"/>
                    <a:pt x="573" y="32"/>
                  </a:cubicBezTo>
                  <a:lnTo>
                    <a:pt x="553" y="52"/>
                  </a:lnTo>
                  <a:lnTo>
                    <a:pt x="576" y="82"/>
                  </a:lnTo>
                  <a:cubicBezTo>
                    <a:pt x="576" y="83"/>
                    <a:pt x="577" y="83"/>
                    <a:pt x="577" y="84"/>
                  </a:cubicBezTo>
                  <a:cubicBezTo>
                    <a:pt x="577" y="84"/>
                    <a:pt x="577" y="85"/>
                    <a:pt x="577" y="85"/>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120">
              <a:extLst>
                <a:ext uri="{FF2B5EF4-FFF2-40B4-BE49-F238E27FC236}">
                  <a16:creationId xmlns:a16="http://schemas.microsoft.com/office/drawing/2014/main" id="{8FDE4AA4-5C5A-4781-AE5B-1B480305BC50}"/>
                </a:ext>
              </a:extLst>
            </p:cNvPr>
            <p:cNvSpPr>
              <a:spLocks noEditPoints="1"/>
            </p:cNvSpPr>
            <p:nvPr/>
          </p:nvSpPr>
          <p:spPr bwMode="auto">
            <a:xfrm>
              <a:off x="2554" y="2393"/>
              <a:ext cx="1297" cy="433"/>
            </a:xfrm>
            <a:custGeom>
              <a:avLst/>
              <a:gdLst>
                <a:gd name="T0" fmla="*/ 0 w 2898"/>
                <a:gd name="T1" fmla="*/ 1 h 967"/>
                <a:gd name="T2" fmla="*/ 54 w 2898"/>
                <a:gd name="T3" fmla="*/ 37 h 967"/>
                <a:gd name="T4" fmla="*/ 137 w 2898"/>
                <a:gd name="T5" fmla="*/ 87 h 967"/>
                <a:gd name="T6" fmla="*/ 193 w 2898"/>
                <a:gd name="T7" fmla="*/ 118 h 967"/>
                <a:gd name="T8" fmla="*/ 244 w 2898"/>
                <a:gd name="T9" fmla="*/ 147 h 967"/>
                <a:gd name="T10" fmla="*/ 214 w 2898"/>
                <a:gd name="T11" fmla="*/ 128 h 967"/>
                <a:gd name="T12" fmla="*/ 263 w 2898"/>
                <a:gd name="T13" fmla="*/ 164 h 967"/>
                <a:gd name="T14" fmla="*/ 351 w 2898"/>
                <a:gd name="T15" fmla="*/ 213 h 967"/>
                <a:gd name="T16" fmla="*/ 372 w 2898"/>
                <a:gd name="T17" fmla="*/ 221 h 967"/>
                <a:gd name="T18" fmla="*/ 372 w 2898"/>
                <a:gd name="T19" fmla="*/ 221 h 967"/>
                <a:gd name="T20" fmla="*/ 423 w 2898"/>
                <a:gd name="T21" fmla="*/ 251 h 967"/>
                <a:gd name="T22" fmla="*/ 479 w 2898"/>
                <a:gd name="T23" fmla="*/ 283 h 967"/>
                <a:gd name="T24" fmla="*/ 565 w 2898"/>
                <a:gd name="T25" fmla="*/ 328 h 967"/>
                <a:gd name="T26" fmla="*/ 623 w 2898"/>
                <a:gd name="T27" fmla="*/ 355 h 967"/>
                <a:gd name="T28" fmla="*/ 676 w 2898"/>
                <a:gd name="T29" fmla="*/ 379 h 967"/>
                <a:gd name="T30" fmla="*/ 641 w 2898"/>
                <a:gd name="T31" fmla="*/ 364 h 967"/>
                <a:gd name="T32" fmla="*/ 698 w 2898"/>
                <a:gd name="T33" fmla="*/ 395 h 967"/>
                <a:gd name="T34" fmla="*/ 787 w 2898"/>
                <a:gd name="T35" fmla="*/ 434 h 967"/>
                <a:gd name="T36" fmla="*/ 846 w 2898"/>
                <a:gd name="T37" fmla="*/ 458 h 967"/>
                <a:gd name="T38" fmla="*/ 901 w 2898"/>
                <a:gd name="T39" fmla="*/ 479 h 967"/>
                <a:gd name="T40" fmla="*/ 925 w 2898"/>
                <a:gd name="T41" fmla="*/ 490 h 967"/>
                <a:gd name="T42" fmla="*/ 925 w 2898"/>
                <a:gd name="T43" fmla="*/ 490 h 967"/>
                <a:gd name="T44" fmla="*/ 977 w 2898"/>
                <a:gd name="T45" fmla="*/ 516 h 967"/>
                <a:gd name="T46" fmla="*/ 1035 w 2898"/>
                <a:gd name="T47" fmla="*/ 543 h 967"/>
                <a:gd name="T48" fmla="*/ 1126 w 2898"/>
                <a:gd name="T49" fmla="*/ 577 h 967"/>
                <a:gd name="T50" fmla="*/ 1187 w 2898"/>
                <a:gd name="T51" fmla="*/ 597 h 967"/>
                <a:gd name="T52" fmla="*/ 1243 w 2898"/>
                <a:gd name="T53" fmla="*/ 615 h 967"/>
                <a:gd name="T54" fmla="*/ 1268 w 2898"/>
                <a:gd name="T55" fmla="*/ 624 h 967"/>
                <a:gd name="T56" fmla="*/ 1268 w 2898"/>
                <a:gd name="T57" fmla="*/ 624 h 967"/>
                <a:gd name="T58" fmla="*/ 1322 w 2898"/>
                <a:gd name="T59" fmla="*/ 647 h 967"/>
                <a:gd name="T60" fmla="*/ 1415 w 2898"/>
                <a:gd name="T61" fmla="*/ 682 h 967"/>
                <a:gd name="T62" fmla="*/ 1476 w 2898"/>
                <a:gd name="T63" fmla="*/ 694 h 967"/>
                <a:gd name="T64" fmla="*/ 1500 w 2898"/>
                <a:gd name="T65" fmla="*/ 702 h 967"/>
                <a:gd name="T66" fmla="*/ 1500 w 2898"/>
                <a:gd name="T67" fmla="*/ 702 h 967"/>
                <a:gd name="T68" fmla="*/ 1556 w 2898"/>
                <a:gd name="T69" fmla="*/ 721 h 967"/>
                <a:gd name="T70" fmla="*/ 1617 w 2898"/>
                <a:gd name="T71" fmla="*/ 742 h 967"/>
                <a:gd name="T72" fmla="*/ 1710 w 2898"/>
                <a:gd name="T73" fmla="*/ 770 h 967"/>
                <a:gd name="T74" fmla="*/ 1770 w 2898"/>
                <a:gd name="T75" fmla="*/ 781 h 967"/>
                <a:gd name="T76" fmla="*/ 1736 w 2898"/>
                <a:gd name="T77" fmla="*/ 772 h 967"/>
                <a:gd name="T78" fmla="*/ 1792 w 2898"/>
                <a:gd name="T79" fmla="*/ 789 h 967"/>
                <a:gd name="T80" fmla="*/ 1854 w 2898"/>
                <a:gd name="T81" fmla="*/ 807 h 967"/>
                <a:gd name="T82" fmla="*/ 1951 w 2898"/>
                <a:gd name="T83" fmla="*/ 828 h 967"/>
                <a:gd name="T84" fmla="*/ 1974 w 2898"/>
                <a:gd name="T85" fmla="*/ 830 h 967"/>
                <a:gd name="T86" fmla="*/ 1974 w 2898"/>
                <a:gd name="T87" fmla="*/ 830 h 967"/>
                <a:gd name="T88" fmla="*/ 2031 w 2898"/>
                <a:gd name="T89" fmla="*/ 844 h 967"/>
                <a:gd name="T90" fmla="*/ 2093 w 2898"/>
                <a:gd name="T91" fmla="*/ 860 h 967"/>
                <a:gd name="T92" fmla="*/ 2189 w 2898"/>
                <a:gd name="T93" fmla="*/ 879 h 967"/>
                <a:gd name="T94" fmla="*/ 2252 w 2898"/>
                <a:gd name="T95" fmla="*/ 887 h 967"/>
                <a:gd name="T96" fmla="*/ 2311 w 2898"/>
                <a:gd name="T97" fmla="*/ 895 h 967"/>
                <a:gd name="T98" fmla="*/ 2336 w 2898"/>
                <a:gd name="T99" fmla="*/ 899 h 967"/>
                <a:gd name="T100" fmla="*/ 2336 w 2898"/>
                <a:gd name="T101" fmla="*/ 899 h 967"/>
                <a:gd name="T102" fmla="*/ 2394 w 2898"/>
                <a:gd name="T103" fmla="*/ 910 h 967"/>
                <a:gd name="T104" fmla="*/ 2457 w 2898"/>
                <a:gd name="T105" fmla="*/ 922 h 967"/>
                <a:gd name="T106" fmla="*/ 2553 w 2898"/>
                <a:gd name="T107" fmla="*/ 935 h 967"/>
                <a:gd name="T108" fmla="*/ 2617 w 2898"/>
                <a:gd name="T109" fmla="*/ 940 h 967"/>
                <a:gd name="T110" fmla="*/ 2676 w 2898"/>
                <a:gd name="T111" fmla="*/ 944 h 967"/>
                <a:gd name="T112" fmla="*/ 2701 w 2898"/>
                <a:gd name="T113" fmla="*/ 947 h 967"/>
                <a:gd name="T114" fmla="*/ 2701 w 2898"/>
                <a:gd name="T115" fmla="*/ 952 h 967"/>
                <a:gd name="T116" fmla="*/ 2798 w 2898"/>
                <a:gd name="T117" fmla="*/ 959 h 967"/>
                <a:gd name="T118" fmla="*/ 2862 w 2898"/>
                <a:gd name="T119" fmla="*/ 962 h 967"/>
                <a:gd name="T120" fmla="*/ 2896 w 2898"/>
                <a:gd name="T121" fmla="*/ 962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98" h="967">
                  <a:moveTo>
                    <a:pt x="4" y="0"/>
                  </a:moveTo>
                  <a:lnTo>
                    <a:pt x="34" y="19"/>
                  </a:lnTo>
                  <a:cubicBezTo>
                    <a:pt x="36" y="20"/>
                    <a:pt x="36" y="21"/>
                    <a:pt x="35" y="22"/>
                  </a:cubicBezTo>
                  <a:cubicBezTo>
                    <a:pt x="35" y="24"/>
                    <a:pt x="33" y="24"/>
                    <a:pt x="32" y="23"/>
                  </a:cubicBezTo>
                  <a:lnTo>
                    <a:pt x="1" y="5"/>
                  </a:lnTo>
                  <a:cubicBezTo>
                    <a:pt x="0" y="4"/>
                    <a:pt x="0" y="2"/>
                    <a:pt x="0" y="1"/>
                  </a:cubicBezTo>
                  <a:cubicBezTo>
                    <a:pt x="1" y="0"/>
                    <a:pt x="3" y="0"/>
                    <a:pt x="4" y="0"/>
                  </a:cubicBezTo>
                  <a:close/>
                  <a:moveTo>
                    <a:pt x="56" y="32"/>
                  </a:moveTo>
                  <a:lnTo>
                    <a:pt x="87" y="51"/>
                  </a:lnTo>
                  <a:cubicBezTo>
                    <a:pt x="88" y="52"/>
                    <a:pt x="88" y="53"/>
                    <a:pt x="88" y="54"/>
                  </a:cubicBezTo>
                  <a:cubicBezTo>
                    <a:pt x="87" y="56"/>
                    <a:pt x="85" y="56"/>
                    <a:pt x="84" y="55"/>
                  </a:cubicBezTo>
                  <a:lnTo>
                    <a:pt x="54" y="37"/>
                  </a:lnTo>
                  <a:cubicBezTo>
                    <a:pt x="52" y="36"/>
                    <a:pt x="52" y="34"/>
                    <a:pt x="53" y="33"/>
                  </a:cubicBezTo>
                  <a:cubicBezTo>
                    <a:pt x="53" y="32"/>
                    <a:pt x="55" y="32"/>
                    <a:pt x="56" y="32"/>
                  </a:cubicBezTo>
                  <a:close/>
                  <a:moveTo>
                    <a:pt x="109" y="64"/>
                  </a:moveTo>
                  <a:lnTo>
                    <a:pt x="139" y="83"/>
                  </a:lnTo>
                  <a:cubicBezTo>
                    <a:pt x="141" y="84"/>
                    <a:pt x="141" y="85"/>
                    <a:pt x="140" y="86"/>
                  </a:cubicBezTo>
                  <a:cubicBezTo>
                    <a:pt x="139" y="88"/>
                    <a:pt x="138" y="88"/>
                    <a:pt x="137" y="87"/>
                  </a:cubicBezTo>
                  <a:lnTo>
                    <a:pt x="106" y="69"/>
                  </a:lnTo>
                  <a:cubicBezTo>
                    <a:pt x="105" y="68"/>
                    <a:pt x="104" y="66"/>
                    <a:pt x="105" y="65"/>
                  </a:cubicBezTo>
                  <a:cubicBezTo>
                    <a:pt x="106" y="64"/>
                    <a:pt x="108" y="63"/>
                    <a:pt x="109" y="64"/>
                  </a:cubicBezTo>
                  <a:close/>
                  <a:moveTo>
                    <a:pt x="161" y="96"/>
                  </a:moveTo>
                  <a:lnTo>
                    <a:pt x="192" y="115"/>
                  </a:lnTo>
                  <a:cubicBezTo>
                    <a:pt x="193" y="116"/>
                    <a:pt x="193" y="117"/>
                    <a:pt x="193" y="118"/>
                  </a:cubicBezTo>
                  <a:cubicBezTo>
                    <a:pt x="192" y="120"/>
                    <a:pt x="190" y="120"/>
                    <a:pt x="189" y="119"/>
                  </a:cubicBezTo>
                  <a:lnTo>
                    <a:pt x="159" y="101"/>
                  </a:lnTo>
                  <a:cubicBezTo>
                    <a:pt x="157" y="100"/>
                    <a:pt x="157" y="98"/>
                    <a:pt x="158" y="97"/>
                  </a:cubicBezTo>
                  <a:cubicBezTo>
                    <a:pt x="158" y="96"/>
                    <a:pt x="160" y="95"/>
                    <a:pt x="161" y="96"/>
                  </a:cubicBezTo>
                  <a:close/>
                  <a:moveTo>
                    <a:pt x="214" y="128"/>
                  </a:moveTo>
                  <a:lnTo>
                    <a:pt x="244" y="147"/>
                  </a:lnTo>
                  <a:cubicBezTo>
                    <a:pt x="245" y="147"/>
                    <a:pt x="246" y="149"/>
                    <a:pt x="245" y="150"/>
                  </a:cubicBezTo>
                  <a:cubicBezTo>
                    <a:pt x="244" y="151"/>
                    <a:pt x="243" y="152"/>
                    <a:pt x="242" y="151"/>
                  </a:cubicBezTo>
                  <a:lnTo>
                    <a:pt x="242" y="151"/>
                  </a:lnTo>
                  <a:lnTo>
                    <a:pt x="211" y="132"/>
                  </a:lnTo>
                  <a:cubicBezTo>
                    <a:pt x="210" y="132"/>
                    <a:pt x="209" y="130"/>
                    <a:pt x="210" y="129"/>
                  </a:cubicBezTo>
                  <a:cubicBezTo>
                    <a:pt x="211" y="128"/>
                    <a:pt x="212" y="127"/>
                    <a:pt x="214" y="128"/>
                  </a:cubicBezTo>
                  <a:close/>
                  <a:moveTo>
                    <a:pt x="266" y="160"/>
                  </a:moveTo>
                  <a:lnTo>
                    <a:pt x="297" y="179"/>
                  </a:lnTo>
                  <a:cubicBezTo>
                    <a:pt x="298" y="179"/>
                    <a:pt x="298" y="181"/>
                    <a:pt x="298" y="182"/>
                  </a:cubicBezTo>
                  <a:cubicBezTo>
                    <a:pt x="297" y="183"/>
                    <a:pt x="295" y="184"/>
                    <a:pt x="294" y="183"/>
                  </a:cubicBezTo>
                  <a:lnTo>
                    <a:pt x="294" y="183"/>
                  </a:lnTo>
                  <a:lnTo>
                    <a:pt x="263" y="164"/>
                  </a:lnTo>
                  <a:cubicBezTo>
                    <a:pt x="262" y="164"/>
                    <a:pt x="262" y="162"/>
                    <a:pt x="263" y="161"/>
                  </a:cubicBezTo>
                  <a:cubicBezTo>
                    <a:pt x="263" y="160"/>
                    <a:pt x="265" y="159"/>
                    <a:pt x="266" y="160"/>
                  </a:cubicBezTo>
                  <a:close/>
                  <a:moveTo>
                    <a:pt x="319" y="192"/>
                  </a:moveTo>
                  <a:lnTo>
                    <a:pt x="334" y="201"/>
                  </a:lnTo>
                  <a:lnTo>
                    <a:pt x="350" y="210"/>
                  </a:lnTo>
                  <a:cubicBezTo>
                    <a:pt x="351" y="210"/>
                    <a:pt x="351" y="212"/>
                    <a:pt x="351" y="213"/>
                  </a:cubicBezTo>
                  <a:cubicBezTo>
                    <a:pt x="350" y="214"/>
                    <a:pt x="349" y="215"/>
                    <a:pt x="347" y="214"/>
                  </a:cubicBezTo>
                  <a:lnTo>
                    <a:pt x="331" y="206"/>
                  </a:lnTo>
                  <a:lnTo>
                    <a:pt x="316" y="196"/>
                  </a:lnTo>
                  <a:cubicBezTo>
                    <a:pt x="315" y="196"/>
                    <a:pt x="314" y="194"/>
                    <a:pt x="315" y="193"/>
                  </a:cubicBezTo>
                  <a:cubicBezTo>
                    <a:pt x="316" y="192"/>
                    <a:pt x="317" y="191"/>
                    <a:pt x="319" y="192"/>
                  </a:cubicBezTo>
                  <a:close/>
                  <a:moveTo>
                    <a:pt x="372" y="221"/>
                  </a:moveTo>
                  <a:lnTo>
                    <a:pt x="404" y="238"/>
                  </a:lnTo>
                  <a:cubicBezTo>
                    <a:pt x="405" y="239"/>
                    <a:pt x="406" y="240"/>
                    <a:pt x="405" y="241"/>
                  </a:cubicBezTo>
                  <a:cubicBezTo>
                    <a:pt x="405" y="243"/>
                    <a:pt x="403" y="243"/>
                    <a:pt x="402" y="242"/>
                  </a:cubicBezTo>
                  <a:lnTo>
                    <a:pt x="370" y="226"/>
                  </a:lnTo>
                  <a:cubicBezTo>
                    <a:pt x="369" y="225"/>
                    <a:pt x="368" y="224"/>
                    <a:pt x="369" y="222"/>
                  </a:cubicBezTo>
                  <a:cubicBezTo>
                    <a:pt x="370" y="221"/>
                    <a:pt x="371" y="221"/>
                    <a:pt x="372" y="221"/>
                  </a:cubicBezTo>
                  <a:close/>
                  <a:moveTo>
                    <a:pt x="427" y="250"/>
                  </a:moveTo>
                  <a:lnTo>
                    <a:pt x="459" y="266"/>
                  </a:lnTo>
                  <a:cubicBezTo>
                    <a:pt x="460" y="267"/>
                    <a:pt x="460" y="268"/>
                    <a:pt x="460" y="270"/>
                  </a:cubicBezTo>
                  <a:cubicBezTo>
                    <a:pt x="459" y="271"/>
                    <a:pt x="458" y="271"/>
                    <a:pt x="456" y="271"/>
                  </a:cubicBezTo>
                  <a:lnTo>
                    <a:pt x="424" y="254"/>
                  </a:lnTo>
                  <a:cubicBezTo>
                    <a:pt x="423" y="254"/>
                    <a:pt x="423" y="252"/>
                    <a:pt x="423" y="251"/>
                  </a:cubicBezTo>
                  <a:cubicBezTo>
                    <a:pt x="424" y="250"/>
                    <a:pt x="426" y="249"/>
                    <a:pt x="427" y="250"/>
                  </a:cubicBezTo>
                  <a:close/>
                  <a:moveTo>
                    <a:pt x="481" y="278"/>
                  </a:moveTo>
                  <a:lnTo>
                    <a:pt x="513" y="295"/>
                  </a:lnTo>
                  <a:cubicBezTo>
                    <a:pt x="514" y="295"/>
                    <a:pt x="515" y="297"/>
                    <a:pt x="514" y="298"/>
                  </a:cubicBezTo>
                  <a:cubicBezTo>
                    <a:pt x="514" y="299"/>
                    <a:pt x="512" y="300"/>
                    <a:pt x="511" y="299"/>
                  </a:cubicBezTo>
                  <a:lnTo>
                    <a:pt x="479" y="283"/>
                  </a:lnTo>
                  <a:cubicBezTo>
                    <a:pt x="478" y="282"/>
                    <a:pt x="477" y="280"/>
                    <a:pt x="478" y="279"/>
                  </a:cubicBezTo>
                  <a:cubicBezTo>
                    <a:pt x="479" y="278"/>
                    <a:pt x="480" y="277"/>
                    <a:pt x="481" y="278"/>
                  </a:cubicBezTo>
                  <a:close/>
                  <a:moveTo>
                    <a:pt x="536" y="306"/>
                  </a:moveTo>
                  <a:lnTo>
                    <a:pt x="568" y="323"/>
                  </a:lnTo>
                  <a:cubicBezTo>
                    <a:pt x="569" y="324"/>
                    <a:pt x="569" y="325"/>
                    <a:pt x="569" y="326"/>
                  </a:cubicBezTo>
                  <a:cubicBezTo>
                    <a:pt x="568" y="328"/>
                    <a:pt x="567" y="328"/>
                    <a:pt x="565" y="328"/>
                  </a:cubicBezTo>
                  <a:lnTo>
                    <a:pt x="533" y="311"/>
                  </a:lnTo>
                  <a:cubicBezTo>
                    <a:pt x="532" y="310"/>
                    <a:pt x="532" y="309"/>
                    <a:pt x="532" y="308"/>
                  </a:cubicBezTo>
                  <a:cubicBezTo>
                    <a:pt x="533" y="306"/>
                    <a:pt x="535" y="306"/>
                    <a:pt x="536" y="306"/>
                  </a:cubicBezTo>
                  <a:close/>
                  <a:moveTo>
                    <a:pt x="590" y="335"/>
                  </a:moveTo>
                  <a:lnTo>
                    <a:pt x="622" y="351"/>
                  </a:lnTo>
                  <a:cubicBezTo>
                    <a:pt x="623" y="352"/>
                    <a:pt x="624" y="354"/>
                    <a:pt x="623" y="355"/>
                  </a:cubicBezTo>
                  <a:cubicBezTo>
                    <a:pt x="623" y="356"/>
                    <a:pt x="621" y="357"/>
                    <a:pt x="620" y="356"/>
                  </a:cubicBezTo>
                  <a:lnTo>
                    <a:pt x="588" y="339"/>
                  </a:lnTo>
                  <a:cubicBezTo>
                    <a:pt x="587" y="339"/>
                    <a:pt x="586" y="337"/>
                    <a:pt x="587" y="336"/>
                  </a:cubicBezTo>
                  <a:cubicBezTo>
                    <a:pt x="588" y="335"/>
                    <a:pt x="589" y="334"/>
                    <a:pt x="590" y="335"/>
                  </a:cubicBezTo>
                  <a:close/>
                  <a:moveTo>
                    <a:pt x="645" y="363"/>
                  </a:moveTo>
                  <a:lnTo>
                    <a:pt x="676" y="379"/>
                  </a:lnTo>
                  <a:lnTo>
                    <a:pt x="677" y="380"/>
                  </a:lnTo>
                  <a:cubicBezTo>
                    <a:pt x="678" y="380"/>
                    <a:pt x="678" y="382"/>
                    <a:pt x="678" y="383"/>
                  </a:cubicBezTo>
                  <a:cubicBezTo>
                    <a:pt x="677" y="384"/>
                    <a:pt x="676" y="385"/>
                    <a:pt x="674" y="384"/>
                  </a:cubicBezTo>
                  <a:lnTo>
                    <a:pt x="673" y="384"/>
                  </a:lnTo>
                  <a:lnTo>
                    <a:pt x="642" y="368"/>
                  </a:lnTo>
                  <a:cubicBezTo>
                    <a:pt x="641" y="367"/>
                    <a:pt x="641" y="366"/>
                    <a:pt x="641" y="364"/>
                  </a:cubicBezTo>
                  <a:cubicBezTo>
                    <a:pt x="642" y="363"/>
                    <a:pt x="644" y="363"/>
                    <a:pt x="645" y="363"/>
                  </a:cubicBezTo>
                  <a:close/>
                  <a:moveTo>
                    <a:pt x="700" y="390"/>
                  </a:moveTo>
                  <a:lnTo>
                    <a:pt x="733" y="404"/>
                  </a:lnTo>
                  <a:cubicBezTo>
                    <a:pt x="734" y="405"/>
                    <a:pt x="735" y="407"/>
                    <a:pt x="734" y="408"/>
                  </a:cubicBezTo>
                  <a:cubicBezTo>
                    <a:pt x="733" y="409"/>
                    <a:pt x="732" y="410"/>
                    <a:pt x="731" y="409"/>
                  </a:cubicBezTo>
                  <a:lnTo>
                    <a:pt x="698" y="395"/>
                  </a:lnTo>
                  <a:cubicBezTo>
                    <a:pt x="697" y="394"/>
                    <a:pt x="696" y="393"/>
                    <a:pt x="697" y="391"/>
                  </a:cubicBezTo>
                  <a:cubicBezTo>
                    <a:pt x="697" y="390"/>
                    <a:pt x="699" y="389"/>
                    <a:pt x="700" y="390"/>
                  </a:cubicBezTo>
                  <a:close/>
                  <a:moveTo>
                    <a:pt x="756" y="415"/>
                  </a:moveTo>
                  <a:lnTo>
                    <a:pt x="789" y="429"/>
                  </a:lnTo>
                  <a:cubicBezTo>
                    <a:pt x="790" y="430"/>
                    <a:pt x="791" y="431"/>
                    <a:pt x="790" y="433"/>
                  </a:cubicBezTo>
                  <a:cubicBezTo>
                    <a:pt x="790" y="434"/>
                    <a:pt x="788" y="435"/>
                    <a:pt x="787" y="434"/>
                  </a:cubicBezTo>
                  <a:lnTo>
                    <a:pt x="754" y="420"/>
                  </a:lnTo>
                  <a:cubicBezTo>
                    <a:pt x="753" y="419"/>
                    <a:pt x="752" y="417"/>
                    <a:pt x="753" y="416"/>
                  </a:cubicBezTo>
                  <a:cubicBezTo>
                    <a:pt x="753" y="415"/>
                    <a:pt x="755" y="414"/>
                    <a:pt x="756" y="415"/>
                  </a:cubicBezTo>
                  <a:close/>
                  <a:moveTo>
                    <a:pt x="812" y="440"/>
                  </a:moveTo>
                  <a:lnTo>
                    <a:pt x="845" y="454"/>
                  </a:lnTo>
                  <a:cubicBezTo>
                    <a:pt x="846" y="455"/>
                    <a:pt x="847" y="456"/>
                    <a:pt x="846" y="458"/>
                  </a:cubicBezTo>
                  <a:cubicBezTo>
                    <a:pt x="846" y="459"/>
                    <a:pt x="844" y="460"/>
                    <a:pt x="843" y="459"/>
                  </a:cubicBezTo>
                  <a:lnTo>
                    <a:pt x="810" y="444"/>
                  </a:lnTo>
                  <a:cubicBezTo>
                    <a:pt x="809" y="444"/>
                    <a:pt x="808" y="442"/>
                    <a:pt x="809" y="441"/>
                  </a:cubicBezTo>
                  <a:cubicBezTo>
                    <a:pt x="809" y="440"/>
                    <a:pt x="811" y="439"/>
                    <a:pt x="812" y="440"/>
                  </a:cubicBezTo>
                  <a:close/>
                  <a:moveTo>
                    <a:pt x="868" y="465"/>
                  </a:moveTo>
                  <a:lnTo>
                    <a:pt x="901" y="479"/>
                  </a:lnTo>
                  <a:cubicBezTo>
                    <a:pt x="902" y="480"/>
                    <a:pt x="903" y="481"/>
                    <a:pt x="902" y="483"/>
                  </a:cubicBezTo>
                  <a:cubicBezTo>
                    <a:pt x="902" y="484"/>
                    <a:pt x="900" y="484"/>
                    <a:pt x="899" y="484"/>
                  </a:cubicBezTo>
                  <a:lnTo>
                    <a:pt x="866" y="469"/>
                  </a:lnTo>
                  <a:cubicBezTo>
                    <a:pt x="865" y="469"/>
                    <a:pt x="864" y="467"/>
                    <a:pt x="865" y="466"/>
                  </a:cubicBezTo>
                  <a:cubicBezTo>
                    <a:pt x="866" y="465"/>
                    <a:pt x="867" y="464"/>
                    <a:pt x="868" y="465"/>
                  </a:cubicBezTo>
                  <a:close/>
                  <a:moveTo>
                    <a:pt x="925" y="490"/>
                  </a:moveTo>
                  <a:lnTo>
                    <a:pt x="957" y="504"/>
                  </a:lnTo>
                  <a:cubicBezTo>
                    <a:pt x="959" y="505"/>
                    <a:pt x="959" y="506"/>
                    <a:pt x="959" y="507"/>
                  </a:cubicBezTo>
                  <a:cubicBezTo>
                    <a:pt x="958" y="509"/>
                    <a:pt x="957" y="509"/>
                    <a:pt x="955" y="509"/>
                  </a:cubicBezTo>
                  <a:lnTo>
                    <a:pt x="922" y="494"/>
                  </a:lnTo>
                  <a:cubicBezTo>
                    <a:pt x="921" y="494"/>
                    <a:pt x="921" y="492"/>
                    <a:pt x="921" y="491"/>
                  </a:cubicBezTo>
                  <a:cubicBezTo>
                    <a:pt x="922" y="490"/>
                    <a:pt x="923" y="489"/>
                    <a:pt x="925" y="490"/>
                  </a:cubicBezTo>
                  <a:close/>
                  <a:moveTo>
                    <a:pt x="981" y="514"/>
                  </a:moveTo>
                  <a:lnTo>
                    <a:pt x="1014" y="529"/>
                  </a:lnTo>
                  <a:cubicBezTo>
                    <a:pt x="1015" y="529"/>
                    <a:pt x="1015" y="531"/>
                    <a:pt x="1015" y="532"/>
                  </a:cubicBezTo>
                  <a:cubicBezTo>
                    <a:pt x="1014" y="534"/>
                    <a:pt x="1013" y="534"/>
                    <a:pt x="1011" y="534"/>
                  </a:cubicBezTo>
                  <a:lnTo>
                    <a:pt x="979" y="519"/>
                  </a:lnTo>
                  <a:cubicBezTo>
                    <a:pt x="977" y="519"/>
                    <a:pt x="977" y="517"/>
                    <a:pt x="977" y="516"/>
                  </a:cubicBezTo>
                  <a:cubicBezTo>
                    <a:pt x="978" y="514"/>
                    <a:pt x="979" y="514"/>
                    <a:pt x="981" y="514"/>
                  </a:cubicBezTo>
                  <a:close/>
                  <a:moveTo>
                    <a:pt x="1037" y="539"/>
                  </a:moveTo>
                  <a:lnTo>
                    <a:pt x="1071" y="551"/>
                  </a:lnTo>
                  <a:cubicBezTo>
                    <a:pt x="1072" y="552"/>
                    <a:pt x="1073" y="553"/>
                    <a:pt x="1072" y="554"/>
                  </a:cubicBezTo>
                  <a:cubicBezTo>
                    <a:pt x="1072" y="556"/>
                    <a:pt x="1070" y="556"/>
                    <a:pt x="1069" y="556"/>
                  </a:cubicBezTo>
                  <a:lnTo>
                    <a:pt x="1035" y="543"/>
                  </a:lnTo>
                  <a:cubicBezTo>
                    <a:pt x="1034" y="543"/>
                    <a:pt x="1033" y="541"/>
                    <a:pt x="1034" y="540"/>
                  </a:cubicBezTo>
                  <a:cubicBezTo>
                    <a:pt x="1034" y="539"/>
                    <a:pt x="1036" y="538"/>
                    <a:pt x="1037" y="539"/>
                  </a:cubicBezTo>
                  <a:close/>
                  <a:moveTo>
                    <a:pt x="1095" y="560"/>
                  </a:moveTo>
                  <a:lnTo>
                    <a:pt x="1128" y="572"/>
                  </a:lnTo>
                  <a:cubicBezTo>
                    <a:pt x="1130" y="573"/>
                    <a:pt x="1130" y="574"/>
                    <a:pt x="1130" y="576"/>
                  </a:cubicBezTo>
                  <a:cubicBezTo>
                    <a:pt x="1129" y="577"/>
                    <a:pt x="1128" y="578"/>
                    <a:pt x="1126" y="577"/>
                  </a:cubicBezTo>
                  <a:lnTo>
                    <a:pt x="1093" y="565"/>
                  </a:lnTo>
                  <a:cubicBezTo>
                    <a:pt x="1092" y="564"/>
                    <a:pt x="1091" y="563"/>
                    <a:pt x="1091" y="561"/>
                  </a:cubicBezTo>
                  <a:cubicBezTo>
                    <a:pt x="1092" y="560"/>
                    <a:pt x="1093" y="559"/>
                    <a:pt x="1095" y="560"/>
                  </a:cubicBezTo>
                  <a:close/>
                  <a:moveTo>
                    <a:pt x="1152" y="581"/>
                  </a:moveTo>
                  <a:lnTo>
                    <a:pt x="1186" y="594"/>
                  </a:lnTo>
                  <a:cubicBezTo>
                    <a:pt x="1187" y="594"/>
                    <a:pt x="1188" y="596"/>
                    <a:pt x="1187" y="597"/>
                  </a:cubicBezTo>
                  <a:cubicBezTo>
                    <a:pt x="1187" y="598"/>
                    <a:pt x="1185" y="599"/>
                    <a:pt x="1184" y="598"/>
                  </a:cubicBezTo>
                  <a:lnTo>
                    <a:pt x="1150" y="586"/>
                  </a:lnTo>
                  <a:cubicBezTo>
                    <a:pt x="1149" y="586"/>
                    <a:pt x="1148" y="584"/>
                    <a:pt x="1149" y="583"/>
                  </a:cubicBezTo>
                  <a:cubicBezTo>
                    <a:pt x="1149" y="581"/>
                    <a:pt x="1151" y="581"/>
                    <a:pt x="1152" y="581"/>
                  </a:cubicBezTo>
                  <a:close/>
                  <a:moveTo>
                    <a:pt x="1210" y="603"/>
                  </a:moveTo>
                  <a:lnTo>
                    <a:pt x="1243" y="615"/>
                  </a:lnTo>
                  <a:cubicBezTo>
                    <a:pt x="1245" y="615"/>
                    <a:pt x="1246" y="617"/>
                    <a:pt x="1245" y="618"/>
                  </a:cubicBezTo>
                  <a:cubicBezTo>
                    <a:pt x="1245" y="620"/>
                    <a:pt x="1243" y="620"/>
                    <a:pt x="1242" y="620"/>
                  </a:cubicBezTo>
                  <a:lnTo>
                    <a:pt x="1208" y="607"/>
                  </a:lnTo>
                  <a:cubicBezTo>
                    <a:pt x="1207" y="607"/>
                    <a:pt x="1206" y="605"/>
                    <a:pt x="1207" y="604"/>
                  </a:cubicBezTo>
                  <a:cubicBezTo>
                    <a:pt x="1207" y="603"/>
                    <a:pt x="1209" y="602"/>
                    <a:pt x="1210" y="603"/>
                  </a:cubicBezTo>
                  <a:close/>
                  <a:moveTo>
                    <a:pt x="1268" y="624"/>
                  </a:moveTo>
                  <a:lnTo>
                    <a:pt x="1301" y="636"/>
                  </a:lnTo>
                  <a:cubicBezTo>
                    <a:pt x="1302" y="637"/>
                    <a:pt x="1303" y="638"/>
                    <a:pt x="1303" y="639"/>
                  </a:cubicBezTo>
                  <a:cubicBezTo>
                    <a:pt x="1302" y="641"/>
                    <a:pt x="1301" y="642"/>
                    <a:pt x="1299" y="641"/>
                  </a:cubicBezTo>
                  <a:lnTo>
                    <a:pt x="1266" y="629"/>
                  </a:lnTo>
                  <a:cubicBezTo>
                    <a:pt x="1264" y="628"/>
                    <a:pt x="1264" y="627"/>
                    <a:pt x="1264" y="625"/>
                  </a:cubicBezTo>
                  <a:cubicBezTo>
                    <a:pt x="1265" y="624"/>
                    <a:pt x="1266" y="623"/>
                    <a:pt x="1268" y="624"/>
                  </a:cubicBezTo>
                  <a:close/>
                  <a:moveTo>
                    <a:pt x="1325" y="645"/>
                  </a:moveTo>
                  <a:lnTo>
                    <a:pt x="1359" y="658"/>
                  </a:lnTo>
                  <a:cubicBezTo>
                    <a:pt x="1360" y="658"/>
                    <a:pt x="1361" y="659"/>
                    <a:pt x="1360" y="661"/>
                  </a:cubicBezTo>
                  <a:cubicBezTo>
                    <a:pt x="1360" y="662"/>
                    <a:pt x="1358" y="663"/>
                    <a:pt x="1357" y="662"/>
                  </a:cubicBezTo>
                  <a:lnTo>
                    <a:pt x="1323" y="650"/>
                  </a:lnTo>
                  <a:cubicBezTo>
                    <a:pt x="1322" y="649"/>
                    <a:pt x="1321" y="648"/>
                    <a:pt x="1322" y="647"/>
                  </a:cubicBezTo>
                  <a:cubicBezTo>
                    <a:pt x="1322" y="645"/>
                    <a:pt x="1324" y="645"/>
                    <a:pt x="1325" y="645"/>
                  </a:cubicBezTo>
                  <a:close/>
                  <a:moveTo>
                    <a:pt x="1383" y="666"/>
                  </a:moveTo>
                  <a:lnTo>
                    <a:pt x="1387" y="668"/>
                  </a:lnTo>
                  <a:lnTo>
                    <a:pt x="1417" y="677"/>
                  </a:lnTo>
                  <a:cubicBezTo>
                    <a:pt x="1418" y="677"/>
                    <a:pt x="1419" y="679"/>
                    <a:pt x="1419" y="680"/>
                  </a:cubicBezTo>
                  <a:cubicBezTo>
                    <a:pt x="1418" y="681"/>
                    <a:pt x="1417" y="682"/>
                    <a:pt x="1415" y="682"/>
                  </a:cubicBezTo>
                  <a:lnTo>
                    <a:pt x="1386" y="673"/>
                  </a:lnTo>
                  <a:lnTo>
                    <a:pt x="1381" y="671"/>
                  </a:lnTo>
                  <a:cubicBezTo>
                    <a:pt x="1380" y="671"/>
                    <a:pt x="1379" y="669"/>
                    <a:pt x="1379" y="668"/>
                  </a:cubicBezTo>
                  <a:cubicBezTo>
                    <a:pt x="1380" y="667"/>
                    <a:pt x="1381" y="666"/>
                    <a:pt x="1383" y="666"/>
                  </a:cubicBezTo>
                  <a:close/>
                  <a:moveTo>
                    <a:pt x="1441" y="684"/>
                  </a:moveTo>
                  <a:lnTo>
                    <a:pt x="1476" y="694"/>
                  </a:lnTo>
                  <a:cubicBezTo>
                    <a:pt x="1477" y="695"/>
                    <a:pt x="1478" y="696"/>
                    <a:pt x="1477" y="698"/>
                  </a:cubicBezTo>
                  <a:cubicBezTo>
                    <a:pt x="1477" y="699"/>
                    <a:pt x="1476" y="700"/>
                    <a:pt x="1474" y="699"/>
                  </a:cubicBezTo>
                  <a:lnTo>
                    <a:pt x="1440" y="689"/>
                  </a:lnTo>
                  <a:cubicBezTo>
                    <a:pt x="1439" y="689"/>
                    <a:pt x="1438" y="687"/>
                    <a:pt x="1438" y="686"/>
                  </a:cubicBezTo>
                  <a:cubicBezTo>
                    <a:pt x="1439" y="685"/>
                    <a:pt x="1440" y="684"/>
                    <a:pt x="1441" y="684"/>
                  </a:cubicBezTo>
                  <a:close/>
                  <a:moveTo>
                    <a:pt x="1500" y="702"/>
                  </a:moveTo>
                  <a:lnTo>
                    <a:pt x="1535" y="712"/>
                  </a:lnTo>
                  <a:cubicBezTo>
                    <a:pt x="1536" y="712"/>
                    <a:pt x="1537" y="714"/>
                    <a:pt x="1536" y="715"/>
                  </a:cubicBezTo>
                  <a:cubicBezTo>
                    <a:pt x="1536" y="716"/>
                    <a:pt x="1534" y="717"/>
                    <a:pt x="1533" y="717"/>
                  </a:cubicBezTo>
                  <a:lnTo>
                    <a:pt x="1499" y="707"/>
                  </a:lnTo>
                  <a:cubicBezTo>
                    <a:pt x="1497" y="706"/>
                    <a:pt x="1497" y="705"/>
                    <a:pt x="1497" y="703"/>
                  </a:cubicBezTo>
                  <a:cubicBezTo>
                    <a:pt x="1497" y="702"/>
                    <a:pt x="1499" y="701"/>
                    <a:pt x="1500" y="702"/>
                  </a:cubicBezTo>
                  <a:close/>
                  <a:moveTo>
                    <a:pt x="1559" y="719"/>
                  </a:moveTo>
                  <a:lnTo>
                    <a:pt x="1593" y="730"/>
                  </a:lnTo>
                  <a:cubicBezTo>
                    <a:pt x="1595" y="730"/>
                    <a:pt x="1596" y="731"/>
                    <a:pt x="1595" y="733"/>
                  </a:cubicBezTo>
                  <a:cubicBezTo>
                    <a:pt x="1595" y="734"/>
                    <a:pt x="1593" y="735"/>
                    <a:pt x="1592" y="734"/>
                  </a:cubicBezTo>
                  <a:lnTo>
                    <a:pt x="1558" y="724"/>
                  </a:lnTo>
                  <a:cubicBezTo>
                    <a:pt x="1556" y="724"/>
                    <a:pt x="1556" y="722"/>
                    <a:pt x="1556" y="721"/>
                  </a:cubicBezTo>
                  <a:cubicBezTo>
                    <a:pt x="1556" y="720"/>
                    <a:pt x="1558" y="719"/>
                    <a:pt x="1559" y="719"/>
                  </a:cubicBezTo>
                  <a:close/>
                  <a:moveTo>
                    <a:pt x="1618" y="737"/>
                  </a:moveTo>
                  <a:lnTo>
                    <a:pt x="1652" y="747"/>
                  </a:lnTo>
                  <a:cubicBezTo>
                    <a:pt x="1654" y="747"/>
                    <a:pt x="1654" y="749"/>
                    <a:pt x="1654" y="750"/>
                  </a:cubicBezTo>
                  <a:cubicBezTo>
                    <a:pt x="1654" y="752"/>
                    <a:pt x="1652" y="752"/>
                    <a:pt x="1651" y="752"/>
                  </a:cubicBezTo>
                  <a:lnTo>
                    <a:pt x="1617" y="742"/>
                  </a:lnTo>
                  <a:cubicBezTo>
                    <a:pt x="1615" y="741"/>
                    <a:pt x="1614" y="740"/>
                    <a:pt x="1615" y="739"/>
                  </a:cubicBezTo>
                  <a:cubicBezTo>
                    <a:pt x="1615" y="737"/>
                    <a:pt x="1617" y="736"/>
                    <a:pt x="1618" y="737"/>
                  </a:cubicBezTo>
                  <a:close/>
                  <a:moveTo>
                    <a:pt x="1677" y="754"/>
                  </a:moveTo>
                  <a:lnTo>
                    <a:pt x="1711" y="765"/>
                  </a:lnTo>
                  <a:cubicBezTo>
                    <a:pt x="1713" y="765"/>
                    <a:pt x="1713" y="766"/>
                    <a:pt x="1713" y="768"/>
                  </a:cubicBezTo>
                  <a:cubicBezTo>
                    <a:pt x="1713" y="769"/>
                    <a:pt x="1711" y="770"/>
                    <a:pt x="1710" y="770"/>
                  </a:cubicBezTo>
                  <a:lnTo>
                    <a:pt x="1675" y="759"/>
                  </a:lnTo>
                  <a:cubicBezTo>
                    <a:pt x="1674" y="759"/>
                    <a:pt x="1673" y="757"/>
                    <a:pt x="1674" y="756"/>
                  </a:cubicBezTo>
                  <a:cubicBezTo>
                    <a:pt x="1674" y="755"/>
                    <a:pt x="1676" y="754"/>
                    <a:pt x="1677" y="754"/>
                  </a:cubicBezTo>
                  <a:close/>
                  <a:moveTo>
                    <a:pt x="1736" y="772"/>
                  </a:moveTo>
                  <a:lnTo>
                    <a:pt x="1756" y="778"/>
                  </a:lnTo>
                  <a:lnTo>
                    <a:pt x="1770" y="781"/>
                  </a:lnTo>
                  <a:cubicBezTo>
                    <a:pt x="1772" y="782"/>
                    <a:pt x="1772" y="783"/>
                    <a:pt x="1772" y="784"/>
                  </a:cubicBezTo>
                  <a:cubicBezTo>
                    <a:pt x="1772" y="786"/>
                    <a:pt x="1770" y="787"/>
                    <a:pt x="1769" y="786"/>
                  </a:cubicBezTo>
                  <a:lnTo>
                    <a:pt x="1755" y="783"/>
                  </a:lnTo>
                  <a:lnTo>
                    <a:pt x="1734" y="777"/>
                  </a:lnTo>
                  <a:cubicBezTo>
                    <a:pt x="1733" y="776"/>
                    <a:pt x="1732" y="775"/>
                    <a:pt x="1733" y="774"/>
                  </a:cubicBezTo>
                  <a:cubicBezTo>
                    <a:pt x="1733" y="772"/>
                    <a:pt x="1734" y="772"/>
                    <a:pt x="1736" y="772"/>
                  </a:cubicBezTo>
                  <a:close/>
                  <a:moveTo>
                    <a:pt x="1795" y="787"/>
                  </a:moveTo>
                  <a:lnTo>
                    <a:pt x="1830" y="796"/>
                  </a:lnTo>
                  <a:cubicBezTo>
                    <a:pt x="1831" y="796"/>
                    <a:pt x="1832" y="798"/>
                    <a:pt x="1832" y="799"/>
                  </a:cubicBezTo>
                  <a:cubicBezTo>
                    <a:pt x="1831" y="800"/>
                    <a:pt x="1830" y="801"/>
                    <a:pt x="1829" y="801"/>
                  </a:cubicBezTo>
                  <a:lnTo>
                    <a:pt x="1794" y="792"/>
                  </a:lnTo>
                  <a:cubicBezTo>
                    <a:pt x="1792" y="792"/>
                    <a:pt x="1792" y="791"/>
                    <a:pt x="1792" y="789"/>
                  </a:cubicBezTo>
                  <a:cubicBezTo>
                    <a:pt x="1792" y="788"/>
                    <a:pt x="1794" y="787"/>
                    <a:pt x="1795" y="787"/>
                  </a:cubicBezTo>
                  <a:close/>
                  <a:moveTo>
                    <a:pt x="1855" y="802"/>
                  </a:moveTo>
                  <a:lnTo>
                    <a:pt x="1890" y="810"/>
                  </a:lnTo>
                  <a:cubicBezTo>
                    <a:pt x="1891" y="811"/>
                    <a:pt x="1892" y="812"/>
                    <a:pt x="1891" y="813"/>
                  </a:cubicBezTo>
                  <a:cubicBezTo>
                    <a:pt x="1891" y="815"/>
                    <a:pt x="1890" y="816"/>
                    <a:pt x="1888" y="815"/>
                  </a:cubicBezTo>
                  <a:lnTo>
                    <a:pt x="1854" y="807"/>
                  </a:lnTo>
                  <a:cubicBezTo>
                    <a:pt x="1852" y="806"/>
                    <a:pt x="1851" y="805"/>
                    <a:pt x="1852" y="804"/>
                  </a:cubicBezTo>
                  <a:cubicBezTo>
                    <a:pt x="1852" y="802"/>
                    <a:pt x="1853" y="802"/>
                    <a:pt x="1855" y="802"/>
                  </a:cubicBezTo>
                  <a:close/>
                  <a:moveTo>
                    <a:pt x="1914" y="816"/>
                  </a:moveTo>
                  <a:lnTo>
                    <a:pt x="1942" y="823"/>
                  </a:lnTo>
                  <a:lnTo>
                    <a:pt x="1949" y="825"/>
                  </a:lnTo>
                  <a:cubicBezTo>
                    <a:pt x="1951" y="825"/>
                    <a:pt x="1952" y="826"/>
                    <a:pt x="1951" y="828"/>
                  </a:cubicBezTo>
                  <a:cubicBezTo>
                    <a:pt x="1951" y="829"/>
                    <a:pt x="1950" y="830"/>
                    <a:pt x="1948" y="830"/>
                  </a:cubicBezTo>
                  <a:lnTo>
                    <a:pt x="1941" y="828"/>
                  </a:lnTo>
                  <a:lnTo>
                    <a:pt x="1913" y="821"/>
                  </a:lnTo>
                  <a:cubicBezTo>
                    <a:pt x="1912" y="821"/>
                    <a:pt x="1911" y="820"/>
                    <a:pt x="1911" y="818"/>
                  </a:cubicBezTo>
                  <a:cubicBezTo>
                    <a:pt x="1912" y="817"/>
                    <a:pt x="1913" y="816"/>
                    <a:pt x="1914" y="816"/>
                  </a:cubicBezTo>
                  <a:close/>
                  <a:moveTo>
                    <a:pt x="1974" y="830"/>
                  </a:moveTo>
                  <a:lnTo>
                    <a:pt x="2009" y="837"/>
                  </a:lnTo>
                  <a:cubicBezTo>
                    <a:pt x="2011" y="838"/>
                    <a:pt x="2012" y="839"/>
                    <a:pt x="2011" y="840"/>
                  </a:cubicBezTo>
                  <a:cubicBezTo>
                    <a:pt x="2011" y="842"/>
                    <a:pt x="2010" y="843"/>
                    <a:pt x="2008" y="842"/>
                  </a:cubicBezTo>
                  <a:lnTo>
                    <a:pt x="1973" y="835"/>
                  </a:lnTo>
                  <a:cubicBezTo>
                    <a:pt x="1972" y="835"/>
                    <a:pt x="1971" y="833"/>
                    <a:pt x="1971" y="832"/>
                  </a:cubicBezTo>
                  <a:cubicBezTo>
                    <a:pt x="1972" y="830"/>
                    <a:pt x="1973" y="830"/>
                    <a:pt x="1974" y="830"/>
                  </a:cubicBezTo>
                  <a:close/>
                  <a:moveTo>
                    <a:pt x="2034" y="843"/>
                  </a:moveTo>
                  <a:lnTo>
                    <a:pt x="2069" y="850"/>
                  </a:lnTo>
                  <a:cubicBezTo>
                    <a:pt x="2071" y="850"/>
                    <a:pt x="2072" y="852"/>
                    <a:pt x="2071" y="853"/>
                  </a:cubicBezTo>
                  <a:cubicBezTo>
                    <a:pt x="2071" y="854"/>
                    <a:pt x="2070" y="855"/>
                    <a:pt x="2068" y="855"/>
                  </a:cubicBezTo>
                  <a:lnTo>
                    <a:pt x="2033" y="848"/>
                  </a:lnTo>
                  <a:cubicBezTo>
                    <a:pt x="2032" y="847"/>
                    <a:pt x="2031" y="846"/>
                    <a:pt x="2031" y="844"/>
                  </a:cubicBezTo>
                  <a:cubicBezTo>
                    <a:pt x="2032" y="843"/>
                    <a:pt x="2033" y="842"/>
                    <a:pt x="2034" y="843"/>
                  </a:cubicBezTo>
                  <a:close/>
                  <a:moveTo>
                    <a:pt x="2095" y="855"/>
                  </a:moveTo>
                  <a:lnTo>
                    <a:pt x="2130" y="863"/>
                  </a:lnTo>
                  <a:cubicBezTo>
                    <a:pt x="2131" y="863"/>
                    <a:pt x="2132" y="864"/>
                    <a:pt x="2132" y="866"/>
                  </a:cubicBezTo>
                  <a:cubicBezTo>
                    <a:pt x="2131" y="867"/>
                    <a:pt x="2130" y="868"/>
                    <a:pt x="2129" y="868"/>
                  </a:cubicBezTo>
                  <a:lnTo>
                    <a:pt x="2093" y="860"/>
                  </a:lnTo>
                  <a:cubicBezTo>
                    <a:pt x="2092" y="860"/>
                    <a:pt x="2091" y="859"/>
                    <a:pt x="2091" y="857"/>
                  </a:cubicBezTo>
                  <a:cubicBezTo>
                    <a:pt x="2092" y="856"/>
                    <a:pt x="2093" y="855"/>
                    <a:pt x="2095" y="855"/>
                  </a:cubicBezTo>
                  <a:close/>
                  <a:moveTo>
                    <a:pt x="2155" y="867"/>
                  </a:moveTo>
                  <a:lnTo>
                    <a:pt x="2190" y="874"/>
                  </a:lnTo>
                  <a:cubicBezTo>
                    <a:pt x="2191" y="874"/>
                    <a:pt x="2192" y="875"/>
                    <a:pt x="2192" y="877"/>
                  </a:cubicBezTo>
                  <a:cubicBezTo>
                    <a:pt x="2192" y="878"/>
                    <a:pt x="2190" y="879"/>
                    <a:pt x="2189" y="879"/>
                  </a:cubicBezTo>
                  <a:lnTo>
                    <a:pt x="2154" y="872"/>
                  </a:lnTo>
                  <a:cubicBezTo>
                    <a:pt x="2152" y="872"/>
                    <a:pt x="2151" y="871"/>
                    <a:pt x="2152" y="869"/>
                  </a:cubicBezTo>
                  <a:cubicBezTo>
                    <a:pt x="2152" y="868"/>
                    <a:pt x="2153" y="867"/>
                    <a:pt x="2155" y="867"/>
                  </a:cubicBezTo>
                  <a:close/>
                  <a:moveTo>
                    <a:pt x="2215" y="878"/>
                  </a:moveTo>
                  <a:lnTo>
                    <a:pt x="2250" y="884"/>
                  </a:lnTo>
                  <a:cubicBezTo>
                    <a:pt x="2252" y="885"/>
                    <a:pt x="2253" y="886"/>
                    <a:pt x="2252" y="887"/>
                  </a:cubicBezTo>
                  <a:cubicBezTo>
                    <a:pt x="2252" y="889"/>
                    <a:pt x="2251" y="890"/>
                    <a:pt x="2250" y="889"/>
                  </a:cubicBezTo>
                  <a:lnTo>
                    <a:pt x="2214" y="883"/>
                  </a:lnTo>
                  <a:cubicBezTo>
                    <a:pt x="2213" y="883"/>
                    <a:pt x="2212" y="882"/>
                    <a:pt x="2212" y="880"/>
                  </a:cubicBezTo>
                  <a:cubicBezTo>
                    <a:pt x="2212" y="879"/>
                    <a:pt x="2214" y="878"/>
                    <a:pt x="2215" y="878"/>
                  </a:cubicBezTo>
                  <a:close/>
                  <a:moveTo>
                    <a:pt x="2276" y="889"/>
                  </a:moveTo>
                  <a:lnTo>
                    <a:pt x="2311" y="895"/>
                  </a:lnTo>
                  <a:cubicBezTo>
                    <a:pt x="2312" y="896"/>
                    <a:pt x="2313" y="897"/>
                    <a:pt x="2313" y="898"/>
                  </a:cubicBezTo>
                  <a:cubicBezTo>
                    <a:pt x="2313" y="900"/>
                    <a:pt x="2311" y="901"/>
                    <a:pt x="2310" y="900"/>
                  </a:cubicBezTo>
                  <a:lnTo>
                    <a:pt x="2275" y="894"/>
                  </a:lnTo>
                  <a:cubicBezTo>
                    <a:pt x="2273" y="894"/>
                    <a:pt x="2272" y="892"/>
                    <a:pt x="2273" y="891"/>
                  </a:cubicBezTo>
                  <a:cubicBezTo>
                    <a:pt x="2273" y="890"/>
                    <a:pt x="2274" y="889"/>
                    <a:pt x="2276" y="889"/>
                  </a:cubicBezTo>
                  <a:close/>
                  <a:moveTo>
                    <a:pt x="2336" y="899"/>
                  </a:moveTo>
                  <a:lnTo>
                    <a:pt x="2372" y="905"/>
                  </a:lnTo>
                  <a:cubicBezTo>
                    <a:pt x="2373" y="905"/>
                    <a:pt x="2374" y="906"/>
                    <a:pt x="2374" y="907"/>
                  </a:cubicBezTo>
                  <a:cubicBezTo>
                    <a:pt x="2373" y="909"/>
                    <a:pt x="2372" y="910"/>
                    <a:pt x="2371" y="910"/>
                  </a:cubicBezTo>
                  <a:lnTo>
                    <a:pt x="2335" y="904"/>
                  </a:lnTo>
                  <a:cubicBezTo>
                    <a:pt x="2334" y="904"/>
                    <a:pt x="2333" y="903"/>
                    <a:pt x="2333" y="901"/>
                  </a:cubicBezTo>
                  <a:cubicBezTo>
                    <a:pt x="2333" y="900"/>
                    <a:pt x="2335" y="899"/>
                    <a:pt x="2336" y="899"/>
                  </a:cubicBezTo>
                  <a:close/>
                  <a:moveTo>
                    <a:pt x="2397" y="908"/>
                  </a:moveTo>
                  <a:lnTo>
                    <a:pt x="2432" y="913"/>
                  </a:lnTo>
                  <a:cubicBezTo>
                    <a:pt x="2434" y="914"/>
                    <a:pt x="2435" y="915"/>
                    <a:pt x="2434" y="916"/>
                  </a:cubicBezTo>
                  <a:cubicBezTo>
                    <a:pt x="2434" y="918"/>
                    <a:pt x="2433" y="919"/>
                    <a:pt x="2432" y="918"/>
                  </a:cubicBezTo>
                  <a:lnTo>
                    <a:pt x="2396" y="913"/>
                  </a:lnTo>
                  <a:cubicBezTo>
                    <a:pt x="2395" y="913"/>
                    <a:pt x="2394" y="912"/>
                    <a:pt x="2394" y="910"/>
                  </a:cubicBezTo>
                  <a:cubicBezTo>
                    <a:pt x="2394" y="909"/>
                    <a:pt x="2395" y="908"/>
                    <a:pt x="2397" y="908"/>
                  </a:cubicBezTo>
                  <a:close/>
                  <a:moveTo>
                    <a:pt x="2458" y="917"/>
                  </a:moveTo>
                  <a:lnTo>
                    <a:pt x="2493" y="922"/>
                  </a:lnTo>
                  <a:cubicBezTo>
                    <a:pt x="2495" y="923"/>
                    <a:pt x="2495" y="924"/>
                    <a:pt x="2495" y="925"/>
                  </a:cubicBezTo>
                  <a:cubicBezTo>
                    <a:pt x="2495" y="927"/>
                    <a:pt x="2494" y="928"/>
                    <a:pt x="2492" y="927"/>
                  </a:cubicBezTo>
                  <a:lnTo>
                    <a:pt x="2457" y="922"/>
                  </a:lnTo>
                  <a:cubicBezTo>
                    <a:pt x="2456" y="922"/>
                    <a:pt x="2455" y="921"/>
                    <a:pt x="2455" y="919"/>
                  </a:cubicBezTo>
                  <a:cubicBezTo>
                    <a:pt x="2455" y="918"/>
                    <a:pt x="2456" y="917"/>
                    <a:pt x="2458" y="917"/>
                  </a:cubicBezTo>
                  <a:close/>
                  <a:moveTo>
                    <a:pt x="2518" y="926"/>
                  </a:moveTo>
                  <a:lnTo>
                    <a:pt x="2554" y="930"/>
                  </a:lnTo>
                  <a:cubicBezTo>
                    <a:pt x="2555" y="930"/>
                    <a:pt x="2556" y="931"/>
                    <a:pt x="2556" y="933"/>
                  </a:cubicBezTo>
                  <a:cubicBezTo>
                    <a:pt x="2556" y="934"/>
                    <a:pt x="2555" y="935"/>
                    <a:pt x="2553" y="935"/>
                  </a:cubicBezTo>
                  <a:lnTo>
                    <a:pt x="2518" y="931"/>
                  </a:lnTo>
                  <a:cubicBezTo>
                    <a:pt x="2516" y="931"/>
                    <a:pt x="2515" y="929"/>
                    <a:pt x="2516" y="928"/>
                  </a:cubicBezTo>
                  <a:cubicBezTo>
                    <a:pt x="2516" y="927"/>
                    <a:pt x="2517" y="926"/>
                    <a:pt x="2518" y="926"/>
                  </a:cubicBezTo>
                  <a:close/>
                  <a:moveTo>
                    <a:pt x="2579" y="933"/>
                  </a:moveTo>
                  <a:lnTo>
                    <a:pt x="2615" y="937"/>
                  </a:lnTo>
                  <a:cubicBezTo>
                    <a:pt x="2616" y="937"/>
                    <a:pt x="2617" y="938"/>
                    <a:pt x="2617" y="940"/>
                  </a:cubicBezTo>
                  <a:cubicBezTo>
                    <a:pt x="2617" y="941"/>
                    <a:pt x="2616" y="942"/>
                    <a:pt x="2614" y="942"/>
                  </a:cubicBezTo>
                  <a:lnTo>
                    <a:pt x="2579" y="938"/>
                  </a:lnTo>
                  <a:cubicBezTo>
                    <a:pt x="2577" y="938"/>
                    <a:pt x="2576" y="936"/>
                    <a:pt x="2577" y="935"/>
                  </a:cubicBezTo>
                  <a:cubicBezTo>
                    <a:pt x="2577" y="934"/>
                    <a:pt x="2578" y="933"/>
                    <a:pt x="2579" y="933"/>
                  </a:cubicBezTo>
                  <a:close/>
                  <a:moveTo>
                    <a:pt x="2640" y="940"/>
                  </a:moveTo>
                  <a:lnTo>
                    <a:pt x="2676" y="944"/>
                  </a:lnTo>
                  <a:cubicBezTo>
                    <a:pt x="2677" y="944"/>
                    <a:pt x="2678" y="945"/>
                    <a:pt x="2678" y="947"/>
                  </a:cubicBezTo>
                  <a:cubicBezTo>
                    <a:pt x="2678" y="948"/>
                    <a:pt x="2677" y="949"/>
                    <a:pt x="2675" y="949"/>
                  </a:cubicBezTo>
                  <a:lnTo>
                    <a:pt x="2640" y="945"/>
                  </a:lnTo>
                  <a:cubicBezTo>
                    <a:pt x="2638" y="945"/>
                    <a:pt x="2637" y="943"/>
                    <a:pt x="2638" y="942"/>
                  </a:cubicBezTo>
                  <a:cubicBezTo>
                    <a:pt x="2638" y="941"/>
                    <a:pt x="2639" y="940"/>
                    <a:pt x="2640" y="940"/>
                  </a:cubicBezTo>
                  <a:close/>
                  <a:moveTo>
                    <a:pt x="2701" y="947"/>
                  </a:moveTo>
                  <a:lnTo>
                    <a:pt x="2703" y="947"/>
                  </a:lnTo>
                  <a:lnTo>
                    <a:pt x="2737" y="950"/>
                  </a:lnTo>
                  <a:cubicBezTo>
                    <a:pt x="2739" y="950"/>
                    <a:pt x="2740" y="951"/>
                    <a:pt x="2739" y="952"/>
                  </a:cubicBezTo>
                  <a:cubicBezTo>
                    <a:pt x="2739" y="954"/>
                    <a:pt x="2738" y="955"/>
                    <a:pt x="2737" y="955"/>
                  </a:cubicBezTo>
                  <a:lnTo>
                    <a:pt x="2702" y="952"/>
                  </a:lnTo>
                  <a:lnTo>
                    <a:pt x="2701" y="952"/>
                  </a:lnTo>
                  <a:cubicBezTo>
                    <a:pt x="2699" y="952"/>
                    <a:pt x="2698" y="950"/>
                    <a:pt x="2699" y="949"/>
                  </a:cubicBezTo>
                  <a:cubicBezTo>
                    <a:pt x="2699" y="948"/>
                    <a:pt x="2700" y="947"/>
                    <a:pt x="2701" y="947"/>
                  </a:cubicBezTo>
                  <a:close/>
                  <a:moveTo>
                    <a:pt x="2763" y="952"/>
                  </a:moveTo>
                  <a:lnTo>
                    <a:pt x="2798" y="954"/>
                  </a:lnTo>
                  <a:cubicBezTo>
                    <a:pt x="2800" y="954"/>
                    <a:pt x="2801" y="956"/>
                    <a:pt x="2801" y="957"/>
                  </a:cubicBezTo>
                  <a:cubicBezTo>
                    <a:pt x="2801" y="959"/>
                    <a:pt x="2799" y="960"/>
                    <a:pt x="2798" y="959"/>
                  </a:cubicBezTo>
                  <a:lnTo>
                    <a:pt x="2762" y="957"/>
                  </a:lnTo>
                  <a:cubicBezTo>
                    <a:pt x="2761" y="957"/>
                    <a:pt x="2760" y="955"/>
                    <a:pt x="2760" y="954"/>
                  </a:cubicBezTo>
                  <a:cubicBezTo>
                    <a:pt x="2760" y="953"/>
                    <a:pt x="2761" y="951"/>
                    <a:pt x="2763" y="952"/>
                  </a:cubicBezTo>
                  <a:close/>
                  <a:moveTo>
                    <a:pt x="2824" y="956"/>
                  </a:moveTo>
                  <a:lnTo>
                    <a:pt x="2860" y="959"/>
                  </a:lnTo>
                  <a:cubicBezTo>
                    <a:pt x="2861" y="959"/>
                    <a:pt x="2862" y="960"/>
                    <a:pt x="2862" y="962"/>
                  </a:cubicBezTo>
                  <a:cubicBezTo>
                    <a:pt x="2862" y="963"/>
                    <a:pt x="2861" y="964"/>
                    <a:pt x="2859" y="964"/>
                  </a:cubicBezTo>
                  <a:lnTo>
                    <a:pt x="2823" y="961"/>
                  </a:lnTo>
                  <a:cubicBezTo>
                    <a:pt x="2822" y="961"/>
                    <a:pt x="2821" y="960"/>
                    <a:pt x="2821" y="959"/>
                  </a:cubicBezTo>
                  <a:cubicBezTo>
                    <a:pt x="2821" y="957"/>
                    <a:pt x="2822" y="956"/>
                    <a:pt x="2824" y="956"/>
                  </a:cubicBezTo>
                  <a:close/>
                  <a:moveTo>
                    <a:pt x="2885" y="961"/>
                  </a:moveTo>
                  <a:lnTo>
                    <a:pt x="2896" y="962"/>
                  </a:lnTo>
                  <a:cubicBezTo>
                    <a:pt x="2897" y="962"/>
                    <a:pt x="2898" y="963"/>
                    <a:pt x="2898" y="965"/>
                  </a:cubicBezTo>
                  <a:cubicBezTo>
                    <a:pt x="2898" y="966"/>
                    <a:pt x="2897" y="967"/>
                    <a:pt x="2895" y="967"/>
                  </a:cubicBezTo>
                  <a:lnTo>
                    <a:pt x="2885" y="966"/>
                  </a:lnTo>
                  <a:cubicBezTo>
                    <a:pt x="2883" y="966"/>
                    <a:pt x="2882" y="965"/>
                    <a:pt x="2882" y="963"/>
                  </a:cubicBezTo>
                  <a:cubicBezTo>
                    <a:pt x="2882" y="962"/>
                    <a:pt x="2884" y="961"/>
                    <a:pt x="2885" y="961"/>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21">
              <a:extLst>
                <a:ext uri="{FF2B5EF4-FFF2-40B4-BE49-F238E27FC236}">
                  <a16:creationId xmlns:a16="http://schemas.microsoft.com/office/drawing/2014/main" id="{37F1B7AF-4F87-49CE-A6A9-84AA374B41FB}"/>
                </a:ext>
              </a:extLst>
            </p:cNvPr>
            <p:cNvSpPr>
              <a:spLocks/>
            </p:cNvSpPr>
            <p:nvPr/>
          </p:nvSpPr>
          <p:spPr bwMode="auto">
            <a:xfrm>
              <a:off x="3842" y="2798"/>
              <a:ext cx="54" cy="53"/>
            </a:xfrm>
            <a:custGeom>
              <a:avLst/>
              <a:gdLst>
                <a:gd name="T0" fmla="*/ 2 w 54"/>
                <a:gd name="T1" fmla="*/ 0 h 53"/>
                <a:gd name="T2" fmla="*/ 54 w 54"/>
                <a:gd name="T3" fmla="*/ 29 h 53"/>
                <a:gd name="T4" fmla="*/ 0 w 54"/>
                <a:gd name="T5" fmla="*/ 53 h 53"/>
                <a:gd name="T6" fmla="*/ 2 w 54"/>
                <a:gd name="T7" fmla="*/ 0 h 53"/>
              </a:gdLst>
              <a:ahLst/>
              <a:cxnLst>
                <a:cxn ang="0">
                  <a:pos x="T0" y="T1"/>
                </a:cxn>
                <a:cxn ang="0">
                  <a:pos x="T2" y="T3"/>
                </a:cxn>
                <a:cxn ang="0">
                  <a:pos x="T4" y="T5"/>
                </a:cxn>
                <a:cxn ang="0">
                  <a:pos x="T6" y="T7"/>
                </a:cxn>
              </a:cxnLst>
              <a:rect l="0" t="0" r="r" b="b"/>
              <a:pathLst>
                <a:path w="54" h="53">
                  <a:moveTo>
                    <a:pt x="2" y="0"/>
                  </a:moveTo>
                  <a:lnTo>
                    <a:pt x="54" y="29"/>
                  </a:lnTo>
                  <a:lnTo>
                    <a:pt x="0" y="53"/>
                  </a:lnTo>
                  <a:lnTo>
                    <a:pt x="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122">
              <a:extLst>
                <a:ext uri="{FF2B5EF4-FFF2-40B4-BE49-F238E27FC236}">
                  <a16:creationId xmlns:a16="http://schemas.microsoft.com/office/drawing/2014/main" id="{E42A44BD-1364-4C19-913D-ADE5DE9124FB}"/>
                </a:ext>
              </a:extLst>
            </p:cNvPr>
            <p:cNvSpPr>
              <a:spLocks noChangeArrowheads="1"/>
            </p:cNvSpPr>
            <p:nvPr/>
          </p:nvSpPr>
          <p:spPr bwMode="auto">
            <a:xfrm>
              <a:off x="3018" y="2666"/>
              <a:ext cx="358" cy="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23">
              <a:extLst>
                <a:ext uri="{FF2B5EF4-FFF2-40B4-BE49-F238E27FC236}">
                  <a16:creationId xmlns:a16="http://schemas.microsoft.com/office/drawing/2014/main" id="{0A124E1D-1CCC-443F-9AA5-046AF9CB4B4B}"/>
                </a:ext>
              </a:extLst>
            </p:cNvPr>
            <p:cNvSpPr>
              <a:spLocks noEditPoints="1"/>
            </p:cNvSpPr>
            <p:nvPr/>
          </p:nvSpPr>
          <p:spPr bwMode="auto">
            <a:xfrm>
              <a:off x="3020" y="2679"/>
              <a:ext cx="352" cy="49"/>
            </a:xfrm>
            <a:custGeom>
              <a:avLst/>
              <a:gdLst>
                <a:gd name="T0" fmla="*/ 20 w 786"/>
                <a:gd name="T1" fmla="*/ 85 h 109"/>
                <a:gd name="T2" fmla="*/ 54 w 786"/>
                <a:gd name="T3" fmla="*/ 9 h 109"/>
                <a:gd name="T4" fmla="*/ 54 w 786"/>
                <a:gd name="T5" fmla="*/ 21 h 109"/>
                <a:gd name="T6" fmla="*/ 26 w 786"/>
                <a:gd name="T7" fmla="*/ 76 h 109"/>
                <a:gd name="T8" fmla="*/ 116 w 786"/>
                <a:gd name="T9" fmla="*/ 85 h 109"/>
                <a:gd name="T10" fmla="*/ 105 w 786"/>
                <a:gd name="T11" fmla="*/ 44 h 109"/>
                <a:gd name="T12" fmla="*/ 73 w 786"/>
                <a:gd name="T13" fmla="*/ 87 h 109"/>
                <a:gd name="T14" fmla="*/ 76 w 786"/>
                <a:gd name="T15" fmla="*/ 0 h 109"/>
                <a:gd name="T16" fmla="*/ 116 w 786"/>
                <a:gd name="T17" fmla="*/ 51 h 109"/>
                <a:gd name="T18" fmla="*/ 157 w 786"/>
                <a:gd name="T19" fmla="*/ 86 h 109"/>
                <a:gd name="T20" fmla="*/ 164 w 786"/>
                <a:gd name="T21" fmla="*/ 52 h 109"/>
                <a:gd name="T22" fmla="*/ 132 w 786"/>
                <a:gd name="T23" fmla="*/ 40 h 109"/>
                <a:gd name="T24" fmla="*/ 162 w 786"/>
                <a:gd name="T25" fmla="*/ 27 h 109"/>
                <a:gd name="T26" fmla="*/ 139 w 786"/>
                <a:gd name="T27" fmla="*/ 70 h 109"/>
                <a:gd name="T28" fmla="*/ 239 w 786"/>
                <a:gd name="T29" fmla="*/ 87 h 109"/>
                <a:gd name="T30" fmla="*/ 214 w 786"/>
                <a:gd name="T31" fmla="*/ 38 h 109"/>
                <a:gd name="T32" fmla="*/ 196 w 786"/>
                <a:gd name="T33" fmla="*/ 85 h 109"/>
                <a:gd name="T34" fmla="*/ 205 w 786"/>
                <a:gd name="T35" fmla="*/ 36 h 109"/>
                <a:gd name="T36" fmla="*/ 321 w 786"/>
                <a:gd name="T37" fmla="*/ 36 h 109"/>
                <a:gd name="T38" fmla="*/ 282 w 786"/>
                <a:gd name="T39" fmla="*/ 66 h 109"/>
                <a:gd name="T40" fmla="*/ 316 w 786"/>
                <a:gd name="T41" fmla="*/ 104 h 109"/>
                <a:gd name="T42" fmla="*/ 278 w 786"/>
                <a:gd name="T43" fmla="*/ 80 h 109"/>
                <a:gd name="T44" fmla="*/ 295 w 786"/>
                <a:gd name="T45" fmla="*/ 26 h 109"/>
                <a:gd name="T46" fmla="*/ 286 w 786"/>
                <a:gd name="T47" fmla="*/ 38 h 109"/>
                <a:gd name="T48" fmla="*/ 309 w 786"/>
                <a:gd name="T49" fmla="*/ 85 h 109"/>
                <a:gd name="T50" fmla="*/ 308 w 786"/>
                <a:gd name="T51" fmla="*/ 98 h 109"/>
                <a:gd name="T52" fmla="*/ 349 w 786"/>
                <a:gd name="T53" fmla="*/ 79 h 109"/>
                <a:gd name="T54" fmla="*/ 369 w 786"/>
                <a:gd name="T55" fmla="*/ 82 h 109"/>
                <a:gd name="T56" fmla="*/ 320 w 786"/>
                <a:gd name="T57" fmla="*/ 57 h 109"/>
                <a:gd name="T58" fmla="*/ 362 w 786"/>
                <a:gd name="T59" fmla="*/ 51 h 109"/>
                <a:gd name="T60" fmla="*/ 466 w 786"/>
                <a:gd name="T61" fmla="*/ 98 h 109"/>
                <a:gd name="T62" fmla="*/ 393 w 786"/>
                <a:gd name="T63" fmla="*/ 77 h 109"/>
                <a:gd name="T64" fmla="*/ 457 w 786"/>
                <a:gd name="T65" fmla="*/ 45 h 109"/>
                <a:gd name="T66" fmla="*/ 467 w 786"/>
                <a:gd name="T67" fmla="*/ 94 h 109"/>
                <a:gd name="T68" fmla="*/ 397 w 786"/>
                <a:gd name="T69" fmla="*/ 59 h 109"/>
                <a:gd name="T70" fmla="*/ 531 w 786"/>
                <a:gd name="T71" fmla="*/ 87 h 109"/>
                <a:gd name="T72" fmla="*/ 494 w 786"/>
                <a:gd name="T73" fmla="*/ 86 h 109"/>
                <a:gd name="T74" fmla="*/ 493 w 786"/>
                <a:gd name="T75" fmla="*/ 27 h 109"/>
                <a:gd name="T76" fmla="*/ 522 w 786"/>
                <a:gd name="T77" fmla="*/ 29 h 109"/>
                <a:gd name="T78" fmla="*/ 590 w 786"/>
                <a:gd name="T79" fmla="*/ 85 h 109"/>
                <a:gd name="T80" fmla="*/ 556 w 786"/>
                <a:gd name="T81" fmla="*/ 87 h 109"/>
                <a:gd name="T82" fmla="*/ 579 w 786"/>
                <a:gd name="T83" fmla="*/ 42 h 109"/>
                <a:gd name="T84" fmla="*/ 547 w 786"/>
                <a:gd name="T85" fmla="*/ 38 h 109"/>
                <a:gd name="T86" fmla="*/ 589 w 786"/>
                <a:gd name="T87" fmla="*/ 38 h 109"/>
                <a:gd name="T88" fmla="*/ 565 w 786"/>
                <a:gd name="T89" fmla="*/ 80 h 109"/>
                <a:gd name="T90" fmla="*/ 651 w 786"/>
                <a:gd name="T91" fmla="*/ 87 h 109"/>
                <a:gd name="T92" fmla="*/ 622 w 786"/>
                <a:gd name="T93" fmla="*/ 85 h 109"/>
                <a:gd name="T94" fmla="*/ 612 w 786"/>
                <a:gd name="T95" fmla="*/ 28 h 109"/>
                <a:gd name="T96" fmla="*/ 640 w 786"/>
                <a:gd name="T97" fmla="*/ 26 h 109"/>
                <a:gd name="T98" fmla="*/ 681 w 786"/>
                <a:gd name="T99" fmla="*/ 87 h 109"/>
                <a:gd name="T100" fmla="*/ 684 w 786"/>
                <a:gd name="T101" fmla="*/ 27 h 109"/>
                <a:gd name="T102" fmla="*/ 676 w 786"/>
                <a:gd name="T103" fmla="*/ 5 h 109"/>
                <a:gd name="T104" fmla="*/ 727 w 786"/>
                <a:gd name="T105" fmla="*/ 88 h 109"/>
                <a:gd name="T106" fmla="*/ 701 w 786"/>
                <a:gd name="T107" fmla="*/ 28 h 109"/>
                <a:gd name="T108" fmla="*/ 720 w 786"/>
                <a:gd name="T109" fmla="*/ 12 h 109"/>
                <a:gd name="T110" fmla="*/ 735 w 786"/>
                <a:gd name="T111" fmla="*/ 36 h 109"/>
                <a:gd name="T112" fmla="*/ 737 w 786"/>
                <a:gd name="T113" fmla="*/ 78 h 109"/>
                <a:gd name="T114" fmla="*/ 747 w 786"/>
                <a:gd name="T115" fmla="*/ 106 h 109"/>
                <a:gd name="T116" fmla="*/ 742 w 786"/>
                <a:gd name="T117" fmla="*/ 27 h 109"/>
                <a:gd name="T118" fmla="*/ 786 w 786"/>
                <a:gd name="T119"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6" h="109">
                  <a:moveTo>
                    <a:pt x="59" y="75"/>
                  </a:moveTo>
                  <a:cubicBezTo>
                    <a:pt x="59" y="76"/>
                    <a:pt x="59" y="76"/>
                    <a:pt x="59" y="77"/>
                  </a:cubicBezTo>
                  <a:cubicBezTo>
                    <a:pt x="59" y="77"/>
                    <a:pt x="59" y="78"/>
                    <a:pt x="59" y="78"/>
                  </a:cubicBezTo>
                  <a:cubicBezTo>
                    <a:pt x="59" y="79"/>
                    <a:pt x="59" y="79"/>
                    <a:pt x="58" y="79"/>
                  </a:cubicBezTo>
                  <a:cubicBezTo>
                    <a:pt x="58" y="80"/>
                    <a:pt x="58" y="80"/>
                    <a:pt x="58" y="80"/>
                  </a:cubicBezTo>
                  <a:cubicBezTo>
                    <a:pt x="57" y="81"/>
                    <a:pt x="56" y="81"/>
                    <a:pt x="55" y="82"/>
                  </a:cubicBezTo>
                  <a:cubicBezTo>
                    <a:pt x="54" y="83"/>
                    <a:pt x="52" y="84"/>
                    <a:pt x="50" y="85"/>
                  </a:cubicBezTo>
                  <a:cubicBezTo>
                    <a:pt x="48" y="86"/>
                    <a:pt x="46" y="86"/>
                    <a:pt x="43" y="87"/>
                  </a:cubicBezTo>
                  <a:cubicBezTo>
                    <a:pt x="41" y="87"/>
                    <a:pt x="38" y="88"/>
                    <a:pt x="35" y="88"/>
                  </a:cubicBezTo>
                  <a:cubicBezTo>
                    <a:pt x="29" y="88"/>
                    <a:pt x="25" y="87"/>
                    <a:pt x="20" y="85"/>
                  </a:cubicBezTo>
                  <a:cubicBezTo>
                    <a:pt x="16" y="83"/>
                    <a:pt x="13" y="81"/>
                    <a:pt x="10" y="77"/>
                  </a:cubicBezTo>
                  <a:cubicBezTo>
                    <a:pt x="7" y="74"/>
                    <a:pt x="4" y="70"/>
                    <a:pt x="3" y="65"/>
                  </a:cubicBezTo>
                  <a:cubicBezTo>
                    <a:pt x="1" y="60"/>
                    <a:pt x="0" y="54"/>
                    <a:pt x="0" y="47"/>
                  </a:cubicBezTo>
                  <a:cubicBezTo>
                    <a:pt x="0" y="41"/>
                    <a:pt x="1" y="35"/>
                    <a:pt x="3" y="29"/>
                  </a:cubicBezTo>
                  <a:cubicBezTo>
                    <a:pt x="5" y="24"/>
                    <a:pt x="7" y="20"/>
                    <a:pt x="10" y="16"/>
                  </a:cubicBezTo>
                  <a:cubicBezTo>
                    <a:pt x="13" y="12"/>
                    <a:pt x="17" y="10"/>
                    <a:pt x="21" y="8"/>
                  </a:cubicBezTo>
                  <a:cubicBezTo>
                    <a:pt x="26" y="6"/>
                    <a:pt x="31" y="5"/>
                    <a:pt x="36" y="5"/>
                  </a:cubicBezTo>
                  <a:cubicBezTo>
                    <a:pt x="38" y="5"/>
                    <a:pt x="41" y="5"/>
                    <a:pt x="43" y="5"/>
                  </a:cubicBezTo>
                  <a:cubicBezTo>
                    <a:pt x="45" y="6"/>
                    <a:pt x="47" y="6"/>
                    <a:pt x="49" y="7"/>
                  </a:cubicBezTo>
                  <a:cubicBezTo>
                    <a:pt x="51" y="8"/>
                    <a:pt x="52" y="9"/>
                    <a:pt x="54" y="9"/>
                  </a:cubicBezTo>
                  <a:cubicBezTo>
                    <a:pt x="55" y="10"/>
                    <a:pt x="56" y="11"/>
                    <a:pt x="57" y="12"/>
                  </a:cubicBezTo>
                  <a:cubicBezTo>
                    <a:pt x="57" y="12"/>
                    <a:pt x="58" y="13"/>
                    <a:pt x="58" y="13"/>
                  </a:cubicBezTo>
                  <a:cubicBezTo>
                    <a:pt x="58" y="13"/>
                    <a:pt x="58" y="13"/>
                    <a:pt x="58" y="14"/>
                  </a:cubicBezTo>
                  <a:cubicBezTo>
                    <a:pt x="59" y="14"/>
                    <a:pt x="59" y="15"/>
                    <a:pt x="59" y="15"/>
                  </a:cubicBezTo>
                  <a:cubicBezTo>
                    <a:pt x="59" y="16"/>
                    <a:pt x="59" y="16"/>
                    <a:pt x="59" y="17"/>
                  </a:cubicBezTo>
                  <a:cubicBezTo>
                    <a:pt x="59" y="18"/>
                    <a:pt x="59" y="19"/>
                    <a:pt x="59" y="19"/>
                  </a:cubicBezTo>
                  <a:cubicBezTo>
                    <a:pt x="59" y="20"/>
                    <a:pt x="58" y="20"/>
                    <a:pt x="58" y="21"/>
                  </a:cubicBezTo>
                  <a:cubicBezTo>
                    <a:pt x="58" y="21"/>
                    <a:pt x="58" y="22"/>
                    <a:pt x="58" y="22"/>
                  </a:cubicBezTo>
                  <a:cubicBezTo>
                    <a:pt x="57" y="22"/>
                    <a:pt x="57" y="22"/>
                    <a:pt x="57" y="22"/>
                  </a:cubicBezTo>
                  <a:cubicBezTo>
                    <a:pt x="56" y="22"/>
                    <a:pt x="55" y="22"/>
                    <a:pt x="54" y="21"/>
                  </a:cubicBezTo>
                  <a:cubicBezTo>
                    <a:pt x="53" y="20"/>
                    <a:pt x="52" y="19"/>
                    <a:pt x="50" y="18"/>
                  </a:cubicBezTo>
                  <a:cubicBezTo>
                    <a:pt x="49" y="17"/>
                    <a:pt x="47" y="16"/>
                    <a:pt x="44" y="15"/>
                  </a:cubicBezTo>
                  <a:cubicBezTo>
                    <a:pt x="42" y="15"/>
                    <a:pt x="39" y="14"/>
                    <a:pt x="36" y="14"/>
                  </a:cubicBezTo>
                  <a:cubicBezTo>
                    <a:pt x="32" y="14"/>
                    <a:pt x="29" y="15"/>
                    <a:pt x="26" y="16"/>
                  </a:cubicBezTo>
                  <a:cubicBezTo>
                    <a:pt x="23" y="18"/>
                    <a:pt x="20" y="20"/>
                    <a:pt x="18" y="23"/>
                  </a:cubicBezTo>
                  <a:cubicBezTo>
                    <a:pt x="16" y="25"/>
                    <a:pt x="15" y="29"/>
                    <a:pt x="13" y="33"/>
                  </a:cubicBezTo>
                  <a:cubicBezTo>
                    <a:pt x="12" y="37"/>
                    <a:pt x="12" y="42"/>
                    <a:pt x="12" y="47"/>
                  </a:cubicBezTo>
                  <a:cubicBezTo>
                    <a:pt x="12" y="52"/>
                    <a:pt x="12" y="56"/>
                    <a:pt x="13" y="60"/>
                  </a:cubicBezTo>
                  <a:cubicBezTo>
                    <a:pt x="15" y="64"/>
                    <a:pt x="16" y="67"/>
                    <a:pt x="18" y="70"/>
                  </a:cubicBezTo>
                  <a:cubicBezTo>
                    <a:pt x="20" y="73"/>
                    <a:pt x="23" y="75"/>
                    <a:pt x="26" y="76"/>
                  </a:cubicBezTo>
                  <a:cubicBezTo>
                    <a:pt x="29" y="77"/>
                    <a:pt x="32" y="78"/>
                    <a:pt x="36" y="78"/>
                  </a:cubicBezTo>
                  <a:cubicBezTo>
                    <a:pt x="39" y="78"/>
                    <a:pt x="42" y="78"/>
                    <a:pt x="45" y="77"/>
                  </a:cubicBezTo>
                  <a:cubicBezTo>
                    <a:pt x="47" y="76"/>
                    <a:pt x="49" y="75"/>
                    <a:pt x="51" y="74"/>
                  </a:cubicBezTo>
                  <a:cubicBezTo>
                    <a:pt x="52" y="73"/>
                    <a:pt x="54" y="72"/>
                    <a:pt x="55" y="72"/>
                  </a:cubicBezTo>
                  <a:cubicBezTo>
                    <a:pt x="56" y="71"/>
                    <a:pt x="57" y="70"/>
                    <a:pt x="57" y="70"/>
                  </a:cubicBezTo>
                  <a:cubicBezTo>
                    <a:pt x="58" y="70"/>
                    <a:pt x="58" y="71"/>
                    <a:pt x="58" y="71"/>
                  </a:cubicBezTo>
                  <a:cubicBezTo>
                    <a:pt x="58" y="71"/>
                    <a:pt x="59" y="71"/>
                    <a:pt x="59" y="71"/>
                  </a:cubicBezTo>
                  <a:cubicBezTo>
                    <a:pt x="59" y="72"/>
                    <a:pt x="59" y="72"/>
                    <a:pt x="59" y="73"/>
                  </a:cubicBezTo>
                  <a:cubicBezTo>
                    <a:pt x="59" y="73"/>
                    <a:pt x="59" y="74"/>
                    <a:pt x="59" y="75"/>
                  </a:cubicBezTo>
                  <a:close/>
                  <a:moveTo>
                    <a:pt x="116" y="85"/>
                  </a:moveTo>
                  <a:cubicBezTo>
                    <a:pt x="116" y="85"/>
                    <a:pt x="116" y="86"/>
                    <a:pt x="116" y="86"/>
                  </a:cubicBezTo>
                  <a:cubicBezTo>
                    <a:pt x="116" y="86"/>
                    <a:pt x="116" y="86"/>
                    <a:pt x="115" y="87"/>
                  </a:cubicBezTo>
                  <a:cubicBezTo>
                    <a:pt x="115" y="87"/>
                    <a:pt x="114" y="87"/>
                    <a:pt x="114" y="87"/>
                  </a:cubicBezTo>
                  <a:cubicBezTo>
                    <a:pt x="113" y="87"/>
                    <a:pt x="112" y="87"/>
                    <a:pt x="111" y="87"/>
                  </a:cubicBezTo>
                  <a:cubicBezTo>
                    <a:pt x="110" y="87"/>
                    <a:pt x="109" y="87"/>
                    <a:pt x="109" y="87"/>
                  </a:cubicBezTo>
                  <a:cubicBezTo>
                    <a:pt x="108" y="87"/>
                    <a:pt x="107" y="87"/>
                    <a:pt x="107" y="87"/>
                  </a:cubicBezTo>
                  <a:cubicBezTo>
                    <a:pt x="107" y="86"/>
                    <a:pt x="106" y="86"/>
                    <a:pt x="106" y="86"/>
                  </a:cubicBezTo>
                  <a:cubicBezTo>
                    <a:pt x="106" y="86"/>
                    <a:pt x="106" y="85"/>
                    <a:pt x="106" y="85"/>
                  </a:cubicBezTo>
                  <a:lnTo>
                    <a:pt x="106" y="52"/>
                  </a:lnTo>
                  <a:cubicBezTo>
                    <a:pt x="106" y="49"/>
                    <a:pt x="106" y="46"/>
                    <a:pt x="105" y="44"/>
                  </a:cubicBezTo>
                  <a:cubicBezTo>
                    <a:pt x="105" y="42"/>
                    <a:pt x="104" y="41"/>
                    <a:pt x="103" y="39"/>
                  </a:cubicBezTo>
                  <a:cubicBezTo>
                    <a:pt x="102" y="38"/>
                    <a:pt x="101" y="37"/>
                    <a:pt x="99" y="36"/>
                  </a:cubicBezTo>
                  <a:cubicBezTo>
                    <a:pt x="98" y="35"/>
                    <a:pt x="96" y="35"/>
                    <a:pt x="94" y="35"/>
                  </a:cubicBezTo>
                  <a:cubicBezTo>
                    <a:pt x="91" y="35"/>
                    <a:pt x="89" y="36"/>
                    <a:pt x="86" y="38"/>
                  </a:cubicBezTo>
                  <a:cubicBezTo>
                    <a:pt x="84" y="40"/>
                    <a:pt x="81" y="42"/>
                    <a:pt x="78" y="46"/>
                  </a:cubicBezTo>
                  <a:lnTo>
                    <a:pt x="78" y="85"/>
                  </a:lnTo>
                  <a:cubicBezTo>
                    <a:pt x="78" y="85"/>
                    <a:pt x="78" y="86"/>
                    <a:pt x="78" y="86"/>
                  </a:cubicBezTo>
                  <a:cubicBezTo>
                    <a:pt x="78" y="86"/>
                    <a:pt x="78" y="86"/>
                    <a:pt x="77" y="87"/>
                  </a:cubicBezTo>
                  <a:cubicBezTo>
                    <a:pt x="77" y="87"/>
                    <a:pt x="76" y="87"/>
                    <a:pt x="76" y="87"/>
                  </a:cubicBezTo>
                  <a:cubicBezTo>
                    <a:pt x="75" y="87"/>
                    <a:pt x="74" y="87"/>
                    <a:pt x="73" y="87"/>
                  </a:cubicBezTo>
                  <a:cubicBezTo>
                    <a:pt x="72" y="87"/>
                    <a:pt x="71" y="87"/>
                    <a:pt x="71" y="87"/>
                  </a:cubicBezTo>
                  <a:cubicBezTo>
                    <a:pt x="70" y="87"/>
                    <a:pt x="69" y="87"/>
                    <a:pt x="69" y="87"/>
                  </a:cubicBezTo>
                  <a:cubicBezTo>
                    <a:pt x="69" y="86"/>
                    <a:pt x="68" y="86"/>
                    <a:pt x="68" y="86"/>
                  </a:cubicBezTo>
                  <a:cubicBezTo>
                    <a:pt x="68" y="86"/>
                    <a:pt x="68" y="85"/>
                    <a:pt x="68" y="85"/>
                  </a:cubicBezTo>
                  <a:lnTo>
                    <a:pt x="68" y="2"/>
                  </a:lnTo>
                  <a:cubicBezTo>
                    <a:pt x="68" y="1"/>
                    <a:pt x="68" y="1"/>
                    <a:pt x="68" y="1"/>
                  </a:cubicBezTo>
                  <a:cubicBezTo>
                    <a:pt x="68" y="0"/>
                    <a:pt x="69" y="0"/>
                    <a:pt x="69" y="0"/>
                  </a:cubicBezTo>
                  <a:cubicBezTo>
                    <a:pt x="69" y="0"/>
                    <a:pt x="70" y="0"/>
                    <a:pt x="71" y="0"/>
                  </a:cubicBezTo>
                  <a:cubicBezTo>
                    <a:pt x="71" y="0"/>
                    <a:pt x="72" y="0"/>
                    <a:pt x="73" y="0"/>
                  </a:cubicBezTo>
                  <a:cubicBezTo>
                    <a:pt x="74" y="0"/>
                    <a:pt x="75" y="0"/>
                    <a:pt x="76" y="0"/>
                  </a:cubicBezTo>
                  <a:cubicBezTo>
                    <a:pt x="76" y="0"/>
                    <a:pt x="77" y="0"/>
                    <a:pt x="77" y="0"/>
                  </a:cubicBezTo>
                  <a:cubicBezTo>
                    <a:pt x="78" y="0"/>
                    <a:pt x="78" y="0"/>
                    <a:pt x="78" y="1"/>
                  </a:cubicBezTo>
                  <a:cubicBezTo>
                    <a:pt x="78" y="1"/>
                    <a:pt x="78" y="1"/>
                    <a:pt x="78" y="2"/>
                  </a:cubicBezTo>
                  <a:lnTo>
                    <a:pt x="78" y="35"/>
                  </a:lnTo>
                  <a:cubicBezTo>
                    <a:pt x="81" y="32"/>
                    <a:pt x="84" y="30"/>
                    <a:pt x="87" y="28"/>
                  </a:cubicBezTo>
                  <a:cubicBezTo>
                    <a:pt x="90" y="27"/>
                    <a:pt x="93" y="26"/>
                    <a:pt x="96" y="26"/>
                  </a:cubicBezTo>
                  <a:cubicBezTo>
                    <a:pt x="100" y="26"/>
                    <a:pt x="103" y="27"/>
                    <a:pt x="106" y="28"/>
                  </a:cubicBezTo>
                  <a:cubicBezTo>
                    <a:pt x="108" y="29"/>
                    <a:pt x="110" y="31"/>
                    <a:pt x="112" y="33"/>
                  </a:cubicBezTo>
                  <a:cubicBezTo>
                    <a:pt x="113" y="35"/>
                    <a:pt x="115" y="38"/>
                    <a:pt x="115" y="41"/>
                  </a:cubicBezTo>
                  <a:cubicBezTo>
                    <a:pt x="116" y="43"/>
                    <a:pt x="116" y="47"/>
                    <a:pt x="116" y="51"/>
                  </a:cubicBezTo>
                  <a:lnTo>
                    <a:pt x="116" y="85"/>
                  </a:lnTo>
                  <a:close/>
                  <a:moveTo>
                    <a:pt x="174" y="85"/>
                  </a:moveTo>
                  <a:cubicBezTo>
                    <a:pt x="174" y="86"/>
                    <a:pt x="174" y="86"/>
                    <a:pt x="174" y="86"/>
                  </a:cubicBezTo>
                  <a:cubicBezTo>
                    <a:pt x="173" y="87"/>
                    <a:pt x="173" y="87"/>
                    <a:pt x="172" y="87"/>
                  </a:cubicBezTo>
                  <a:cubicBezTo>
                    <a:pt x="172" y="87"/>
                    <a:pt x="171" y="87"/>
                    <a:pt x="170" y="87"/>
                  </a:cubicBezTo>
                  <a:cubicBezTo>
                    <a:pt x="169" y="87"/>
                    <a:pt x="168" y="87"/>
                    <a:pt x="167" y="87"/>
                  </a:cubicBezTo>
                  <a:cubicBezTo>
                    <a:pt x="167" y="87"/>
                    <a:pt x="166" y="87"/>
                    <a:pt x="166" y="86"/>
                  </a:cubicBezTo>
                  <a:cubicBezTo>
                    <a:pt x="166" y="86"/>
                    <a:pt x="165" y="86"/>
                    <a:pt x="165" y="85"/>
                  </a:cubicBezTo>
                  <a:lnTo>
                    <a:pt x="165" y="80"/>
                  </a:lnTo>
                  <a:cubicBezTo>
                    <a:pt x="163" y="82"/>
                    <a:pt x="160" y="84"/>
                    <a:pt x="157" y="86"/>
                  </a:cubicBezTo>
                  <a:cubicBezTo>
                    <a:pt x="154" y="87"/>
                    <a:pt x="151" y="88"/>
                    <a:pt x="148" y="88"/>
                  </a:cubicBezTo>
                  <a:cubicBezTo>
                    <a:pt x="145" y="88"/>
                    <a:pt x="142" y="87"/>
                    <a:pt x="140" y="87"/>
                  </a:cubicBezTo>
                  <a:cubicBezTo>
                    <a:pt x="137" y="86"/>
                    <a:pt x="135" y="85"/>
                    <a:pt x="133" y="83"/>
                  </a:cubicBezTo>
                  <a:cubicBezTo>
                    <a:pt x="132" y="82"/>
                    <a:pt x="130" y="80"/>
                    <a:pt x="129" y="78"/>
                  </a:cubicBezTo>
                  <a:cubicBezTo>
                    <a:pt x="129" y="76"/>
                    <a:pt x="128" y="73"/>
                    <a:pt x="128" y="71"/>
                  </a:cubicBezTo>
                  <a:cubicBezTo>
                    <a:pt x="128" y="68"/>
                    <a:pt x="129" y="65"/>
                    <a:pt x="130" y="62"/>
                  </a:cubicBezTo>
                  <a:cubicBezTo>
                    <a:pt x="131" y="60"/>
                    <a:pt x="133" y="58"/>
                    <a:pt x="136" y="57"/>
                  </a:cubicBezTo>
                  <a:cubicBezTo>
                    <a:pt x="138" y="55"/>
                    <a:pt x="141" y="54"/>
                    <a:pt x="144" y="53"/>
                  </a:cubicBezTo>
                  <a:cubicBezTo>
                    <a:pt x="148" y="52"/>
                    <a:pt x="152" y="52"/>
                    <a:pt x="156" y="52"/>
                  </a:cubicBezTo>
                  <a:lnTo>
                    <a:pt x="164" y="52"/>
                  </a:lnTo>
                  <a:lnTo>
                    <a:pt x="164" y="48"/>
                  </a:lnTo>
                  <a:cubicBezTo>
                    <a:pt x="164" y="46"/>
                    <a:pt x="164" y="44"/>
                    <a:pt x="163" y="42"/>
                  </a:cubicBezTo>
                  <a:cubicBezTo>
                    <a:pt x="163" y="40"/>
                    <a:pt x="162" y="39"/>
                    <a:pt x="161" y="38"/>
                  </a:cubicBezTo>
                  <a:cubicBezTo>
                    <a:pt x="160" y="37"/>
                    <a:pt x="159" y="36"/>
                    <a:pt x="157" y="35"/>
                  </a:cubicBezTo>
                  <a:cubicBezTo>
                    <a:pt x="156" y="35"/>
                    <a:pt x="154" y="34"/>
                    <a:pt x="151" y="34"/>
                  </a:cubicBezTo>
                  <a:cubicBezTo>
                    <a:pt x="149" y="34"/>
                    <a:pt x="146" y="35"/>
                    <a:pt x="144" y="35"/>
                  </a:cubicBezTo>
                  <a:cubicBezTo>
                    <a:pt x="142" y="36"/>
                    <a:pt x="140" y="37"/>
                    <a:pt x="139" y="37"/>
                  </a:cubicBezTo>
                  <a:cubicBezTo>
                    <a:pt x="137" y="38"/>
                    <a:pt x="136" y="39"/>
                    <a:pt x="135" y="39"/>
                  </a:cubicBezTo>
                  <a:cubicBezTo>
                    <a:pt x="134" y="40"/>
                    <a:pt x="133" y="40"/>
                    <a:pt x="133" y="40"/>
                  </a:cubicBezTo>
                  <a:cubicBezTo>
                    <a:pt x="133" y="40"/>
                    <a:pt x="132" y="40"/>
                    <a:pt x="132" y="40"/>
                  </a:cubicBezTo>
                  <a:cubicBezTo>
                    <a:pt x="132" y="40"/>
                    <a:pt x="132" y="40"/>
                    <a:pt x="131" y="39"/>
                  </a:cubicBezTo>
                  <a:cubicBezTo>
                    <a:pt x="131" y="39"/>
                    <a:pt x="131" y="38"/>
                    <a:pt x="131" y="38"/>
                  </a:cubicBezTo>
                  <a:cubicBezTo>
                    <a:pt x="131" y="37"/>
                    <a:pt x="131" y="37"/>
                    <a:pt x="131" y="36"/>
                  </a:cubicBezTo>
                  <a:cubicBezTo>
                    <a:pt x="131" y="35"/>
                    <a:pt x="131" y="34"/>
                    <a:pt x="131" y="34"/>
                  </a:cubicBezTo>
                  <a:cubicBezTo>
                    <a:pt x="131" y="33"/>
                    <a:pt x="132" y="33"/>
                    <a:pt x="132" y="32"/>
                  </a:cubicBezTo>
                  <a:cubicBezTo>
                    <a:pt x="133" y="32"/>
                    <a:pt x="134" y="31"/>
                    <a:pt x="135" y="30"/>
                  </a:cubicBezTo>
                  <a:cubicBezTo>
                    <a:pt x="136" y="29"/>
                    <a:pt x="138" y="29"/>
                    <a:pt x="140" y="28"/>
                  </a:cubicBezTo>
                  <a:cubicBezTo>
                    <a:pt x="142" y="28"/>
                    <a:pt x="144" y="27"/>
                    <a:pt x="146" y="27"/>
                  </a:cubicBezTo>
                  <a:cubicBezTo>
                    <a:pt x="148" y="26"/>
                    <a:pt x="150" y="26"/>
                    <a:pt x="152" y="26"/>
                  </a:cubicBezTo>
                  <a:cubicBezTo>
                    <a:pt x="156" y="26"/>
                    <a:pt x="160" y="27"/>
                    <a:pt x="162" y="27"/>
                  </a:cubicBezTo>
                  <a:cubicBezTo>
                    <a:pt x="165" y="28"/>
                    <a:pt x="168" y="30"/>
                    <a:pt x="169" y="31"/>
                  </a:cubicBezTo>
                  <a:cubicBezTo>
                    <a:pt x="171" y="33"/>
                    <a:pt x="172" y="35"/>
                    <a:pt x="173" y="38"/>
                  </a:cubicBezTo>
                  <a:cubicBezTo>
                    <a:pt x="174" y="41"/>
                    <a:pt x="174" y="44"/>
                    <a:pt x="174" y="47"/>
                  </a:cubicBezTo>
                  <a:lnTo>
                    <a:pt x="174" y="85"/>
                  </a:lnTo>
                  <a:close/>
                  <a:moveTo>
                    <a:pt x="164" y="59"/>
                  </a:moveTo>
                  <a:lnTo>
                    <a:pt x="155" y="59"/>
                  </a:lnTo>
                  <a:cubicBezTo>
                    <a:pt x="152" y="59"/>
                    <a:pt x="150" y="60"/>
                    <a:pt x="148" y="60"/>
                  </a:cubicBezTo>
                  <a:cubicBezTo>
                    <a:pt x="146" y="61"/>
                    <a:pt x="144" y="61"/>
                    <a:pt x="143" y="62"/>
                  </a:cubicBezTo>
                  <a:cubicBezTo>
                    <a:pt x="141" y="63"/>
                    <a:pt x="140" y="64"/>
                    <a:pt x="140" y="66"/>
                  </a:cubicBezTo>
                  <a:cubicBezTo>
                    <a:pt x="139" y="67"/>
                    <a:pt x="139" y="69"/>
                    <a:pt x="139" y="70"/>
                  </a:cubicBezTo>
                  <a:cubicBezTo>
                    <a:pt x="139" y="73"/>
                    <a:pt x="140" y="75"/>
                    <a:pt x="141" y="77"/>
                  </a:cubicBezTo>
                  <a:cubicBezTo>
                    <a:pt x="143" y="79"/>
                    <a:pt x="146" y="80"/>
                    <a:pt x="149" y="80"/>
                  </a:cubicBezTo>
                  <a:cubicBezTo>
                    <a:pt x="152" y="80"/>
                    <a:pt x="154" y="79"/>
                    <a:pt x="157" y="78"/>
                  </a:cubicBezTo>
                  <a:cubicBezTo>
                    <a:pt x="159" y="76"/>
                    <a:pt x="161" y="74"/>
                    <a:pt x="164" y="71"/>
                  </a:cubicBezTo>
                  <a:lnTo>
                    <a:pt x="164" y="59"/>
                  </a:lnTo>
                  <a:close/>
                  <a:moveTo>
                    <a:pt x="244" y="85"/>
                  </a:moveTo>
                  <a:cubicBezTo>
                    <a:pt x="244" y="85"/>
                    <a:pt x="244" y="86"/>
                    <a:pt x="244" y="86"/>
                  </a:cubicBezTo>
                  <a:cubicBezTo>
                    <a:pt x="244" y="86"/>
                    <a:pt x="244" y="86"/>
                    <a:pt x="243" y="87"/>
                  </a:cubicBezTo>
                  <a:cubicBezTo>
                    <a:pt x="243" y="87"/>
                    <a:pt x="242" y="87"/>
                    <a:pt x="242" y="87"/>
                  </a:cubicBezTo>
                  <a:cubicBezTo>
                    <a:pt x="241" y="87"/>
                    <a:pt x="240" y="87"/>
                    <a:pt x="239" y="87"/>
                  </a:cubicBezTo>
                  <a:cubicBezTo>
                    <a:pt x="238" y="87"/>
                    <a:pt x="237" y="87"/>
                    <a:pt x="237" y="87"/>
                  </a:cubicBezTo>
                  <a:cubicBezTo>
                    <a:pt x="236" y="87"/>
                    <a:pt x="235" y="87"/>
                    <a:pt x="235" y="87"/>
                  </a:cubicBezTo>
                  <a:cubicBezTo>
                    <a:pt x="235" y="86"/>
                    <a:pt x="234" y="86"/>
                    <a:pt x="234" y="86"/>
                  </a:cubicBezTo>
                  <a:cubicBezTo>
                    <a:pt x="234" y="86"/>
                    <a:pt x="234" y="85"/>
                    <a:pt x="234" y="85"/>
                  </a:cubicBezTo>
                  <a:lnTo>
                    <a:pt x="234" y="52"/>
                  </a:lnTo>
                  <a:cubicBezTo>
                    <a:pt x="234" y="49"/>
                    <a:pt x="234" y="46"/>
                    <a:pt x="233" y="44"/>
                  </a:cubicBezTo>
                  <a:cubicBezTo>
                    <a:pt x="233" y="42"/>
                    <a:pt x="232" y="41"/>
                    <a:pt x="231" y="39"/>
                  </a:cubicBezTo>
                  <a:cubicBezTo>
                    <a:pt x="230" y="38"/>
                    <a:pt x="229" y="37"/>
                    <a:pt x="227" y="36"/>
                  </a:cubicBezTo>
                  <a:cubicBezTo>
                    <a:pt x="226" y="35"/>
                    <a:pt x="224" y="35"/>
                    <a:pt x="222" y="35"/>
                  </a:cubicBezTo>
                  <a:cubicBezTo>
                    <a:pt x="219" y="35"/>
                    <a:pt x="217" y="36"/>
                    <a:pt x="214" y="38"/>
                  </a:cubicBezTo>
                  <a:cubicBezTo>
                    <a:pt x="212" y="40"/>
                    <a:pt x="209" y="42"/>
                    <a:pt x="206" y="46"/>
                  </a:cubicBezTo>
                  <a:lnTo>
                    <a:pt x="206" y="85"/>
                  </a:lnTo>
                  <a:cubicBezTo>
                    <a:pt x="206" y="85"/>
                    <a:pt x="206" y="86"/>
                    <a:pt x="206" y="86"/>
                  </a:cubicBezTo>
                  <a:cubicBezTo>
                    <a:pt x="206" y="86"/>
                    <a:pt x="206" y="86"/>
                    <a:pt x="205" y="87"/>
                  </a:cubicBezTo>
                  <a:cubicBezTo>
                    <a:pt x="205" y="87"/>
                    <a:pt x="204" y="87"/>
                    <a:pt x="204" y="87"/>
                  </a:cubicBezTo>
                  <a:cubicBezTo>
                    <a:pt x="203" y="87"/>
                    <a:pt x="202" y="87"/>
                    <a:pt x="201" y="87"/>
                  </a:cubicBezTo>
                  <a:cubicBezTo>
                    <a:pt x="200" y="87"/>
                    <a:pt x="199" y="87"/>
                    <a:pt x="199" y="87"/>
                  </a:cubicBezTo>
                  <a:cubicBezTo>
                    <a:pt x="198" y="87"/>
                    <a:pt x="197" y="87"/>
                    <a:pt x="197" y="87"/>
                  </a:cubicBezTo>
                  <a:cubicBezTo>
                    <a:pt x="197" y="86"/>
                    <a:pt x="196" y="86"/>
                    <a:pt x="196" y="86"/>
                  </a:cubicBezTo>
                  <a:cubicBezTo>
                    <a:pt x="196" y="86"/>
                    <a:pt x="196" y="85"/>
                    <a:pt x="196" y="85"/>
                  </a:cubicBezTo>
                  <a:lnTo>
                    <a:pt x="196" y="29"/>
                  </a:lnTo>
                  <a:cubicBezTo>
                    <a:pt x="196" y="29"/>
                    <a:pt x="196" y="28"/>
                    <a:pt x="196" y="28"/>
                  </a:cubicBezTo>
                  <a:cubicBezTo>
                    <a:pt x="196" y="28"/>
                    <a:pt x="196" y="28"/>
                    <a:pt x="197" y="27"/>
                  </a:cubicBezTo>
                  <a:cubicBezTo>
                    <a:pt x="197" y="27"/>
                    <a:pt x="198" y="27"/>
                    <a:pt x="198" y="27"/>
                  </a:cubicBezTo>
                  <a:cubicBezTo>
                    <a:pt x="199" y="27"/>
                    <a:pt x="200" y="27"/>
                    <a:pt x="201" y="27"/>
                  </a:cubicBezTo>
                  <a:cubicBezTo>
                    <a:pt x="201" y="27"/>
                    <a:pt x="202" y="27"/>
                    <a:pt x="203" y="27"/>
                  </a:cubicBezTo>
                  <a:cubicBezTo>
                    <a:pt x="203" y="27"/>
                    <a:pt x="204" y="27"/>
                    <a:pt x="204" y="27"/>
                  </a:cubicBezTo>
                  <a:cubicBezTo>
                    <a:pt x="205" y="28"/>
                    <a:pt x="205" y="28"/>
                    <a:pt x="205" y="28"/>
                  </a:cubicBezTo>
                  <a:cubicBezTo>
                    <a:pt x="205" y="28"/>
                    <a:pt x="205" y="29"/>
                    <a:pt x="205" y="29"/>
                  </a:cubicBezTo>
                  <a:lnTo>
                    <a:pt x="205" y="36"/>
                  </a:lnTo>
                  <a:cubicBezTo>
                    <a:pt x="208" y="33"/>
                    <a:pt x="212" y="30"/>
                    <a:pt x="215" y="29"/>
                  </a:cubicBezTo>
                  <a:cubicBezTo>
                    <a:pt x="218" y="27"/>
                    <a:pt x="221" y="26"/>
                    <a:pt x="224" y="26"/>
                  </a:cubicBezTo>
                  <a:cubicBezTo>
                    <a:pt x="228" y="26"/>
                    <a:pt x="231" y="27"/>
                    <a:pt x="234" y="28"/>
                  </a:cubicBezTo>
                  <a:cubicBezTo>
                    <a:pt x="236" y="29"/>
                    <a:pt x="238" y="31"/>
                    <a:pt x="240" y="33"/>
                  </a:cubicBezTo>
                  <a:cubicBezTo>
                    <a:pt x="241" y="35"/>
                    <a:pt x="243" y="38"/>
                    <a:pt x="243" y="41"/>
                  </a:cubicBezTo>
                  <a:cubicBezTo>
                    <a:pt x="244" y="43"/>
                    <a:pt x="244" y="47"/>
                    <a:pt x="244" y="51"/>
                  </a:cubicBezTo>
                  <a:lnTo>
                    <a:pt x="244" y="85"/>
                  </a:lnTo>
                  <a:close/>
                  <a:moveTo>
                    <a:pt x="323" y="31"/>
                  </a:moveTo>
                  <a:cubicBezTo>
                    <a:pt x="323" y="33"/>
                    <a:pt x="323" y="34"/>
                    <a:pt x="322" y="35"/>
                  </a:cubicBezTo>
                  <a:cubicBezTo>
                    <a:pt x="322" y="35"/>
                    <a:pt x="321" y="36"/>
                    <a:pt x="321" y="36"/>
                  </a:cubicBezTo>
                  <a:lnTo>
                    <a:pt x="313" y="36"/>
                  </a:lnTo>
                  <a:cubicBezTo>
                    <a:pt x="314" y="37"/>
                    <a:pt x="315" y="39"/>
                    <a:pt x="316" y="41"/>
                  </a:cubicBezTo>
                  <a:cubicBezTo>
                    <a:pt x="316" y="42"/>
                    <a:pt x="317" y="44"/>
                    <a:pt x="317" y="46"/>
                  </a:cubicBezTo>
                  <a:cubicBezTo>
                    <a:pt x="317" y="49"/>
                    <a:pt x="316" y="52"/>
                    <a:pt x="315" y="55"/>
                  </a:cubicBezTo>
                  <a:cubicBezTo>
                    <a:pt x="314" y="57"/>
                    <a:pt x="313" y="59"/>
                    <a:pt x="311" y="61"/>
                  </a:cubicBezTo>
                  <a:cubicBezTo>
                    <a:pt x="309" y="63"/>
                    <a:pt x="306" y="64"/>
                    <a:pt x="304" y="65"/>
                  </a:cubicBezTo>
                  <a:cubicBezTo>
                    <a:pt x="301" y="66"/>
                    <a:pt x="298" y="66"/>
                    <a:pt x="295" y="66"/>
                  </a:cubicBezTo>
                  <a:cubicBezTo>
                    <a:pt x="293" y="66"/>
                    <a:pt x="290" y="66"/>
                    <a:pt x="288" y="66"/>
                  </a:cubicBezTo>
                  <a:cubicBezTo>
                    <a:pt x="286" y="65"/>
                    <a:pt x="285" y="64"/>
                    <a:pt x="284" y="63"/>
                  </a:cubicBezTo>
                  <a:cubicBezTo>
                    <a:pt x="283" y="64"/>
                    <a:pt x="282" y="65"/>
                    <a:pt x="282" y="66"/>
                  </a:cubicBezTo>
                  <a:cubicBezTo>
                    <a:pt x="281" y="67"/>
                    <a:pt x="281" y="68"/>
                    <a:pt x="281" y="69"/>
                  </a:cubicBezTo>
                  <a:cubicBezTo>
                    <a:pt x="281" y="71"/>
                    <a:pt x="282" y="72"/>
                    <a:pt x="283" y="73"/>
                  </a:cubicBezTo>
                  <a:cubicBezTo>
                    <a:pt x="284" y="74"/>
                    <a:pt x="286" y="74"/>
                    <a:pt x="288" y="74"/>
                  </a:cubicBezTo>
                  <a:lnTo>
                    <a:pt x="303" y="75"/>
                  </a:lnTo>
                  <a:cubicBezTo>
                    <a:pt x="306" y="75"/>
                    <a:pt x="308" y="75"/>
                    <a:pt x="311" y="76"/>
                  </a:cubicBezTo>
                  <a:cubicBezTo>
                    <a:pt x="313" y="77"/>
                    <a:pt x="315" y="78"/>
                    <a:pt x="317" y="79"/>
                  </a:cubicBezTo>
                  <a:cubicBezTo>
                    <a:pt x="319" y="80"/>
                    <a:pt x="320" y="82"/>
                    <a:pt x="321" y="84"/>
                  </a:cubicBezTo>
                  <a:cubicBezTo>
                    <a:pt x="322" y="86"/>
                    <a:pt x="322" y="88"/>
                    <a:pt x="322" y="90"/>
                  </a:cubicBezTo>
                  <a:cubicBezTo>
                    <a:pt x="322" y="93"/>
                    <a:pt x="322" y="95"/>
                    <a:pt x="321" y="98"/>
                  </a:cubicBezTo>
                  <a:cubicBezTo>
                    <a:pt x="320" y="100"/>
                    <a:pt x="318" y="102"/>
                    <a:pt x="316" y="104"/>
                  </a:cubicBezTo>
                  <a:cubicBezTo>
                    <a:pt x="313" y="106"/>
                    <a:pt x="311" y="107"/>
                    <a:pt x="307" y="108"/>
                  </a:cubicBezTo>
                  <a:cubicBezTo>
                    <a:pt x="304" y="109"/>
                    <a:pt x="300" y="109"/>
                    <a:pt x="295" y="109"/>
                  </a:cubicBezTo>
                  <a:cubicBezTo>
                    <a:pt x="290" y="109"/>
                    <a:pt x="286" y="109"/>
                    <a:pt x="283" y="108"/>
                  </a:cubicBezTo>
                  <a:cubicBezTo>
                    <a:pt x="280" y="108"/>
                    <a:pt x="277" y="107"/>
                    <a:pt x="275" y="105"/>
                  </a:cubicBezTo>
                  <a:cubicBezTo>
                    <a:pt x="273" y="104"/>
                    <a:pt x="272" y="102"/>
                    <a:pt x="271" y="100"/>
                  </a:cubicBezTo>
                  <a:cubicBezTo>
                    <a:pt x="270" y="99"/>
                    <a:pt x="270" y="97"/>
                    <a:pt x="270" y="94"/>
                  </a:cubicBezTo>
                  <a:cubicBezTo>
                    <a:pt x="270" y="93"/>
                    <a:pt x="270" y="92"/>
                    <a:pt x="270" y="90"/>
                  </a:cubicBezTo>
                  <a:cubicBezTo>
                    <a:pt x="270" y="89"/>
                    <a:pt x="271" y="88"/>
                    <a:pt x="272" y="87"/>
                  </a:cubicBezTo>
                  <a:cubicBezTo>
                    <a:pt x="272" y="86"/>
                    <a:pt x="273" y="84"/>
                    <a:pt x="274" y="83"/>
                  </a:cubicBezTo>
                  <a:cubicBezTo>
                    <a:pt x="275" y="82"/>
                    <a:pt x="276" y="81"/>
                    <a:pt x="278" y="80"/>
                  </a:cubicBezTo>
                  <a:cubicBezTo>
                    <a:pt x="276" y="79"/>
                    <a:pt x="274" y="78"/>
                    <a:pt x="273" y="76"/>
                  </a:cubicBezTo>
                  <a:cubicBezTo>
                    <a:pt x="272" y="75"/>
                    <a:pt x="272" y="73"/>
                    <a:pt x="272" y="71"/>
                  </a:cubicBezTo>
                  <a:cubicBezTo>
                    <a:pt x="272" y="69"/>
                    <a:pt x="272" y="66"/>
                    <a:pt x="273" y="64"/>
                  </a:cubicBezTo>
                  <a:cubicBezTo>
                    <a:pt x="274" y="62"/>
                    <a:pt x="276" y="61"/>
                    <a:pt x="277" y="59"/>
                  </a:cubicBezTo>
                  <a:cubicBezTo>
                    <a:pt x="276" y="57"/>
                    <a:pt x="275" y="56"/>
                    <a:pt x="274" y="54"/>
                  </a:cubicBezTo>
                  <a:cubicBezTo>
                    <a:pt x="273" y="52"/>
                    <a:pt x="273" y="49"/>
                    <a:pt x="273" y="47"/>
                  </a:cubicBezTo>
                  <a:cubicBezTo>
                    <a:pt x="273" y="43"/>
                    <a:pt x="274" y="41"/>
                    <a:pt x="275" y="38"/>
                  </a:cubicBezTo>
                  <a:cubicBezTo>
                    <a:pt x="276" y="36"/>
                    <a:pt x="277" y="33"/>
                    <a:pt x="279" y="32"/>
                  </a:cubicBezTo>
                  <a:cubicBezTo>
                    <a:pt x="281" y="30"/>
                    <a:pt x="283" y="29"/>
                    <a:pt x="286" y="28"/>
                  </a:cubicBezTo>
                  <a:cubicBezTo>
                    <a:pt x="289" y="27"/>
                    <a:pt x="292" y="26"/>
                    <a:pt x="295" y="26"/>
                  </a:cubicBezTo>
                  <a:cubicBezTo>
                    <a:pt x="297" y="26"/>
                    <a:pt x="298" y="26"/>
                    <a:pt x="300" y="26"/>
                  </a:cubicBezTo>
                  <a:cubicBezTo>
                    <a:pt x="301" y="27"/>
                    <a:pt x="302" y="27"/>
                    <a:pt x="304" y="27"/>
                  </a:cubicBezTo>
                  <a:lnTo>
                    <a:pt x="321" y="27"/>
                  </a:lnTo>
                  <a:cubicBezTo>
                    <a:pt x="321" y="27"/>
                    <a:pt x="322" y="28"/>
                    <a:pt x="322" y="28"/>
                  </a:cubicBezTo>
                  <a:cubicBezTo>
                    <a:pt x="323" y="29"/>
                    <a:pt x="323" y="30"/>
                    <a:pt x="323" y="31"/>
                  </a:cubicBezTo>
                  <a:close/>
                  <a:moveTo>
                    <a:pt x="307" y="46"/>
                  </a:moveTo>
                  <a:cubicBezTo>
                    <a:pt x="307" y="42"/>
                    <a:pt x="306" y="39"/>
                    <a:pt x="304" y="37"/>
                  </a:cubicBezTo>
                  <a:cubicBezTo>
                    <a:pt x="301" y="35"/>
                    <a:pt x="299" y="34"/>
                    <a:pt x="295" y="34"/>
                  </a:cubicBezTo>
                  <a:cubicBezTo>
                    <a:pt x="293" y="34"/>
                    <a:pt x="291" y="34"/>
                    <a:pt x="289" y="35"/>
                  </a:cubicBezTo>
                  <a:cubicBezTo>
                    <a:pt x="288" y="36"/>
                    <a:pt x="287" y="37"/>
                    <a:pt x="286" y="38"/>
                  </a:cubicBezTo>
                  <a:cubicBezTo>
                    <a:pt x="285" y="39"/>
                    <a:pt x="284" y="40"/>
                    <a:pt x="284" y="42"/>
                  </a:cubicBezTo>
                  <a:cubicBezTo>
                    <a:pt x="283" y="43"/>
                    <a:pt x="283" y="45"/>
                    <a:pt x="283" y="47"/>
                  </a:cubicBezTo>
                  <a:cubicBezTo>
                    <a:pt x="283" y="50"/>
                    <a:pt x="284" y="53"/>
                    <a:pt x="286" y="55"/>
                  </a:cubicBezTo>
                  <a:cubicBezTo>
                    <a:pt x="288" y="57"/>
                    <a:pt x="291" y="59"/>
                    <a:pt x="295" y="59"/>
                  </a:cubicBezTo>
                  <a:cubicBezTo>
                    <a:pt x="297" y="59"/>
                    <a:pt x="299" y="58"/>
                    <a:pt x="300" y="58"/>
                  </a:cubicBezTo>
                  <a:cubicBezTo>
                    <a:pt x="302" y="57"/>
                    <a:pt x="303" y="56"/>
                    <a:pt x="304" y="55"/>
                  </a:cubicBezTo>
                  <a:cubicBezTo>
                    <a:pt x="305" y="54"/>
                    <a:pt x="306" y="52"/>
                    <a:pt x="306" y="51"/>
                  </a:cubicBezTo>
                  <a:cubicBezTo>
                    <a:pt x="307" y="49"/>
                    <a:pt x="307" y="48"/>
                    <a:pt x="307" y="46"/>
                  </a:cubicBezTo>
                  <a:close/>
                  <a:moveTo>
                    <a:pt x="312" y="91"/>
                  </a:moveTo>
                  <a:cubicBezTo>
                    <a:pt x="312" y="88"/>
                    <a:pt x="311" y="87"/>
                    <a:pt x="309" y="85"/>
                  </a:cubicBezTo>
                  <a:cubicBezTo>
                    <a:pt x="307" y="84"/>
                    <a:pt x="304" y="83"/>
                    <a:pt x="301" y="83"/>
                  </a:cubicBezTo>
                  <a:lnTo>
                    <a:pt x="286" y="83"/>
                  </a:lnTo>
                  <a:cubicBezTo>
                    <a:pt x="285" y="84"/>
                    <a:pt x="284" y="85"/>
                    <a:pt x="283" y="86"/>
                  </a:cubicBezTo>
                  <a:cubicBezTo>
                    <a:pt x="282" y="87"/>
                    <a:pt x="282" y="87"/>
                    <a:pt x="281" y="88"/>
                  </a:cubicBezTo>
                  <a:cubicBezTo>
                    <a:pt x="281" y="89"/>
                    <a:pt x="280" y="90"/>
                    <a:pt x="280" y="91"/>
                  </a:cubicBezTo>
                  <a:cubicBezTo>
                    <a:pt x="280" y="92"/>
                    <a:pt x="280" y="92"/>
                    <a:pt x="280" y="93"/>
                  </a:cubicBezTo>
                  <a:cubicBezTo>
                    <a:pt x="280" y="96"/>
                    <a:pt x="281" y="98"/>
                    <a:pt x="284" y="100"/>
                  </a:cubicBezTo>
                  <a:cubicBezTo>
                    <a:pt x="287" y="101"/>
                    <a:pt x="290" y="102"/>
                    <a:pt x="295" y="102"/>
                  </a:cubicBezTo>
                  <a:cubicBezTo>
                    <a:pt x="299" y="102"/>
                    <a:pt x="301" y="101"/>
                    <a:pt x="303" y="101"/>
                  </a:cubicBezTo>
                  <a:cubicBezTo>
                    <a:pt x="305" y="100"/>
                    <a:pt x="307" y="99"/>
                    <a:pt x="308" y="98"/>
                  </a:cubicBezTo>
                  <a:cubicBezTo>
                    <a:pt x="310" y="97"/>
                    <a:pt x="311" y="96"/>
                    <a:pt x="311" y="95"/>
                  </a:cubicBezTo>
                  <a:cubicBezTo>
                    <a:pt x="312" y="94"/>
                    <a:pt x="312" y="92"/>
                    <a:pt x="312" y="91"/>
                  </a:cubicBezTo>
                  <a:close/>
                  <a:moveTo>
                    <a:pt x="372" y="55"/>
                  </a:moveTo>
                  <a:cubicBezTo>
                    <a:pt x="372" y="56"/>
                    <a:pt x="371" y="57"/>
                    <a:pt x="371" y="58"/>
                  </a:cubicBezTo>
                  <a:cubicBezTo>
                    <a:pt x="370" y="59"/>
                    <a:pt x="369" y="59"/>
                    <a:pt x="368" y="59"/>
                  </a:cubicBezTo>
                  <a:lnTo>
                    <a:pt x="331" y="59"/>
                  </a:lnTo>
                  <a:cubicBezTo>
                    <a:pt x="331" y="62"/>
                    <a:pt x="331" y="65"/>
                    <a:pt x="332" y="67"/>
                  </a:cubicBezTo>
                  <a:cubicBezTo>
                    <a:pt x="332" y="70"/>
                    <a:pt x="333" y="72"/>
                    <a:pt x="335" y="74"/>
                  </a:cubicBezTo>
                  <a:cubicBezTo>
                    <a:pt x="336" y="76"/>
                    <a:pt x="338" y="77"/>
                    <a:pt x="341" y="78"/>
                  </a:cubicBezTo>
                  <a:cubicBezTo>
                    <a:pt x="343" y="79"/>
                    <a:pt x="346" y="79"/>
                    <a:pt x="349" y="79"/>
                  </a:cubicBezTo>
                  <a:cubicBezTo>
                    <a:pt x="352" y="79"/>
                    <a:pt x="354" y="79"/>
                    <a:pt x="356" y="79"/>
                  </a:cubicBezTo>
                  <a:cubicBezTo>
                    <a:pt x="358" y="78"/>
                    <a:pt x="360" y="78"/>
                    <a:pt x="362" y="77"/>
                  </a:cubicBezTo>
                  <a:cubicBezTo>
                    <a:pt x="363" y="77"/>
                    <a:pt x="365" y="76"/>
                    <a:pt x="366" y="76"/>
                  </a:cubicBezTo>
                  <a:cubicBezTo>
                    <a:pt x="367" y="75"/>
                    <a:pt x="367" y="75"/>
                    <a:pt x="368" y="75"/>
                  </a:cubicBezTo>
                  <a:cubicBezTo>
                    <a:pt x="368" y="75"/>
                    <a:pt x="368" y="75"/>
                    <a:pt x="369" y="75"/>
                  </a:cubicBezTo>
                  <a:cubicBezTo>
                    <a:pt x="369" y="76"/>
                    <a:pt x="369" y="76"/>
                    <a:pt x="369" y="76"/>
                  </a:cubicBezTo>
                  <a:cubicBezTo>
                    <a:pt x="369" y="76"/>
                    <a:pt x="369" y="77"/>
                    <a:pt x="369" y="77"/>
                  </a:cubicBezTo>
                  <a:cubicBezTo>
                    <a:pt x="369" y="78"/>
                    <a:pt x="370" y="78"/>
                    <a:pt x="370" y="79"/>
                  </a:cubicBezTo>
                  <a:cubicBezTo>
                    <a:pt x="370" y="80"/>
                    <a:pt x="369" y="80"/>
                    <a:pt x="369" y="81"/>
                  </a:cubicBezTo>
                  <a:cubicBezTo>
                    <a:pt x="369" y="81"/>
                    <a:pt x="369" y="81"/>
                    <a:pt x="369" y="82"/>
                  </a:cubicBezTo>
                  <a:cubicBezTo>
                    <a:pt x="369" y="82"/>
                    <a:pt x="369" y="82"/>
                    <a:pt x="369" y="83"/>
                  </a:cubicBezTo>
                  <a:cubicBezTo>
                    <a:pt x="369" y="83"/>
                    <a:pt x="369" y="83"/>
                    <a:pt x="368" y="83"/>
                  </a:cubicBezTo>
                  <a:cubicBezTo>
                    <a:pt x="368" y="83"/>
                    <a:pt x="368" y="84"/>
                    <a:pt x="366" y="84"/>
                  </a:cubicBezTo>
                  <a:cubicBezTo>
                    <a:pt x="365" y="85"/>
                    <a:pt x="364" y="85"/>
                    <a:pt x="362" y="86"/>
                  </a:cubicBezTo>
                  <a:cubicBezTo>
                    <a:pt x="360" y="86"/>
                    <a:pt x="358" y="87"/>
                    <a:pt x="356" y="87"/>
                  </a:cubicBezTo>
                  <a:cubicBezTo>
                    <a:pt x="353" y="88"/>
                    <a:pt x="351" y="88"/>
                    <a:pt x="348" y="88"/>
                  </a:cubicBezTo>
                  <a:cubicBezTo>
                    <a:pt x="344" y="88"/>
                    <a:pt x="340" y="87"/>
                    <a:pt x="336" y="86"/>
                  </a:cubicBezTo>
                  <a:cubicBezTo>
                    <a:pt x="333" y="85"/>
                    <a:pt x="330" y="83"/>
                    <a:pt x="327" y="80"/>
                  </a:cubicBezTo>
                  <a:cubicBezTo>
                    <a:pt x="325" y="78"/>
                    <a:pt x="323" y="74"/>
                    <a:pt x="322" y="71"/>
                  </a:cubicBezTo>
                  <a:cubicBezTo>
                    <a:pt x="321" y="67"/>
                    <a:pt x="320" y="62"/>
                    <a:pt x="320" y="57"/>
                  </a:cubicBezTo>
                  <a:cubicBezTo>
                    <a:pt x="320" y="52"/>
                    <a:pt x="321" y="48"/>
                    <a:pt x="322" y="44"/>
                  </a:cubicBezTo>
                  <a:cubicBezTo>
                    <a:pt x="323" y="40"/>
                    <a:pt x="325" y="37"/>
                    <a:pt x="327" y="34"/>
                  </a:cubicBezTo>
                  <a:cubicBezTo>
                    <a:pt x="330" y="32"/>
                    <a:pt x="333" y="30"/>
                    <a:pt x="336" y="28"/>
                  </a:cubicBezTo>
                  <a:cubicBezTo>
                    <a:pt x="339" y="27"/>
                    <a:pt x="343" y="26"/>
                    <a:pt x="347" y="26"/>
                  </a:cubicBezTo>
                  <a:cubicBezTo>
                    <a:pt x="352" y="26"/>
                    <a:pt x="355" y="27"/>
                    <a:pt x="358" y="28"/>
                  </a:cubicBezTo>
                  <a:cubicBezTo>
                    <a:pt x="362" y="30"/>
                    <a:pt x="364" y="31"/>
                    <a:pt x="366" y="34"/>
                  </a:cubicBezTo>
                  <a:cubicBezTo>
                    <a:pt x="368" y="36"/>
                    <a:pt x="370" y="39"/>
                    <a:pt x="370" y="42"/>
                  </a:cubicBezTo>
                  <a:cubicBezTo>
                    <a:pt x="371" y="46"/>
                    <a:pt x="372" y="49"/>
                    <a:pt x="372" y="53"/>
                  </a:cubicBezTo>
                  <a:lnTo>
                    <a:pt x="372" y="55"/>
                  </a:lnTo>
                  <a:close/>
                  <a:moveTo>
                    <a:pt x="362" y="51"/>
                  </a:moveTo>
                  <a:cubicBezTo>
                    <a:pt x="362" y="46"/>
                    <a:pt x="360" y="42"/>
                    <a:pt x="358" y="39"/>
                  </a:cubicBezTo>
                  <a:cubicBezTo>
                    <a:pt x="355" y="36"/>
                    <a:pt x="352" y="34"/>
                    <a:pt x="347" y="34"/>
                  </a:cubicBezTo>
                  <a:cubicBezTo>
                    <a:pt x="344" y="34"/>
                    <a:pt x="342" y="35"/>
                    <a:pt x="340" y="36"/>
                  </a:cubicBezTo>
                  <a:cubicBezTo>
                    <a:pt x="338" y="37"/>
                    <a:pt x="336" y="38"/>
                    <a:pt x="335" y="39"/>
                  </a:cubicBezTo>
                  <a:cubicBezTo>
                    <a:pt x="334" y="41"/>
                    <a:pt x="333" y="43"/>
                    <a:pt x="332" y="45"/>
                  </a:cubicBezTo>
                  <a:cubicBezTo>
                    <a:pt x="331" y="47"/>
                    <a:pt x="331" y="49"/>
                    <a:pt x="331" y="51"/>
                  </a:cubicBezTo>
                  <a:lnTo>
                    <a:pt x="362" y="51"/>
                  </a:lnTo>
                  <a:close/>
                  <a:moveTo>
                    <a:pt x="467" y="94"/>
                  </a:moveTo>
                  <a:cubicBezTo>
                    <a:pt x="467" y="95"/>
                    <a:pt x="467" y="96"/>
                    <a:pt x="467" y="96"/>
                  </a:cubicBezTo>
                  <a:cubicBezTo>
                    <a:pt x="466" y="97"/>
                    <a:pt x="466" y="97"/>
                    <a:pt x="466" y="98"/>
                  </a:cubicBezTo>
                  <a:cubicBezTo>
                    <a:pt x="466" y="98"/>
                    <a:pt x="466" y="98"/>
                    <a:pt x="465" y="98"/>
                  </a:cubicBezTo>
                  <a:cubicBezTo>
                    <a:pt x="465" y="99"/>
                    <a:pt x="465" y="99"/>
                    <a:pt x="465" y="99"/>
                  </a:cubicBezTo>
                  <a:cubicBezTo>
                    <a:pt x="464" y="99"/>
                    <a:pt x="463" y="98"/>
                    <a:pt x="461" y="98"/>
                  </a:cubicBezTo>
                  <a:cubicBezTo>
                    <a:pt x="459" y="97"/>
                    <a:pt x="457" y="96"/>
                    <a:pt x="454" y="95"/>
                  </a:cubicBezTo>
                  <a:cubicBezTo>
                    <a:pt x="452" y="93"/>
                    <a:pt x="449" y="92"/>
                    <a:pt x="447" y="90"/>
                  </a:cubicBezTo>
                  <a:cubicBezTo>
                    <a:pt x="444" y="88"/>
                    <a:pt x="441" y="86"/>
                    <a:pt x="439" y="83"/>
                  </a:cubicBezTo>
                  <a:cubicBezTo>
                    <a:pt x="436" y="84"/>
                    <a:pt x="434" y="86"/>
                    <a:pt x="431" y="86"/>
                  </a:cubicBezTo>
                  <a:cubicBezTo>
                    <a:pt x="428" y="87"/>
                    <a:pt x="424" y="88"/>
                    <a:pt x="420" y="88"/>
                  </a:cubicBezTo>
                  <a:cubicBezTo>
                    <a:pt x="414" y="88"/>
                    <a:pt x="409" y="87"/>
                    <a:pt x="404" y="85"/>
                  </a:cubicBezTo>
                  <a:cubicBezTo>
                    <a:pt x="400" y="83"/>
                    <a:pt x="396" y="81"/>
                    <a:pt x="393" y="77"/>
                  </a:cubicBezTo>
                  <a:cubicBezTo>
                    <a:pt x="390" y="74"/>
                    <a:pt x="388" y="70"/>
                    <a:pt x="387" y="64"/>
                  </a:cubicBezTo>
                  <a:cubicBezTo>
                    <a:pt x="385" y="59"/>
                    <a:pt x="385" y="53"/>
                    <a:pt x="385" y="47"/>
                  </a:cubicBezTo>
                  <a:cubicBezTo>
                    <a:pt x="385" y="40"/>
                    <a:pt x="385" y="34"/>
                    <a:pt x="387" y="29"/>
                  </a:cubicBezTo>
                  <a:cubicBezTo>
                    <a:pt x="388" y="24"/>
                    <a:pt x="391" y="20"/>
                    <a:pt x="394" y="16"/>
                  </a:cubicBezTo>
                  <a:cubicBezTo>
                    <a:pt x="397" y="12"/>
                    <a:pt x="401" y="10"/>
                    <a:pt x="405" y="8"/>
                  </a:cubicBezTo>
                  <a:cubicBezTo>
                    <a:pt x="410" y="6"/>
                    <a:pt x="415" y="5"/>
                    <a:pt x="422" y="5"/>
                  </a:cubicBezTo>
                  <a:cubicBezTo>
                    <a:pt x="427" y="5"/>
                    <a:pt x="432" y="6"/>
                    <a:pt x="437" y="7"/>
                  </a:cubicBezTo>
                  <a:cubicBezTo>
                    <a:pt x="441" y="9"/>
                    <a:pt x="445" y="12"/>
                    <a:pt x="448" y="15"/>
                  </a:cubicBezTo>
                  <a:cubicBezTo>
                    <a:pt x="451" y="19"/>
                    <a:pt x="453" y="23"/>
                    <a:pt x="455" y="28"/>
                  </a:cubicBezTo>
                  <a:cubicBezTo>
                    <a:pt x="456" y="33"/>
                    <a:pt x="457" y="39"/>
                    <a:pt x="457" y="45"/>
                  </a:cubicBezTo>
                  <a:cubicBezTo>
                    <a:pt x="457" y="49"/>
                    <a:pt x="457" y="52"/>
                    <a:pt x="456" y="55"/>
                  </a:cubicBezTo>
                  <a:cubicBezTo>
                    <a:pt x="456" y="58"/>
                    <a:pt x="455" y="61"/>
                    <a:pt x="454" y="64"/>
                  </a:cubicBezTo>
                  <a:cubicBezTo>
                    <a:pt x="453" y="66"/>
                    <a:pt x="452" y="69"/>
                    <a:pt x="451" y="71"/>
                  </a:cubicBezTo>
                  <a:cubicBezTo>
                    <a:pt x="450" y="74"/>
                    <a:pt x="448" y="76"/>
                    <a:pt x="447" y="78"/>
                  </a:cubicBezTo>
                  <a:cubicBezTo>
                    <a:pt x="450" y="80"/>
                    <a:pt x="452" y="82"/>
                    <a:pt x="455" y="83"/>
                  </a:cubicBezTo>
                  <a:cubicBezTo>
                    <a:pt x="457" y="85"/>
                    <a:pt x="459" y="86"/>
                    <a:pt x="460" y="87"/>
                  </a:cubicBezTo>
                  <a:cubicBezTo>
                    <a:pt x="462" y="87"/>
                    <a:pt x="463" y="88"/>
                    <a:pt x="464" y="88"/>
                  </a:cubicBezTo>
                  <a:cubicBezTo>
                    <a:pt x="465" y="88"/>
                    <a:pt x="465" y="89"/>
                    <a:pt x="466" y="89"/>
                  </a:cubicBezTo>
                  <a:cubicBezTo>
                    <a:pt x="466" y="90"/>
                    <a:pt x="466" y="90"/>
                    <a:pt x="467" y="91"/>
                  </a:cubicBezTo>
                  <a:cubicBezTo>
                    <a:pt x="467" y="92"/>
                    <a:pt x="467" y="93"/>
                    <a:pt x="467" y="94"/>
                  </a:cubicBezTo>
                  <a:close/>
                  <a:moveTo>
                    <a:pt x="446" y="46"/>
                  </a:moveTo>
                  <a:cubicBezTo>
                    <a:pt x="446" y="41"/>
                    <a:pt x="445" y="37"/>
                    <a:pt x="444" y="33"/>
                  </a:cubicBezTo>
                  <a:cubicBezTo>
                    <a:pt x="443" y="29"/>
                    <a:pt x="442" y="26"/>
                    <a:pt x="440" y="23"/>
                  </a:cubicBezTo>
                  <a:cubicBezTo>
                    <a:pt x="438" y="20"/>
                    <a:pt x="436" y="18"/>
                    <a:pt x="433" y="16"/>
                  </a:cubicBezTo>
                  <a:cubicBezTo>
                    <a:pt x="429" y="15"/>
                    <a:pt x="426" y="14"/>
                    <a:pt x="421" y="14"/>
                  </a:cubicBezTo>
                  <a:cubicBezTo>
                    <a:pt x="416" y="14"/>
                    <a:pt x="412" y="15"/>
                    <a:pt x="409" y="16"/>
                  </a:cubicBezTo>
                  <a:cubicBezTo>
                    <a:pt x="406" y="18"/>
                    <a:pt x="403" y="20"/>
                    <a:pt x="401" y="23"/>
                  </a:cubicBezTo>
                  <a:cubicBezTo>
                    <a:pt x="399" y="26"/>
                    <a:pt x="398" y="30"/>
                    <a:pt x="397" y="34"/>
                  </a:cubicBezTo>
                  <a:cubicBezTo>
                    <a:pt x="396" y="37"/>
                    <a:pt x="396" y="42"/>
                    <a:pt x="396" y="46"/>
                  </a:cubicBezTo>
                  <a:cubicBezTo>
                    <a:pt x="396" y="51"/>
                    <a:pt x="396" y="55"/>
                    <a:pt x="397" y="59"/>
                  </a:cubicBezTo>
                  <a:cubicBezTo>
                    <a:pt x="398" y="63"/>
                    <a:pt x="399" y="66"/>
                    <a:pt x="401" y="69"/>
                  </a:cubicBezTo>
                  <a:cubicBezTo>
                    <a:pt x="403" y="72"/>
                    <a:pt x="405" y="75"/>
                    <a:pt x="409" y="76"/>
                  </a:cubicBezTo>
                  <a:cubicBezTo>
                    <a:pt x="412" y="78"/>
                    <a:pt x="416" y="79"/>
                    <a:pt x="420" y="79"/>
                  </a:cubicBezTo>
                  <a:cubicBezTo>
                    <a:pt x="425" y="79"/>
                    <a:pt x="429" y="78"/>
                    <a:pt x="432" y="76"/>
                  </a:cubicBezTo>
                  <a:cubicBezTo>
                    <a:pt x="436" y="74"/>
                    <a:pt x="438" y="72"/>
                    <a:pt x="440" y="69"/>
                  </a:cubicBezTo>
                  <a:cubicBezTo>
                    <a:pt x="442" y="66"/>
                    <a:pt x="443" y="62"/>
                    <a:pt x="444" y="58"/>
                  </a:cubicBezTo>
                  <a:cubicBezTo>
                    <a:pt x="445" y="55"/>
                    <a:pt x="446" y="50"/>
                    <a:pt x="446" y="46"/>
                  </a:cubicBezTo>
                  <a:close/>
                  <a:moveTo>
                    <a:pt x="532" y="85"/>
                  </a:moveTo>
                  <a:cubicBezTo>
                    <a:pt x="532" y="85"/>
                    <a:pt x="532" y="86"/>
                    <a:pt x="532" y="86"/>
                  </a:cubicBezTo>
                  <a:cubicBezTo>
                    <a:pt x="532" y="86"/>
                    <a:pt x="531" y="86"/>
                    <a:pt x="531" y="87"/>
                  </a:cubicBezTo>
                  <a:cubicBezTo>
                    <a:pt x="531" y="87"/>
                    <a:pt x="530" y="87"/>
                    <a:pt x="530" y="87"/>
                  </a:cubicBezTo>
                  <a:cubicBezTo>
                    <a:pt x="529" y="87"/>
                    <a:pt x="528" y="87"/>
                    <a:pt x="527" y="87"/>
                  </a:cubicBezTo>
                  <a:cubicBezTo>
                    <a:pt x="526" y="87"/>
                    <a:pt x="526" y="87"/>
                    <a:pt x="525" y="87"/>
                  </a:cubicBezTo>
                  <a:cubicBezTo>
                    <a:pt x="524" y="87"/>
                    <a:pt x="524" y="87"/>
                    <a:pt x="524" y="87"/>
                  </a:cubicBezTo>
                  <a:cubicBezTo>
                    <a:pt x="523" y="86"/>
                    <a:pt x="523" y="86"/>
                    <a:pt x="523" y="86"/>
                  </a:cubicBezTo>
                  <a:cubicBezTo>
                    <a:pt x="523" y="86"/>
                    <a:pt x="523" y="85"/>
                    <a:pt x="523" y="85"/>
                  </a:cubicBezTo>
                  <a:lnTo>
                    <a:pt x="523" y="78"/>
                  </a:lnTo>
                  <a:cubicBezTo>
                    <a:pt x="519" y="81"/>
                    <a:pt x="516" y="84"/>
                    <a:pt x="513" y="85"/>
                  </a:cubicBezTo>
                  <a:cubicBezTo>
                    <a:pt x="510" y="87"/>
                    <a:pt x="507" y="88"/>
                    <a:pt x="504" y="88"/>
                  </a:cubicBezTo>
                  <a:cubicBezTo>
                    <a:pt x="500" y="88"/>
                    <a:pt x="497" y="87"/>
                    <a:pt x="494" y="86"/>
                  </a:cubicBezTo>
                  <a:cubicBezTo>
                    <a:pt x="492" y="85"/>
                    <a:pt x="490" y="83"/>
                    <a:pt x="488" y="81"/>
                  </a:cubicBezTo>
                  <a:cubicBezTo>
                    <a:pt x="486" y="79"/>
                    <a:pt x="485" y="76"/>
                    <a:pt x="485" y="73"/>
                  </a:cubicBezTo>
                  <a:cubicBezTo>
                    <a:pt x="484" y="71"/>
                    <a:pt x="484" y="67"/>
                    <a:pt x="484" y="63"/>
                  </a:cubicBezTo>
                  <a:lnTo>
                    <a:pt x="484" y="29"/>
                  </a:lnTo>
                  <a:cubicBezTo>
                    <a:pt x="484" y="29"/>
                    <a:pt x="484" y="28"/>
                    <a:pt x="484" y="28"/>
                  </a:cubicBezTo>
                  <a:cubicBezTo>
                    <a:pt x="484" y="28"/>
                    <a:pt x="484" y="28"/>
                    <a:pt x="485" y="27"/>
                  </a:cubicBezTo>
                  <a:cubicBezTo>
                    <a:pt x="485" y="27"/>
                    <a:pt x="486" y="27"/>
                    <a:pt x="486" y="27"/>
                  </a:cubicBezTo>
                  <a:cubicBezTo>
                    <a:pt x="487" y="27"/>
                    <a:pt x="488" y="27"/>
                    <a:pt x="489" y="27"/>
                  </a:cubicBezTo>
                  <a:cubicBezTo>
                    <a:pt x="490" y="27"/>
                    <a:pt x="491" y="27"/>
                    <a:pt x="491" y="27"/>
                  </a:cubicBezTo>
                  <a:cubicBezTo>
                    <a:pt x="492" y="27"/>
                    <a:pt x="492" y="27"/>
                    <a:pt x="493" y="27"/>
                  </a:cubicBezTo>
                  <a:cubicBezTo>
                    <a:pt x="493" y="28"/>
                    <a:pt x="494" y="28"/>
                    <a:pt x="494" y="28"/>
                  </a:cubicBezTo>
                  <a:cubicBezTo>
                    <a:pt x="494" y="28"/>
                    <a:pt x="494" y="29"/>
                    <a:pt x="494" y="29"/>
                  </a:cubicBezTo>
                  <a:lnTo>
                    <a:pt x="494" y="62"/>
                  </a:lnTo>
                  <a:cubicBezTo>
                    <a:pt x="494" y="65"/>
                    <a:pt x="494" y="68"/>
                    <a:pt x="495" y="70"/>
                  </a:cubicBezTo>
                  <a:cubicBezTo>
                    <a:pt x="495" y="71"/>
                    <a:pt x="496" y="73"/>
                    <a:pt x="497" y="75"/>
                  </a:cubicBezTo>
                  <a:cubicBezTo>
                    <a:pt x="498" y="76"/>
                    <a:pt x="499" y="77"/>
                    <a:pt x="501" y="78"/>
                  </a:cubicBezTo>
                  <a:cubicBezTo>
                    <a:pt x="502" y="79"/>
                    <a:pt x="504" y="79"/>
                    <a:pt x="506" y="79"/>
                  </a:cubicBezTo>
                  <a:cubicBezTo>
                    <a:pt x="508" y="79"/>
                    <a:pt x="511" y="78"/>
                    <a:pt x="514" y="76"/>
                  </a:cubicBezTo>
                  <a:cubicBezTo>
                    <a:pt x="516" y="74"/>
                    <a:pt x="519" y="72"/>
                    <a:pt x="522" y="68"/>
                  </a:cubicBezTo>
                  <a:lnTo>
                    <a:pt x="522" y="29"/>
                  </a:lnTo>
                  <a:cubicBezTo>
                    <a:pt x="522" y="29"/>
                    <a:pt x="522" y="28"/>
                    <a:pt x="522" y="28"/>
                  </a:cubicBezTo>
                  <a:cubicBezTo>
                    <a:pt x="522" y="28"/>
                    <a:pt x="522" y="28"/>
                    <a:pt x="523" y="27"/>
                  </a:cubicBezTo>
                  <a:cubicBezTo>
                    <a:pt x="523" y="27"/>
                    <a:pt x="524" y="27"/>
                    <a:pt x="524" y="27"/>
                  </a:cubicBezTo>
                  <a:cubicBezTo>
                    <a:pt x="525" y="27"/>
                    <a:pt x="526" y="27"/>
                    <a:pt x="527" y="27"/>
                  </a:cubicBezTo>
                  <a:cubicBezTo>
                    <a:pt x="528" y="27"/>
                    <a:pt x="529" y="27"/>
                    <a:pt x="529" y="27"/>
                  </a:cubicBezTo>
                  <a:cubicBezTo>
                    <a:pt x="530" y="27"/>
                    <a:pt x="531" y="27"/>
                    <a:pt x="531" y="27"/>
                  </a:cubicBezTo>
                  <a:cubicBezTo>
                    <a:pt x="531" y="28"/>
                    <a:pt x="532" y="28"/>
                    <a:pt x="532" y="28"/>
                  </a:cubicBezTo>
                  <a:cubicBezTo>
                    <a:pt x="532" y="28"/>
                    <a:pt x="532" y="29"/>
                    <a:pt x="532" y="29"/>
                  </a:cubicBezTo>
                  <a:lnTo>
                    <a:pt x="532" y="85"/>
                  </a:lnTo>
                  <a:close/>
                  <a:moveTo>
                    <a:pt x="590" y="85"/>
                  </a:moveTo>
                  <a:cubicBezTo>
                    <a:pt x="590" y="86"/>
                    <a:pt x="590" y="86"/>
                    <a:pt x="590" y="86"/>
                  </a:cubicBezTo>
                  <a:cubicBezTo>
                    <a:pt x="589" y="87"/>
                    <a:pt x="589" y="87"/>
                    <a:pt x="588" y="87"/>
                  </a:cubicBezTo>
                  <a:cubicBezTo>
                    <a:pt x="588" y="87"/>
                    <a:pt x="587" y="87"/>
                    <a:pt x="586" y="87"/>
                  </a:cubicBezTo>
                  <a:cubicBezTo>
                    <a:pt x="585" y="87"/>
                    <a:pt x="584" y="87"/>
                    <a:pt x="583" y="87"/>
                  </a:cubicBezTo>
                  <a:cubicBezTo>
                    <a:pt x="583" y="87"/>
                    <a:pt x="582" y="87"/>
                    <a:pt x="582" y="86"/>
                  </a:cubicBezTo>
                  <a:cubicBezTo>
                    <a:pt x="582" y="86"/>
                    <a:pt x="581" y="86"/>
                    <a:pt x="581" y="85"/>
                  </a:cubicBezTo>
                  <a:lnTo>
                    <a:pt x="581" y="80"/>
                  </a:lnTo>
                  <a:cubicBezTo>
                    <a:pt x="579" y="82"/>
                    <a:pt x="576" y="84"/>
                    <a:pt x="573" y="86"/>
                  </a:cubicBezTo>
                  <a:cubicBezTo>
                    <a:pt x="570" y="87"/>
                    <a:pt x="567" y="88"/>
                    <a:pt x="564" y="88"/>
                  </a:cubicBezTo>
                  <a:cubicBezTo>
                    <a:pt x="561" y="88"/>
                    <a:pt x="558" y="87"/>
                    <a:pt x="556" y="87"/>
                  </a:cubicBezTo>
                  <a:cubicBezTo>
                    <a:pt x="553" y="86"/>
                    <a:pt x="551" y="85"/>
                    <a:pt x="549" y="83"/>
                  </a:cubicBezTo>
                  <a:cubicBezTo>
                    <a:pt x="548" y="82"/>
                    <a:pt x="546" y="80"/>
                    <a:pt x="545" y="78"/>
                  </a:cubicBezTo>
                  <a:cubicBezTo>
                    <a:pt x="545" y="76"/>
                    <a:pt x="544" y="73"/>
                    <a:pt x="544" y="71"/>
                  </a:cubicBezTo>
                  <a:cubicBezTo>
                    <a:pt x="544" y="68"/>
                    <a:pt x="545" y="65"/>
                    <a:pt x="546" y="62"/>
                  </a:cubicBezTo>
                  <a:cubicBezTo>
                    <a:pt x="547" y="60"/>
                    <a:pt x="549" y="58"/>
                    <a:pt x="552" y="57"/>
                  </a:cubicBezTo>
                  <a:cubicBezTo>
                    <a:pt x="554" y="55"/>
                    <a:pt x="557" y="54"/>
                    <a:pt x="560" y="53"/>
                  </a:cubicBezTo>
                  <a:cubicBezTo>
                    <a:pt x="564" y="52"/>
                    <a:pt x="568" y="52"/>
                    <a:pt x="572" y="52"/>
                  </a:cubicBezTo>
                  <a:lnTo>
                    <a:pt x="580" y="52"/>
                  </a:lnTo>
                  <a:lnTo>
                    <a:pt x="580" y="48"/>
                  </a:lnTo>
                  <a:cubicBezTo>
                    <a:pt x="580" y="46"/>
                    <a:pt x="580" y="44"/>
                    <a:pt x="579" y="42"/>
                  </a:cubicBezTo>
                  <a:cubicBezTo>
                    <a:pt x="579" y="40"/>
                    <a:pt x="578" y="39"/>
                    <a:pt x="577" y="38"/>
                  </a:cubicBezTo>
                  <a:cubicBezTo>
                    <a:pt x="576" y="37"/>
                    <a:pt x="575" y="36"/>
                    <a:pt x="573" y="35"/>
                  </a:cubicBezTo>
                  <a:cubicBezTo>
                    <a:pt x="572" y="35"/>
                    <a:pt x="570" y="34"/>
                    <a:pt x="567" y="34"/>
                  </a:cubicBezTo>
                  <a:cubicBezTo>
                    <a:pt x="565" y="34"/>
                    <a:pt x="562" y="35"/>
                    <a:pt x="560" y="35"/>
                  </a:cubicBezTo>
                  <a:cubicBezTo>
                    <a:pt x="558" y="36"/>
                    <a:pt x="556" y="37"/>
                    <a:pt x="555" y="37"/>
                  </a:cubicBezTo>
                  <a:cubicBezTo>
                    <a:pt x="553" y="38"/>
                    <a:pt x="552" y="39"/>
                    <a:pt x="551" y="39"/>
                  </a:cubicBezTo>
                  <a:cubicBezTo>
                    <a:pt x="550" y="40"/>
                    <a:pt x="549" y="40"/>
                    <a:pt x="549" y="40"/>
                  </a:cubicBezTo>
                  <a:cubicBezTo>
                    <a:pt x="549" y="40"/>
                    <a:pt x="548" y="40"/>
                    <a:pt x="548" y="40"/>
                  </a:cubicBezTo>
                  <a:cubicBezTo>
                    <a:pt x="548" y="40"/>
                    <a:pt x="548" y="40"/>
                    <a:pt x="547" y="39"/>
                  </a:cubicBezTo>
                  <a:cubicBezTo>
                    <a:pt x="547" y="39"/>
                    <a:pt x="547" y="38"/>
                    <a:pt x="547" y="38"/>
                  </a:cubicBezTo>
                  <a:cubicBezTo>
                    <a:pt x="547" y="37"/>
                    <a:pt x="547" y="37"/>
                    <a:pt x="547" y="36"/>
                  </a:cubicBezTo>
                  <a:cubicBezTo>
                    <a:pt x="547" y="35"/>
                    <a:pt x="547" y="34"/>
                    <a:pt x="547" y="34"/>
                  </a:cubicBezTo>
                  <a:cubicBezTo>
                    <a:pt x="547" y="33"/>
                    <a:pt x="548" y="33"/>
                    <a:pt x="548" y="32"/>
                  </a:cubicBezTo>
                  <a:cubicBezTo>
                    <a:pt x="549" y="32"/>
                    <a:pt x="550" y="31"/>
                    <a:pt x="551" y="30"/>
                  </a:cubicBezTo>
                  <a:cubicBezTo>
                    <a:pt x="552" y="29"/>
                    <a:pt x="554" y="29"/>
                    <a:pt x="556" y="28"/>
                  </a:cubicBezTo>
                  <a:cubicBezTo>
                    <a:pt x="558" y="28"/>
                    <a:pt x="560" y="27"/>
                    <a:pt x="562" y="27"/>
                  </a:cubicBezTo>
                  <a:cubicBezTo>
                    <a:pt x="564" y="26"/>
                    <a:pt x="566" y="26"/>
                    <a:pt x="568" y="26"/>
                  </a:cubicBezTo>
                  <a:cubicBezTo>
                    <a:pt x="572" y="26"/>
                    <a:pt x="576" y="27"/>
                    <a:pt x="578" y="27"/>
                  </a:cubicBezTo>
                  <a:cubicBezTo>
                    <a:pt x="581" y="28"/>
                    <a:pt x="584" y="30"/>
                    <a:pt x="585" y="31"/>
                  </a:cubicBezTo>
                  <a:cubicBezTo>
                    <a:pt x="587" y="33"/>
                    <a:pt x="588" y="35"/>
                    <a:pt x="589" y="38"/>
                  </a:cubicBezTo>
                  <a:cubicBezTo>
                    <a:pt x="590" y="41"/>
                    <a:pt x="590" y="44"/>
                    <a:pt x="590" y="47"/>
                  </a:cubicBezTo>
                  <a:lnTo>
                    <a:pt x="590" y="85"/>
                  </a:lnTo>
                  <a:close/>
                  <a:moveTo>
                    <a:pt x="580" y="59"/>
                  </a:moveTo>
                  <a:lnTo>
                    <a:pt x="571" y="59"/>
                  </a:lnTo>
                  <a:cubicBezTo>
                    <a:pt x="568" y="59"/>
                    <a:pt x="566" y="60"/>
                    <a:pt x="564" y="60"/>
                  </a:cubicBezTo>
                  <a:cubicBezTo>
                    <a:pt x="562" y="61"/>
                    <a:pt x="560" y="61"/>
                    <a:pt x="559" y="62"/>
                  </a:cubicBezTo>
                  <a:cubicBezTo>
                    <a:pt x="557" y="63"/>
                    <a:pt x="556" y="64"/>
                    <a:pt x="556" y="66"/>
                  </a:cubicBezTo>
                  <a:cubicBezTo>
                    <a:pt x="555" y="67"/>
                    <a:pt x="555" y="69"/>
                    <a:pt x="555" y="70"/>
                  </a:cubicBezTo>
                  <a:cubicBezTo>
                    <a:pt x="555" y="73"/>
                    <a:pt x="556" y="75"/>
                    <a:pt x="557" y="77"/>
                  </a:cubicBezTo>
                  <a:cubicBezTo>
                    <a:pt x="559" y="79"/>
                    <a:pt x="562" y="80"/>
                    <a:pt x="565" y="80"/>
                  </a:cubicBezTo>
                  <a:cubicBezTo>
                    <a:pt x="568" y="80"/>
                    <a:pt x="570" y="79"/>
                    <a:pt x="573" y="78"/>
                  </a:cubicBezTo>
                  <a:cubicBezTo>
                    <a:pt x="575" y="76"/>
                    <a:pt x="577" y="74"/>
                    <a:pt x="580" y="71"/>
                  </a:cubicBezTo>
                  <a:lnTo>
                    <a:pt x="580" y="59"/>
                  </a:lnTo>
                  <a:close/>
                  <a:moveTo>
                    <a:pt x="660" y="85"/>
                  </a:moveTo>
                  <a:cubicBezTo>
                    <a:pt x="660" y="85"/>
                    <a:pt x="660" y="86"/>
                    <a:pt x="660" y="86"/>
                  </a:cubicBezTo>
                  <a:cubicBezTo>
                    <a:pt x="660" y="86"/>
                    <a:pt x="660" y="86"/>
                    <a:pt x="659" y="87"/>
                  </a:cubicBezTo>
                  <a:cubicBezTo>
                    <a:pt x="659" y="87"/>
                    <a:pt x="658" y="87"/>
                    <a:pt x="658" y="87"/>
                  </a:cubicBezTo>
                  <a:cubicBezTo>
                    <a:pt x="657" y="87"/>
                    <a:pt x="656" y="87"/>
                    <a:pt x="655" y="87"/>
                  </a:cubicBezTo>
                  <a:cubicBezTo>
                    <a:pt x="654" y="87"/>
                    <a:pt x="653" y="87"/>
                    <a:pt x="653" y="87"/>
                  </a:cubicBezTo>
                  <a:cubicBezTo>
                    <a:pt x="652" y="87"/>
                    <a:pt x="651" y="87"/>
                    <a:pt x="651" y="87"/>
                  </a:cubicBezTo>
                  <a:cubicBezTo>
                    <a:pt x="651" y="86"/>
                    <a:pt x="650" y="86"/>
                    <a:pt x="650" y="86"/>
                  </a:cubicBezTo>
                  <a:cubicBezTo>
                    <a:pt x="650" y="86"/>
                    <a:pt x="650" y="85"/>
                    <a:pt x="650" y="85"/>
                  </a:cubicBezTo>
                  <a:lnTo>
                    <a:pt x="650" y="52"/>
                  </a:lnTo>
                  <a:cubicBezTo>
                    <a:pt x="650" y="49"/>
                    <a:pt x="650" y="46"/>
                    <a:pt x="649" y="44"/>
                  </a:cubicBezTo>
                  <a:cubicBezTo>
                    <a:pt x="649" y="42"/>
                    <a:pt x="648" y="41"/>
                    <a:pt x="647" y="39"/>
                  </a:cubicBezTo>
                  <a:cubicBezTo>
                    <a:pt x="646" y="38"/>
                    <a:pt x="645" y="37"/>
                    <a:pt x="643" y="36"/>
                  </a:cubicBezTo>
                  <a:cubicBezTo>
                    <a:pt x="642" y="35"/>
                    <a:pt x="640" y="35"/>
                    <a:pt x="638" y="35"/>
                  </a:cubicBezTo>
                  <a:cubicBezTo>
                    <a:pt x="635" y="35"/>
                    <a:pt x="633" y="36"/>
                    <a:pt x="630" y="38"/>
                  </a:cubicBezTo>
                  <a:cubicBezTo>
                    <a:pt x="628" y="40"/>
                    <a:pt x="625" y="42"/>
                    <a:pt x="622" y="46"/>
                  </a:cubicBezTo>
                  <a:lnTo>
                    <a:pt x="622" y="85"/>
                  </a:lnTo>
                  <a:cubicBezTo>
                    <a:pt x="622" y="85"/>
                    <a:pt x="622" y="86"/>
                    <a:pt x="622" y="86"/>
                  </a:cubicBezTo>
                  <a:cubicBezTo>
                    <a:pt x="622" y="86"/>
                    <a:pt x="622" y="86"/>
                    <a:pt x="621" y="87"/>
                  </a:cubicBezTo>
                  <a:cubicBezTo>
                    <a:pt x="621" y="87"/>
                    <a:pt x="620" y="87"/>
                    <a:pt x="620" y="87"/>
                  </a:cubicBezTo>
                  <a:cubicBezTo>
                    <a:pt x="619" y="87"/>
                    <a:pt x="618" y="87"/>
                    <a:pt x="617" y="87"/>
                  </a:cubicBezTo>
                  <a:cubicBezTo>
                    <a:pt x="616" y="87"/>
                    <a:pt x="615" y="87"/>
                    <a:pt x="615" y="87"/>
                  </a:cubicBezTo>
                  <a:cubicBezTo>
                    <a:pt x="614" y="87"/>
                    <a:pt x="613" y="87"/>
                    <a:pt x="613" y="87"/>
                  </a:cubicBezTo>
                  <a:cubicBezTo>
                    <a:pt x="613" y="86"/>
                    <a:pt x="612" y="86"/>
                    <a:pt x="612" y="86"/>
                  </a:cubicBezTo>
                  <a:cubicBezTo>
                    <a:pt x="612" y="86"/>
                    <a:pt x="612" y="85"/>
                    <a:pt x="612" y="85"/>
                  </a:cubicBezTo>
                  <a:lnTo>
                    <a:pt x="612" y="29"/>
                  </a:lnTo>
                  <a:cubicBezTo>
                    <a:pt x="612" y="29"/>
                    <a:pt x="612" y="28"/>
                    <a:pt x="612" y="28"/>
                  </a:cubicBezTo>
                  <a:cubicBezTo>
                    <a:pt x="612" y="28"/>
                    <a:pt x="612" y="28"/>
                    <a:pt x="613" y="27"/>
                  </a:cubicBezTo>
                  <a:cubicBezTo>
                    <a:pt x="613" y="27"/>
                    <a:pt x="614" y="27"/>
                    <a:pt x="614" y="27"/>
                  </a:cubicBezTo>
                  <a:cubicBezTo>
                    <a:pt x="615" y="27"/>
                    <a:pt x="616" y="27"/>
                    <a:pt x="617" y="27"/>
                  </a:cubicBezTo>
                  <a:cubicBezTo>
                    <a:pt x="617" y="27"/>
                    <a:pt x="618" y="27"/>
                    <a:pt x="619" y="27"/>
                  </a:cubicBezTo>
                  <a:cubicBezTo>
                    <a:pt x="619" y="27"/>
                    <a:pt x="620" y="27"/>
                    <a:pt x="620" y="27"/>
                  </a:cubicBezTo>
                  <a:cubicBezTo>
                    <a:pt x="621" y="28"/>
                    <a:pt x="621" y="28"/>
                    <a:pt x="621" y="28"/>
                  </a:cubicBezTo>
                  <a:cubicBezTo>
                    <a:pt x="621" y="28"/>
                    <a:pt x="621" y="29"/>
                    <a:pt x="621" y="29"/>
                  </a:cubicBezTo>
                  <a:lnTo>
                    <a:pt x="621" y="36"/>
                  </a:lnTo>
                  <a:cubicBezTo>
                    <a:pt x="624" y="33"/>
                    <a:pt x="628" y="30"/>
                    <a:pt x="631" y="29"/>
                  </a:cubicBezTo>
                  <a:cubicBezTo>
                    <a:pt x="634" y="27"/>
                    <a:pt x="637" y="26"/>
                    <a:pt x="640" y="26"/>
                  </a:cubicBezTo>
                  <a:cubicBezTo>
                    <a:pt x="644" y="26"/>
                    <a:pt x="647" y="27"/>
                    <a:pt x="650" y="28"/>
                  </a:cubicBezTo>
                  <a:cubicBezTo>
                    <a:pt x="652" y="29"/>
                    <a:pt x="654" y="31"/>
                    <a:pt x="656" y="33"/>
                  </a:cubicBezTo>
                  <a:cubicBezTo>
                    <a:pt x="657" y="35"/>
                    <a:pt x="659" y="38"/>
                    <a:pt x="659" y="41"/>
                  </a:cubicBezTo>
                  <a:cubicBezTo>
                    <a:pt x="660" y="43"/>
                    <a:pt x="660" y="47"/>
                    <a:pt x="660" y="51"/>
                  </a:cubicBezTo>
                  <a:lnTo>
                    <a:pt x="660" y="85"/>
                  </a:lnTo>
                  <a:close/>
                  <a:moveTo>
                    <a:pt x="686" y="85"/>
                  </a:moveTo>
                  <a:cubicBezTo>
                    <a:pt x="686" y="85"/>
                    <a:pt x="686" y="86"/>
                    <a:pt x="686" y="86"/>
                  </a:cubicBezTo>
                  <a:cubicBezTo>
                    <a:pt x="686" y="86"/>
                    <a:pt x="686" y="86"/>
                    <a:pt x="685" y="87"/>
                  </a:cubicBezTo>
                  <a:cubicBezTo>
                    <a:pt x="685" y="87"/>
                    <a:pt x="684" y="87"/>
                    <a:pt x="684" y="87"/>
                  </a:cubicBezTo>
                  <a:cubicBezTo>
                    <a:pt x="683" y="87"/>
                    <a:pt x="682" y="87"/>
                    <a:pt x="681" y="87"/>
                  </a:cubicBezTo>
                  <a:cubicBezTo>
                    <a:pt x="680" y="87"/>
                    <a:pt x="679" y="87"/>
                    <a:pt x="679" y="87"/>
                  </a:cubicBezTo>
                  <a:cubicBezTo>
                    <a:pt x="678" y="87"/>
                    <a:pt x="677" y="87"/>
                    <a:pt x="677" y="87"/>
                  </a:cubicBezTo>
                  <a:cubicBezTo>
                    <a:pt x="677" y="86"/>
                    <a:pt x="676" y="86"/>
                    <a:pt x="676" y="86"/>
                  </a:cubicBezTo>
                  <a:cubicBezTo>
                    <a:pt x="676" y="86"/>
                    <a:pt x="676" y="85"/>
                    <a:pt x="676" y="85"/>
                  </a:cubicBezTo>
                  <a:lnTo>
                    <a:pt x="676" y="29"/>
                  </a:lnTo>
                  <a:cubicBezTo>
                    <a:pt x="676" y="29"/>
                    <a:pt x="676" y="28"/>
                    <a:pt x="676" y="28"/>
                  </a:cubicBezTo>
                  <a:cubicBezTo>
                    <a:pt x="676" y="28"/>
                    <a:pt x="677" y="28"/>
                    <a:pt x="677" y="27"/>
                  </a:cubicBezTo>
                  <a:cubicBezTo>
                    <a:pt x="677" y="27"/>
                    <a:pt x="678" y="27"/>
                    <a:pt x="679" y="27"/>
                  </a:cubicBezTo>
                  <a:cubicBezTo>
                    <a:pt x="679" y="27"/>
                    <a:pt x="680" y="27"/>
                    <a:pt x="681" y="27"/>
                  </a:cubicBezTo>
                  <a:cubicBezTo>
                    <a:pt x="682" y="27"/>
                    <a:pt x="683" y="27"/>
                    <a:pt x="684" y="27"/>
                  </a:cubicBezTo>
                  <a:cubicBezTo>
                    <a:pt x="684" y="27"/>
                    <a:pt x="685" y="27"/>
                    <a:pt x="685" y="27"/>
                  </a:cubicBezTo>
                  <a:cubicBezTo>
                    <a:pt x="686" y="28"/>
                    <a:pt x="686" y="28"/>
                    <a:pt x="686" y="28"/>
                  </a:cubicBezTo>
                  <a:cubicBezTo>
                    <a:pt x="686" y="28"/>
                    <a:pt x="686" y="29"/>
                    <a:pt x="686" y="29"/>
                  </a:cubicBezTo>
                  <a:lnTo>
                    <a:pt x="686" y="85"/>
                  </a:lnTo>
                  <a:close/>
                  <a:moveTo>
                    <a:pt x="687" y="10"/>
                  </a:moveTo>
                  <a:cubicBezTo>
                    <a:pt x="687" y="12"/>
                    <a:pt x="687" y="14"/>
                    <a:pt x="686" y="15"/>
                  </a:cubicBezTo>
                  <a:cubicBezTo>
                    <a:pt x="685" y="16"/>
                    <a:pt x="683" y="16"/>
                    <a:pt x="681" y="16"/>
                  </a:cubicBezTo>
                  <a:cubicBezTo>
                    <a:pt x="679" y="16"/>
                    <a:pt x="677" y="16"/>
                    <a:pt x="676" y="15"/>
                  </a:cubicBezTo>
                  <a:cubicBezTo>
                    <a:pt x="675" y="14"/>
                    <a:pt x="675" y="12"/>
                    <a:pt x="675" y="10"/>
                  </a:cubicBezTo>
                  <a:cubicBezTo>
                    <a:pt x="675" y="8"/>
                    <a:pt x="675" y="6"/>
                    <a:pt x="676" y="5"/>
                  </a:cubicBezTo>
                  <a:cubicBezTo>
                    <a:pt x="677" y="4"/>
                    <a:pt x="679" y="4"/>
                    <a:pt x="681" y="4"/>
                  </a:cubicBezTo>
                  <a:cubicBezTo>
                    <a:pt x="683" y="4"/>
                    <a:pt x="685" y="4"/>
                    <a:pt x="686" y="5"/>
                  </a:cubicBezTo>
                  <a:cubicBezTo>
                    <a:pt x="687" y="6"/>
                    <a:pt x="687" y="7"/>
                    <a:pt x="687" y="10"/>
                  </a:cubicBezTo>
                  <a:close/>
                  <a:moveTo>
                    <a:pt x="737" y="81"/>
                  </a:moveTo>
                  <a:cubicBezTo>
                    <a:pt x="737" y="82"/>
                    <a:pt x="737" y="83"/>
                    <a:pt x="737" y="84"/>
                  </a:cubicBezTo>
                  <a:cubicBezTo>
                    <a:pt x="737" y="85"/>
                    <a:pt x="736" y="85"/>
                    <a:pt x="736" y="85"/>
                  </a:cubicBezTo>
                  <a:cubicBezTo>
                    <a:pt x="736" y="86"/>
                    <a:pt x="735" y="86"/>
                    <a:pt x="735" y="86"/>
                  </a:cubicBezTo>
                  <a:cubicBezTo>
                    <a:pt x="734" y="87"/>
                    <a:pt x="733" y="87"/>
                    <a:pt x="732" y="87"/>
                  </a:cubicBezTo>
                  <a:cubicBezTo>
                    <a:pt x="731" y="87"/>
                    <a:pt x="731" y="87"/>
                    <a:pt x="730" y="88"/>
                  </a:cubicBezTo>
                  <a:cubicBezTo>
                    <a:pt x="729" y="88"/>
                    <a:pt x="728" y="88"/>
                    <a:pt x="727" y="88"/>
                  </a:cubicBezTo>
                  <a:cubicBezTo>
                    <a:pt x="724" y="88"/>
                    <a:pt x="721" y="87"/>
                    <a:pt x="719" y="87"/>
                  </a:cubicBezTo>
                  <a:cubicBezTo>
                    <a:pt x="717" y="86"/>
                    <a:pt x="715" y="85"/>
                    <a:pt x="714" y="83"/>
                  </a:cubicBezTo>
                  <a:cubicBezTo>
                    <a:pt x="713" y="82"/>
                    <a:pt x="712" y="80"/>
                    <a:pt x="711" y="77"/>
                  </a:cubicBezTo>
                  <a:cubicBezTo>
                    <a:pt x="711" y="75"/>
                    <a:pt x="710" y="72"/>
                    <a:pt x="710" y="69"/>
                  </a:cubicBezTo>
                  <a:lnTo>
                    <a:pt x="710" y="36"/>
                  </a:lnTo>
                  <a:lnTo>
                    <a:pt x="702" y="36"/>
                  </a:lnTo>
                  <a:cubicBezTo>
                    <a:pt x="702" y="36"/>
                    <a:pt x="701" y="35"/>
                    <a:pt x="701" y="35"/>
                  </a:cubicBezTo>
                  <a:cubicBezTo>
                    <a:pt x="701" y="34"/>
                    <a:pt x="700" y="33"/>
                    <a:pt x="700" y="32"/>
                  </a:cubicBezTo>
                  <a:cubicBezTo>
                    <a:pt x="700" y="31"/>
                    <a:pt x="700" y="30"/>
                    <a:pt x="701" y="30"/>
                  </a:cubicBezTo>
                  <a:cubicBezTo>
                    <a:pt x="701" y="29"/>
                    <a:pt x="701" y="29"/>
                    <a:pt x="701" y="28"/>
                  </a:cubicBezTo>
                  <a:cubicBezTo>
                    <a:pt x="701" y="28"/>
                    <a:pt x="701" y="28"/>
                    <a:pt x="702" y="27"/>
                  </a:cubicBezTo>
                  <a:cubicBezTo>
                    <a:pt x="702" y="27"/>
                    <a:pt x="702" y="27"/>
                    <a:pt x="703" y="27"/>
                  </a:cubicBezTo>
                  <a:lnTo>
                    <a:pt x="710" y="27"/>
                  </a:lnTo>
                  <a:lnTo>
                    <a:pt x="710" y="14"/>
                  </a:lnTo>
                  <a:cubicBezTo>
                    <a:pt x="710" y="14"/>
                    <a:pt x="710" y="13"/>
                    <a:pt x="711" y="13"/>
                  </a:cubicBezTo>
                  <a:cubicBezTo>
                    <a:pt x="711" y="13"/>
                    <a:pt x="711" y="13"/>
                    <a:pt x="711" y="12"/>
                  </a:cubicBezTo>
                  <a:cubicBezTo>
                    <a:pt x="712" y="12"/>
                    <a:pt x="712" y="12"/>
                    <a:pt x="713" y="12"/>
                  </a:cubicBezTo>
                  <a:cubicBezTo>
                    <a:pt x="714" y="12"/>
                    <a:pt x="714" y="12"/>
                    <a:pt x="715" y="12"/>
                  </a:cubicBezTo>
                  <a:cubicBezTo>
                    <a:pt x="716" y="12"/>
                    <a:pt x="717" y="12"/>
                    <a:pt x="718" y="12"/>
                  </a:cubicBezTo>
                  <a:cubicBezTo>
                    <a:pt x="719" y="12"/>
                    <a:pt x="719" y="12"/>
                    <a:pt x="720" y="12"/>
                  </a:cubicBezTo>
                  <a:cubicBezTo>
                    <a:pt x="720" y="13"/>
                    <a:pt x="720" y="13"/>
                    <a:pt x="720" y="13"/>
                  </a:cubicBezTo>
                  <a:cubicBezTo>
                    <a:pt x="721" y="13"/>
                    <a:pt x="721" y="14"/>
                    <a:pt x="721" y="14"/>
                  </a:cubicBezTo>
                  <a:lnTo>
                    <a:pt x="721" y="27"/>
                  </a:lnTo>
                  <a:lnTo>
                    <a:pt x="735" y="27"/>
                  </a:lnTo>
                  <a:cubicBezTo>
                    <a:pt x="735" y="27"/>
                    <a:pt x="736" y="27"/>
                    <a:pt x="736" y="27"/>
                  </a:cubicBezTo>
                  <a:cubicBezTo>
                    <a:pt x="736" y="28"/>
                    <a:pt x="736" y="28"/>
                    <a:pt x="737" y="28"/>
                  </a:cubicBezTo>
                  <a:cubicBezTo>
                    <a:pt x="737" y="29"/>
                    <a:pt x="737" y="29"/>
                    <a:pt x="737" y="30"/>
                  </a:cubicBezTo>
                  <a:cubicBezTo>
                    <a:pt x="737" y="30"/>
                    <a:pt x="737" y="31"/>
                    <a:pt x="737" y="32"/>
                  </a:cubicBezTo>
                  <a:cubicBezTo>
                    <a:pt x="737" y="33"/>
                    <a:pt x="737" y="34"/>
                    <a:pt x="737" y="35"/>
                  </a:cubicBezTo>
                  <a:cubicBezTo>
                    <a:pt x="736" y="35"/>
                    <a:pt x="736" y="36"/>
                    <a:pt x="735" y="36"/>
                  </a:cubicBezTo>
                  <a:lnTo>
                    <a:pt x="721" y="36"/>
                  </a:lnTo>
                  <a:lnTo>
                    <a:pt x="721" y="67"/>
                  </a:lnTo>
                  <a:cubicBezTo>
                    <a:pt x="721" y="71"/>
                    <a:pt x="721" y="74"/>
                    <a:pt x="722" y="76"/>
                  </a:cubicBezTo>
                  <a:cubicBezTo>
                    <a:pt x="723" y="78"/>
                    <a:pt x="726" y="79"/>
                    <a:pt x="729" y="79"/>
                  </a:cubicBezTo>
                  <a:cubicBezTo>
                    <a:pt x="729" y="79"/>
                    <a:pt x="730" y="79"/>
                    <a:pt x="731" y="79"/>
                  </a:cubicBezTo>
                  <a:cubicBezTo>
                    <a:pt x="732" y="78"/>
                    <a:pt x="732" y="78"/>
                    <a:pt x="733" y="78"/>
                  </a:cubicBezTo>
                  <a:cubicBezTo>
                    <a:pt x="734" y="78"/>
                    <a:pt x="734" y="78"/>
                    <a:pt x="735" y="77"/>
                  </a:cubicBezTo>
                  <a:cubicBezTo>
                    <a:pt x="735" y="77"/>
                    <a:pt x="735" y="77"/>
                    <a:pt x="736" y="77"/>
                  </a:cubicBezTo>
                  <a:cubicBezTo>
                    <a:pt x="736" y="77"/>
                    <a:pt x="736" y="77"/>
                    <a:pt x="736" y="77"/>
                  </a:cubicBezTo>
                  <a:cubicBezTo>
                    <a:pt x="736" y="77"/>
                    <a:pt x="737" y="78"/>
                    <a:pt x="737" y="78"/>
                  </a:cubicBezTo>
                  <a:cubicBezTo>
                    <a:pt x="737" y="78"/>
                    <a:pt x="737" y="79"/>
                    <a:pt x="737" y="79"/>
                  </a:cubicBezTo>
                  <a:cubicBezTo>
                    <a:pt x="737" y="80"/>
                    <a:pt x="737" y="80"/>
                    <a:pt x="737" y="81"/>
                  </a:cubicBezTo>
                  <a:close/>
                  <a:moveTo>
                    <a:pt x="766" y="87"/>
                  </a:moveTo>
                  <a:lnTo>
                    <a:pt x="758" y="107"/>
                  </a:lnTo>
                  <a:cubicBezTo>
                    <a:pt x="758" y="108"/>
                    <a:pt x="757" y="109"/>
                    <a:pt x="756" y="109"/>
                  </a:cubicBezTo>
                  <a:cubicBezTo>
                    <a:pt x="755" y="109"/>
                    <a:pt x="754" y="109"/>
                    <a:pt x="751" y="109"/>
                  </a:cubicBezTo>
                  <a:cubicBezTo>
                    <a:pt x="750" y="109"/>
                    <a:pt x="749" y="109"/>
                    <a:pt x="749" y="109"/>
                  </a:cubicBezTo>
                  <a:cubicBezTo>
                    <a:pt x="748" y="109"/>
                    <a:pt x="748" y="109"/>
                    <a:pt x="747" y="109"/>
                  </a:cubicBezTo>
                  <a:cubicBezTo>
                    <a:pt x="747" y="108"/>
                    <a:pt x="747" y="108"/>
                    <a:pt x="747" y="108"/>
                  </a:cubicBezTo>
                  <a:cubicBezTo>
                    <a:pt x="747" y="107"/>
                    <a:pt x="747" y="107"/>
                    <a:pt x="747" y="106"/>
                  </a:cubicBezTo>
                  <a:lnTo>
                    <a:pt x="755" y="87"/>
                  </a:lnTo>
                  <a:cubicBezTo>
                    <a:pt x="754" y="87"/>
                    <a:pt x="754" y="86"/>
                    <a:pt x="754" y="86"/>
                  </a:cubicBezTo>
                  <a:cubicBezTo>
                    <a:pt x="753" y="85"/>
                    <a:pt x="753" y="85"/>
                    <a:pt x="753" y="85"/>
                  </a:cubicBezTo>
                  <a:lnTo>
                    <a:pt x="733" y="31"/>
                  </a:lnTo>
                  <a:cubicBezTo>
                    <a:pt x="733" y="30"/>
                    <a:pt x="732" y="29"/>
                    <a:pt x="732" y="29"/>
                  </a:cubicBezTo>
                  <a:cubicBezTo>
                    <a:pt x="732" y="28"/>
                    <a:pt x="733" y="28"/>
                    <a:pt x="733" y="28"/>
                  </a:cubicBezTo>
                  <a:cubicBezTo>
                    <a:pt x="733" y="27"/>
                    <a:pt x="734" y="27"/>
                    <a:pt x="735" y="27"/>
                  </a:cubicBezTo>
                  <a:cubicBezTo>
                    <a:pt x="735" y="27"/>
                    <a:pt x="736" y="27"/>
                    <a:pt x="738" y="27"/>
                  </a:cubicBezTo>
                  <a:cubicBezTo>
                    <a:pt x="739" y="27"/>
                    <a:pt x="740" y="27"/>
                    <a:pt x="741" y="27"/>
                  </a:cubicBezTo>
                  <a:cubicBezTo>
                    <a:pt x="741" y="27"/>
                    <a:pt x="742" y="27"/>
                    <a:pt x="742" y="27"/>
                  </a:cubicBezTo>
                  <a:cubicBezTo>
                    <a:pt x="743" y="28"/>
                    <a:pt x="743" y="28"/>
                    <a:pt x="743" y="28"/>
                  </a:cubicBezTo>
                  <a:cubicBezTo>
                    <a:pt x="743" y="28"/>
                    <a:pt x="743" y="29"/>
                    <a:pt x="744" y="29"/>
                  </a:cubicBezTo>
                  <a:lnTo>
                    <a:pt x="760" y="74"/>
                  </a:lnTo>
                  <a:lnTo>
                    <a:pt x="760" y="74"/>
                  </a:lnTo>
                  <a:lnTo>
                    <a:pt x="775" y="29"/>
                  </a:lnTo>
                  <a:cubicBezTo>
                    <a:pt x="776" y="28"/>
                    <a:pt x="776" y="28"/>
                    <a:pt x="776" y="28"/>
                  </a:cubicBezTo>
                  <a:cubicBezTo>
                    <a:pt x="777" y="27"/>
                    <a:pt x="777" y="27"/>
                    <a:pt x="778" y="27"/>
                  </a:cubicBezTo>
                  <a:cubicBezTo>
                    <a:pt x="779" y="27"/>
                    <a:pt x="780" y="27"/>
                    <a:pt x="781" y="27"/>
                  </a:cubicBezTo>
                  <a:cubicBezTo>
                    <a:pt x="782" y="27"/>
                    <a:pt x="783" y="27"/>
                    <a:pt x="784" y="27"/>
                  </a:cubicBezTo>
                  <a:cubicBezTo>
                    <a:pt x="785" y="27"/>
                    <a:pt x="785" y="27"/>
                    <a:pt x="786" y="28"/>
                  </a:cubicBezTo>
                  <a:cubicBezTo>
                    <a:pt x="786" y="28"/>
                    <a:pt x="786" y="28"/>
                    <a:pt x="786" y="29"/>
                  </a:cubicBezTo>
                  <a:cubicBezTo>
                    <a:pt x="786" y="29"/>
                    <a:pt x="786" y="30"/>
                    <a:pt x="786" y="31"/>
                  </a:cubicBezTo>
                  <a:lnTo>
                    <a:pt x="766" y="87"/>
                  </a:ln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Rectangle 124">
              <a:extLst>
                <a:ext uri="{FF2B5EF4-FFF2-40B4-BE49-F238E27FC236}">
                  <a16:creationId xmlns:a16="http://schemas.microsoft.com/office/drawing/2014/main" id="{725F9F73-E439-4DAC-9A71-28AD9BEE588E}"/>
                </a:ext>
              </a:extLst>
            </p:cNvPr>
            <p:cNvSpPr>
              <a:spLocks noChangeArrowheads="1"/>
            </p:cNvSpPr>
            <p:nvPr/>
          </p:nvSpPr>
          <p:spPr bwMode="auto">
            <a:xfrm>
              <a:off x="3592" y="2827"/>
              <a:ext cx="19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a:ln>
                    <a:noFill/>
                  </a:ln>
                  <a:solidFill>
                    <a:srgbClr val="00B050"/>
                  </a:solidFill>
                  <a:effectLst/>
                  <a:latin typeface="Segoe UI" panose="020B0502040204020203" pitchFamily="34" charset="0"/>
                </a:rPr>
                <a:t>Adm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27773" name="Picture 125">
              <a:extLst>
                <a:ext uri="{FF2B5EF4-FFF2-40B4-BE49-F238E27FC236}">
                  <a16:creationId xmlns:a16="http://schemas.microsoft.com/office/drawing/2014/main" id="{7343DBA7-EC82-4C8B-9660-52077D477CA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6" y="2204"/>
              <a:ext cx="10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74" name="Picture 126">
              <a:extLst>
                <a:ext uri="{FF2B5EF4-FFF2-40B4-BE49-F238E27FC236}">
                  <a16:creationId xmlns:a16="http://schemas.microsoft.com/office/drawing/2014/main" id="{07D66C95-419D-496F-8579-B5A4E426C66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46" y="2204"/>
              <a:ext cx="10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 name="Freeform 127">
              <a:extLst>
                <a:ext uri="{FF2B5EF4-FFF2-40B4-BE49-F238E27FC236}">
                  <a16:creationId xmlns:a16="http://schemas.microsoft.com/office/drawing/2014/main" id="{DDEB4F46-906B-489F-A6A4-03D0BAD6491D}"/>
                </a:ext>
              </a:extLst>
            </p:cNvPr>
            <p:cNvSpPr>
              <a:spLocks noEditPoints="1"/>
            </p:cNvSpPr>
            <p:nvPr/>
          </p:nvSpPr>
          <p:spPr bwMode="auto">
            <a:xfrm>
              <a:off x="2933" y="2006"/>
              <a:ext cx="919" cy="263"/>
            </a:xfrm>
            <a:custGeom>
              <a:avLst/>
              <a:gdLst>
                <a:gd name="T0" fmla="*/ 4 w 2054"/>
                <a:gd name="T1" fmla="*/ 587 h 587"/>
                <a:gd name="T2" fmla="*/ 82 w 2054"/>
                <a:gd name="T3" fmla="*/ 524 h 587"/>
                <a:gd name="T4" fmla="*/ 99 w 2054"/>
                <a:gd name="T5" fmla="*/ 508 h 587"/>
                <a:gd name="T6" fmla="*/ 114 w 2054"/>
                <a:gd name="T7" fmla="*/ 504 h 587"/>
                <a:gd name="T8" fmla="*/ 179 w 2054"/>
                <a:gd name="T9" fmla="*/ 453 h 587"/>
                <a:gd name="T10" fmla="*/ 150 w 2054"/>
                <a:gd name="T11" fmla="*/ 473 h 587"/>
                <a:gd name="T12" fmla="*/ 233 w 2054"/>
                <a:gd name="T13" fmla="*/ 423 h 587"/>
                <a:gd name="T14" fmla="*/ 252 w 2054"/>
                <a:gd name="T15" fmla="*/ 406 h 587"/>
                <a:gd name="T16" fmla="*/ 251 w 2054"/>
                <a:gd name="T17" fmla="*/ 409 h 587"/>
                <a:gd name="T18" fmla="*/ 338 w 2054"/>
                <a:gd name="T19" fmla="*/ 360 h 587"/>
                <a:gd name="T20" fmla="*/ 389 w 2054"/>
                <a:gd name="T21" fmla="*/ 326 h 587"/>
                <a:gd name="T22" fmla="*/ 358 w 2054"/>
                <a:gd name="T23" fmla="*/ 343 h 587"/>
                <a:gd name="T24" fmla="*/ 414 w 2054"/>
                <a:gd name="T25" fmla="*/ 318 h 587"/>
                <a:gd name="T26" fmla="*/ 502 w 2054"/>
                <a:gd name="T27" fmla="*/ 270 h 587"/>
                <a:gd name="T28" fmla="*/ 522 w 2054"/>
                <a:gd name="T29" fmla="*/ 258 h 587"/>
                <a:gd name="T30" fmla="*/ 521 w 2054"/>
                <a:gd name="T31" fmla="*/ 262 h 587"/>
                <a:gd name="T32" fmla="*/ 614 w 2054"/>
                <a:gd name="T33" fmla="*/ 219 h 587"/>
                <a:gd name="T34" fmla="*/ 577 w 2054"/>
                <a:gd name="T35" fmla="*/ 232 h 587"/>
                <a:gd name="T36" fmla="*/ 636 w 2054"/>
                <a:gd name="T37" fmla="*/ 213 h 587"/>
                <a:gd name="T38" fmla="*/ 725 w 2054"/>
                <a:gd name="T39" fmla="*/ 172 h 587"/>
                <a:gd name="T40" fmla="*/ 690 w 2054"/>
                <a:gd name="T41" fmla="*/ 189 h 587"/>
                <a:gd name="T42" fmla="*/ 784 w 2054"/>
                <a:gd name="T43" fmla="*/ 156 h 587"/>
                <a:gd name="T44" fmla="*/ 840 w 2054"/>
                <a:gd name="T45" fmla="*/ 131 h 587"/>
                <a:gd name="T46" fmla="*/ 808 w 2054"/>
                <a:gd name="T47" fmla="*/ 148 h 587"/>
                <a:gd name="T48" fmla="*/ 903 w 2054"/>
                <a:gd name="T49" fmla="*/ 115 h 587"/>
                <a:gd name="T50" fmla="*/ 924 w 2054"/>
                <a:gd name="T51" fmla="*/ 106 h 587"/>
                <a:gd name="T52" fmla="*/ 922 w 2054"/>
                <a:gd name="T53" fmla="*/ 109 h 587"/>
                <a:gd name="T54" fmla="*/ 1019 w 2054"/>
                <a:gd name="T55" fmla="*/ 86 h 587"/>
                <a:gd name="T56" fmla="*/ 1078 w 2054"/>
                <a:gd name="T57" fmla="*/ 67 h 587"/>
                <a:gd name="T58" fmla="*/ 1043 w 2054"/>
                <a:gd name="T59" fmla="*/ 75 h 587"/>
                <a:gd name="T60" fmla="*/ 1104 w 2054"/>
                <a:gd name="T61" fmla="*/ 66 h 587"/>
                <a:gd name="T62" fmla="*/ 1201 w 2054"/>
                <a:gd name="T63" fmla="*/ 44 h 587"/>
                <a:gd name="T64" fmla="*/ 1223 w 2054"/>
                <a:gd name="T65" fmla="*/ 37 h 587"/>
                <a:gd name="T66" fmla="*/ 1235 w 2054"/>
                <a:gd name="T67" fmla="*/ 40 h 587"/>
                <a:gd name="T68" fmla="*/ 1320 w 2054"/>
                <a:gd name="T69" fmla="*/ 24 h 587"/>
                <a:gd name="T70" fmla="*/ 1284 w 2054"/>
                <a:gd name="T71" fmla="*/ 28 h 587"/>
                <a:gd name="T72" fmla="*/ 1381 w 2054"/>
                <a:gd name="T73" fmla="*/ 21 h 587"/>
                <a:gd name="T74" fmla="*/ 1406 w 2054"/>
                <a:gd name="T75" fmla="*/ 14 h 587"/>
                <a:gd name="T76" fmla="*/ 1404 w 2054"/>
                <a:gd name="T77" fmla="*/ 16 h 587"/>
                <a:gd name="T78" fmla="*/ 1504 w 2054"/>
                <a:gd name="T79" fmla="*/ 10 h 587"/>
                <a:gd name="T80" fmla="*/ 1565 w 2054"/>
                <a:gd name="T81" fmla="*/ 3 h 587"/>
                <a:gd name="T82" fmla="*/ 1529 w 2054"/>
                <a:gd name="T83" fmla="*/ 4 h 587"/>
                <a:gd name="T84" fmla="*/ 1590 w 2054"/>
                <a:gd name="T85" fmla="*/ 7 h 587"/>
                <a:gd name="T86" fmla="*/ 1690 w 2054"/>
                <a:gd name="T87" fmla="*/ 3 h 587"/>
                <a:gd name="T88" fmla="*/ 1713 w 2054"/>
                <a:gd name="T89" fmla="*/ 1 h 587"/>
                <a:gd name="T90" fmla="*/ 1711 w 2054"/>
                <a:gd name="T91" fmla="*/ 3 h 587"/>
                <a:gd name="T92" fmla="*/ 1813 w 2054"/>
                <a:gd name="T93" fmla="*/ 7 h 587"/>
                <a:gd name="T94" fmla="*/ 1775 w 2054"/>
                <a:gd name="T95" fmla="*/ 2 h 587"/>
                <a:gd name="T96" fmla="*/ 1836 w 2054"/>
                <a:gd name="T97" fmla="*/ 11 h 587"/>
                <a:gd name="T98" fmla="*/ 1933 w 2054"/>
                <a:gd name="T99" fmla="*/ 13 h 587"/>
                <a:gd name="T100" fmla="*/ 1895 w 2054"/>
                <a:gd name="T101" fmla="*/ 12 h 587"/>
                <a:gd name="T102" fmla="*/ 1994 w 2054"/>
                <a:gd name="T103" fmla="*/ 25 h 587"/>
                <a:gd name="T104" fmla="*/ 2052 w 2054"/>
                <a:gd name="T105" fmla="*/ 27 h 587"/>
                <a:gd name="T106" fmla="*/ 2020 w 2054"/>
                <a:gd name="T107" fmla="*/ 23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54" h="587">
                  <a:moveTo>
                    <a:pt x="1" y="582"/>
                  </a:moveTo>
                  <a:lnTo>
                    <a:pt x="30" y="561"/>
                  </a:lnTo>
                  <a:cubicBezTo>
                    <a:pt x="31" y="560"/>
                    <a:pt x="32" y="560"/>
                    <a:pt x="33" y="561"/>
                  </a:cubicBezTo>
                  <a:cubicBezTo>
                    <a:pt x="34" y="562"/>
                    <a:pt x="34" y="564"/>
                    <a:pt x="33" y="565"/>
                  </a:cubicBezTo>
                  <a:lnTo>
                    <a:pt x="4" y="587"/>
                  </a:lnTo>
                  <a:cubicBezTo>
                    <a:pt x="3" y="587"/>
                    <a:pt x="1" y="587"/>
                    <a:pt x="0" y="586"/>
                  </a:cubicBezTo>
                  <a:cubicBezTo>
                    <a:pt x="0" y="585"/>
                    <a:pt x="0" y="583"/>
                    <a:pt x="1" y="582"/>
                  </a:cubicBezTo>
                  <a:close/>
                  <a:moveTo>
                    <a:pt x="50" y="545"/>
                  </a:moveTo>
                  <a:lnTo>
                    <a:pt x="79" y="524"/>
                  </a:lnTo>
                  <a:cubicBezTo>
                    <a:pt x="80" y="523"/>
                    <a:pt x="81" y="523"/>
                    <a:pt x="82" y="524"/>
                  </a:cubicBezTo>
                  <a:cubicBezTo>
                    <a:pt x="83" y="525"/>
                    <a:pt x="83" y="527"/>
                    <a:pt x="82" y="528"/>
                  </a:cubicBezTo>
                  <a:lnTo>
                    <a:pt x="53" y="550"/>
                  </a:lnTo>
                  <a:cubicBezTo>
                    <a:pt x="52" y="550"/>
                    <a:pt x="50" y="550"/>
                    <a:pt x="49" y="549"/>
                  </a:cubicBezTo>
                  <a:cubicBezTo>
                    <a:pt x="49" y="548"/>
                    <a:pt x="49" y="546"/>
                    <a:pt x="50" y="545"/>
                  </a:cubicBezTo>
                  <a:close/>
                  <a:moveTo>
                    <a:pt x="99" y="508"/>
                  </a:moveTo>
                  <a:lnTo>
                    <a:pt x="111" y="499"/>
                  </a:lnTo>
                  <a:lnTo>
                    <a:pt x="128" y="488"/>
                  </a:lnTo>
                  <a:cubicBezTo>
                    <a:pt x="130" y="487"/>
                    <a:pt x="131" y="487"/>
                    <a:pt x="132" y="488"/>
                  </a:cubicBezTo>
                  <a:cubicBezTo>
                    <a:pt x="133" y="490"/>
                    <a:pt x="132" y="491"/>
                    <a:pt x="131" y="492"/>
                  </a:cubicBezTo>
                  <a:lnTo>
                    <a:pt x="114" y="504"/>
                  </a:lnTo>
                  <a:lnTo>
                    <a:pt x="102" y="513"/>
                  </a:lnTo>
                  <a:cubicBezTo>
                    <a:pt x="101" y="513"/>
                    <a:pt x="99" y="513"/>
                    <a:pt x="99" y="512"/>
                  </a:cubicBezTo>
                  <a:cubicBezTo>
                    <a:pt x="98" y="511"/>
                    <a:pt x="98" y="509"/>
                    <a:pt x="99" y="508"/>
                  </a:cubicBezTo>
                  <a:close/>
                  <a:moveTo>
                    <a:pt x="150" y="473"/>
                  </a:moveTo>
                  <a:lnTo>
                    <a:pt x="179" y="453"/>
                  </a:lnTo>
                  <a:cubicBezTo>
                    <a:pt x="180" y="452"/>
                    <a:pt x="182" y="453"/>
                    <a:pt x="183" y="454"/>
                  </a:cubicBezTo>
                  <a:cubicBezTo>
                    <a:pt x="184" y="455"/>
                    <a:pt x="183" y="457"/>
                    <a:pt x="182" y="458"/>
                  </a:cubicBezTo>
                  <a:lnTo>
                    <a:pt x="152" y="478"/>
                  </a:lnTo>
                  <a:cubicBezTo>
                    <a:pt x="151" y="478"/>
                    <a:pt x="150" y="478"/>
                    <a:pt x="149" y="477"/>
                  </a:cubicBezTo>
                  <a:cubicBezTo>
                    <a:pt x="148" y="476"/>
                    <a:pt x="148" y="474"/>
                    <a:pt x="150" y="473"/>
                  </a:cubicBezTo>
                  <a:close/>
                  <a:moveTo>
                    <a:pt x="200" y="439"/>
                  </a:moveTo>
                  <a:lnTo>
                    <a:pt x="225" y="422"/>
                  </a:lnTo>
                  <a:lnTo>
                    <a:pt x="230" y="419"/>
                  </a:lnTo>
                  <a:cubicBezTo>
                    <a:pt x="232" y="418"/>
                    <a:pt x="233" y="419"/>
                    <a:pt x="234" y="420"/>
                  </a:cubicBezTo>
                  <a:cubicBezTo>
                    <a:pt x="235" y="421"/>
                    <a:pt x="234" y="423"/>
                    <a:pt x="233" y="423"/>
                  </a:cubicBezTo>
                  <a:lnTo>
                    <a:pt x="228" y="427"/>
                  </a:lnTo>
                  <a:lnTo>
                    <a:pt x="203" y="443"/>
                  </a:lnTo>
                  <a:cubicBezTo>
                    <a:pt x="202" y="444"/>
                    <a:pt x="201" y="444"/>
                    <a:pt x="200" y="442"/>
                  </a:cubicBezTo>
                  <a:cubicBezTo>
                    <a:pt x="199" y="441"/>
                    <a:pt x="199" y="440"/>
                    <a:pt x="200" y="439"/>
                  </a:cubicBezTo>
                  <a:close/>
                  <a:moveTo>
                    <a:pt x="252" y="406"/>
                  </a:moveTo>
                  <a:lnTo>
                    <a:pt x="283" y="387"/>
                  </a:lnTo>
                  <a:cubicBezTo>
                    <a:pt x="284" y="386"/>
                    <a:pt x="286" y="387"/>
                    <a:pt x="286" y="388"/>
                  </a:cubicBezTo>
                  <a:cubicBezTo>
                    <a:pt x="287" y="389"/>
                    <a:pt x="287" y="391"/>
                    <a:pt x="286" y="392"/>
                  </a:cubicBezTo>
                  <a:lnTo>
                    <a:pt x="255" y="410"/>
                  </a:lnTo>
                  <a:cubicBezTo>
                    <a:pt x="254" y="411"/>
                    <a:pt x="252" y="411"/>
                    <a:pt x="251" y="409"/>
                  </a:cubicBezTo>
                  <a:cubicBezTo>
                    <a:pt x="251" y="408"/>
                    <a:pt x="251" y="407"/>
                    <a:pt x="252" y="406"/>
                  </a:cubicBezTo>
                  <a:close/>
                  <a:moveTo>
                    <a:pt x="305" y="374"/>
                  </a:moveTo>
                  <a:lnTo>
                    <a:pt x="335" y="355"/>
                  </a:lnTo>
                  <a:cubicBezTo>
                    <a:pt x="337" y="355"/>
                    <a:pt x="338" y="355"/>
                    <a:pt x="339" y="356"/>
                  </a:cubicBezTo>
                  <a:cubicBezTo>
                    <a:pt x="340" y="357"/>
                    <a:pt x="339" y="359"/>
                    <a:pt x="338" y="360"/>
                  </a:cubicBezTo>
                  <a:lnTo>
                    <a:pt x="308" y="378"/>
                  </a:lnTo>
                  <a:cubicBezTo>
                    <a:pt x="306" y="379"/>
                    <a:pt x="305" y="379"/>
                    <a:pt x="304" y="377"/>
                  </a:cubicBezTo>
                  <a:cubicBezTo>
                    <a:pt x="303" y="376"/>
                    <a:pt x="304" y="375"/>
                    <a:pt x="305" y="374"/>
                  </a:cubicBezTo>
                  <a:close/>
                  <a:moveTo>
                    <a:pt x="358" y="343"/>
                  </a:moveTo>
                  <a:lnTo>
                    <a:pt x="389" y="326"/>
                  </a:lnTo>
                  <a:cubicBezTo>
                    <a:pt x="391" y="325"/>
                    <a:pt x="392" y="325"/>
                    <a:pt x="393" y="327"/>
                  </a:cubicBezTo>
                  <a:cubicBezTo>
                    <a:pt x="394" y="328"/>
                    <a:pt x="393" y="329"/>
                    <a:pt x="392" y="330"/>
                  </a:cubicBezTo>
                  <a:lnTo>
                    <a:pt x="360" y="347"/>
                  </a:lnTo>
                  <a:cubicBezTo>
                    <a:pt x="359" y="348"/>
                    <a:pt x="358" y="347"/>
                    <a:pt x="357" y="346"/>
                  </a:cubicBezTo>
                  <a:cubicBezTo>
                    <a:pt x="356" y="345"/>
                    <a:pt x="357" y="343"/>
                    <a:pt x="358" y="343"/>
                  </a:cubicBezTo>
                  <a:close/>
                  <a:moveTo>
                    <a:pt x="412" y="313"/>
                  </a:moveTo>
                  <a:lnTo>
                    <a:pt x="443" y="296"/>
                  </a:lnTo>
                  <a:cubicBezTo>
                    <a:pt x="445" y="296"/>
                    <a:pt x="446" y="296"/>
                    <a:pt x="447" y="297"/>
                  </a:cubicBezTo>
                  <a:cubicBezTo>
                    <a:pt x="448" y="299"/>
                    <a:pt x="447" y="300"/>
                    <a:pt x="446" y="301"/>
                  </a:cubicBezTo>
                  <a:lnTo>
                    <a:pt x="414" y="318"/>
                  </a:lnTo>
                  <a:cubicBezTo>
                    <a:pt x="413" y="319"/>
                    <a:pt x="412" y="318"/>
                    <a:pt x="411" y="317"/>
                  </a:cubicBezTo>
                  <a:cubicBezTo>
                    <a:pt x="410" y="316"/>
                    <a:pt x="411" y="314"/>
                    <a:pt x="412" y="313"/>
                  </a:cubicBezTo>
                  <a:close/>
                  <a:moveTo>
                    <a:pt x="466" y="284"/>
                  </a:moveTo>
                  <a:lnTo>
                    <a:pt x="499" y="269"/>
                  </a:lnTo>
                  <a:cubicBezTo>
                    <a:pt x="500" y="268"/>
                    <a:pt x="501" y="269"/>
                    <a:pt x="502" y="270"/>
                  </a:cubicBezTo>
                  <a:cubicBezTo>
                    <a:pt x="503" y="272"/>
                    <a:pt x="502" y="273"/>
                    <a:pt x="501" y="274"/>
                  </a:cubicBezTo>
                  <a:lnTo>
                    <a:pt x="468" y="289"/>
                  </a:lnTo>
                  <a:cubicBezTo>
                    <a:pt x="467" y="290"/>
                    <a:pt x="466" y="289"/>
                    <a:pt x="465" y="288"/>
                  </a:cubicBezTo>
                  <a:cubicBezTo>
                    <a:pt x="464" y="286"/>
                    <a:pt x="465" y="285"/>
                    <a:pt x="466" y="284"/>
                  </a:cubicBezTo>
                  <a:close/>
                  <a:moveTo>
                    <a:pt x="522" y="258"/>
                  </a:moveTo>
                  <a:lnTo>
                    <a:pt x="554" y="243"/>
                  </a:lnTo>
                  <a:cubicBezTo>
                    <a:pt x="555" y="242"/>
                    <a:pt x="557" y="243"/>
                    <a:pt x="558" y="244"/>
                  </a:cubicBezTo>
                  <a:cubicBezTo>
                    <a:pt x="558" y="245"/>
                    <a:pt x="558" y="247"/>
                    <a:pt x="556" y="248"/>
                  </a:cubicBezTo>
                  <a:lnTo>
                    <a:pt x="524" y="263"/>
                  </a:lnTo>
                  <a:cubicBezTo>
                    <a:pt x="523" y="263"/>
                    <a:pt x="521" y="263"/>
                    <a:pt x="521" y="262"/>
                  </a:cubicBezTo>
                  <a:cubicBezTo>
                    <a:pt x="520" y="260"/>
                    <a:pt x="520" y="259"/>
                    <a:pt x="522" y="258"/>
                  </a:cubicBezTo>
                  <a:close/>
                  <a:moveTo>
                    <a:pt x="577" y="232"/>
                  </a:moveTo>
                  <a:lnTo>
                    <a:pt x="585" y="228"/>
                  </a:lnTo>
                  <a:lnTo>
                    <a:pt x="610" y="218"/>
                  </a:lnTo>
                  <a:cubicBezTo>
                    <a:pt x="612" y="217"/>
                    <a:pt x="613" y="218"/>
                    <a:pt x="614" y="219"/>
                  </a:cubicBezTo>
                  <a:cubicBezTo>
                    <a:pt x="614" y="221"/>
                    <a:pt x="614" y="222"/>
                    <a:pt x="612" y="223"/>
                  </a:cubicBezTo>
                  <a:lnTo>
                    <a:pt x="588" y="233"/>
                  </a:lnTo>
                  <a:lnTo>
                    <a:pt x="579" y="237"/>
                  </a:lnTo>
                  <a:cubicBezTo>
                    <a:pt x="578" y="237"/>
                    <a:pt x="577" y="237"/>
                    <a:pt x="576" y="235"/>
                  </a:cubicBezTo>
                  <a:cubicBezTo>
                    <a:pt x="575" y="234"/>
                    <a:pt x="576" y="233"/>
                    <a:pt x="577" y="232"/>
                  </a:cubicBezTo>
                  <a:close/>
                  <a:moveTo>
                    <a:pt x="634" y="208"/>
                  </a:moveTo>
                  <a:lnTo>
                    <a:pt x="667" y="195"/>
                  </a:lnTo>
                  <a:cubicBezTo>
                    <a:pt x="669" y="194"/>
                    <a:pt x="670" y="195"/>
                    <a:pt x="671" y="196"/>
                  </a:cubicBezTo>
                  <a:cubicBezTo>
                    <a:pt x="671" y="198"/>
                    <a:pt x="671" y="199"/>
                    <a:pt x="669" y="200"/>
                  </a:cubicBezTo>
                  <a:lnTo>
                    <a:pt x="636" y="213"/>
                  </a:lnTo>
                  <a:cubicBezTo>
                    <a:pt x="635" y="214"/>
                    <a:pt x="633" y="213"/>
                    <a:pt x="633" y="212"/>
                  </a:cubicBezTo>
                  <a:cubicBezTo>
                    <a:pt x="632" y="210"/>
                    <a:pt x="633" y="209"/>
                    <a:pt x="634" y="208"/>
                  </a:cubicBezTo>
                  <a:close/>
                  <a:moveTo>
                    <a:pt x="691" y="185"/>
                  </a:moveTo>
                  <a:lnTo>
                    <a:pt x="712" y="177"/>
                  </a:lnTo>
                  <a:lnTo>
                    <a:pt x="725" y="172"/>
                  </a:lnTo>
                  <a:cubicBezTo>
                    <a:pt x="726" y="172"/>
                    <a:pt x="727" y="173"/>
                    <a:pt x="728" y="174"/>
                  </a:cubicBezTo>
                  <a:cubicBezTo>
                    <a:pt x="728" y="175"/>
                    <a:pt x="728" y="177"/>
                    <a:pt x="726" y="177"/>
                  </a:cubicBezTo>
                  <a:lnTo>
                    <a:pt x="713" y="182"/>
                  </a:lnTo>
                  <a:lnTo>
                    <a:pt x="693" y="190"/>
                  </a:lnTo>
                  <a:cubicBezTo>
                    <a:pt x="692" y="191"/>
                    <a:pt x="690" y="190"/>
                    <a:pt x="690" y="189"/>
                  </a:cubicBezTo>
                  <a:cubicBezTo>
                    <a:pt x="689" y="187"/>
                    <a:pt x="690" y="186"/>
                    <a:pt x="691" y="185"/>
                  </a:cubicBezTo>
                  <a:close/>
                  <a:moveTo>
                    <a:pt x="749" y="164"/>
                  </a:moveTo>
                  <a:lnTo>
                    <a:pt x="782" y="152"/>
                  </a:lnTo>
                  <a:cubicBezTo>
                    <a:pt x="784" y="151"/>
                    <a:pt x="785" y="152"/>
                    <a:pt x="786" y="153"/>
                  </a:cubicBezTo>
                  <a:cubicBezTo>
                    <a:pt x="786" y="154"/>
                    <a:pt x="786" y="156"/>
                    <a:pt x="784" y="156"/>
                  </a:cubicBezTo>
                  <a:lnTo>
                    <a:pt x="750" y="169"/>
                  </a:lnTo>
                  <a:cubicBezTo>
                    <a:pt x="749" y="169"/>
                    <a:pt x="748" y="168"/>
                    <a:pt x="747" y="167"/>
                  </a:cubicBezTo>
                  <a:cubicBezTo>
                    <a:pt x="747" y="166"/>
                    <a:pt x="747" y="164"/>
                    <a:pt x="749" y="164"/>
                  </a:cubicBezTo>
                  <a:close/>
                  <a:moveTo>
                    <a:pt x="807" y="143"/>
                  </a:moveTo>
                  <a:lnTo>
                    <a:pt x="840" y="131"/>
                  </a:lnTo>
                  <a:lnTo>
                    <a:pt x="840" y="131"/>
                  </a:lnTo>
                  <a:cubicBezTo>
                    <a:pt x="842" y="130"/>
                    <a:pt x="843" y="131"/>
                    <a:pt x="844" y="133"/>
                  </a:cubicBezTo>
                  <a:cubicBezTo>
                    <a:pt x="844" y="134"/>
                    <a:pt x="843" y="135"/>
                    <a:pt x="842" y="136"/>
                  </a:cubicBezTo>
                  <a:lnTo>
                    <a:pt x="841" y="136"/>
                  </a:lnTo>
                  <a:lnTo>
                    <a:pt x="808" y="148"/>
                  </a:lnTo>
                  <a:cubicBezTo>
                    <a:pt x="807" y="148"/>
                    <a:pt x="805" y="148"/>
                    <a:pt x="805" y="146"/>
                  </a:cubicBezTo>
                  <a:cubicBezTo>
                    <a:pt x="805" y="145"/>
                    <a:pt x="805" y="143"/>
                    <a:pt x="807" y="143"/>
                  </a:cubicBezTo>
                  <a:close/>
                  <a:moveTo>
                    <a:pt x="865" y="124"/>
                  </a:moveTo>
                  <a:lnTo>
                    <a:pt x="899" y="113"/>
                  </a:lnTo>
                  <a:cubicBezTo>
                    <a:pt x="901" y="113"/>
                    <a:pt x="902" y="114"/>
                    <a:pt x="903" y="115"/>
                  </a:cubicBezTo>
                  <a:cubicBezTo>
                    <a:pt x="903" y="117"/>
                    <a:pt x="902" y="118"/>
                    <a:pt x="901" y="118"/>
                  </a:cubicBezTo>
                  <a:lnTo>
                    <a:pt x="866" y="128"/>
                  </a:lnTo>
                  <a:cubicBezTo>
                    <a:pt x="865" y="129"/>
                    <a:pt x="864" y="128"/>
                    <a:pt x="863" y="127"/>
                  </a:cubicBezTo>
                  <a:cubicBezTo>
                    <a:pt x="863" y="125"/>
                    <a:pt x="864" y="124"/>
                    <a:pt x="865" y="124"/>
                  </a:cubicBezTo>
                  <a:close/>
                  <a:moveTo>
                    <a:pt x="924" y="106"/>
                  </a:moveTo>
                  <a:lnTo>
                    <a:pt x="958" y="96"/>
                  </a:lnTo>
                  <a:cubicBezTo>
                    <a:pt x="960" y="96"/>
                    <a:pt x="961" y="96"/>
                    <a:pt x="961" y="98"/>
                  </a:cubicBezTo>
                  <a:cubicBezTo>
                    <a:pt x="962" y="99"/>
                    <a:pt x="961" y="101"/>
                    <a:pt x="960" y="101"/>
                  </a:cubicBezTo>
                  <a:lnTo>
                    <a:pt x="925" y="111"/>
                  </a:lnTo>
                  <a:cubicBezTo>
                    <a:pt x="924" y="112"/>
                    <a:pt x="923" y="111"/>
                    <a:pt x="922" y="109"/>
                  </a:cubicBezTo>
                  <a:cubicBezTo>
                    <a:pt x="922" y="108"/>
                    <a:pt x="923" y="107"/>
                    <a:pt x="924" y="106"/>
                  </a:cubicBezTo>
                  <a:close/>
                  <a:moveTo>
                    <a:pt x="983" y="90"/>
                  </a:moveTo>
                  <a:lnTo>
                    <a:pt x="1018" y="81"/>
                  </a:lnTo>
                  <a:cubicBezTo>
                    <a:pt x="1019" y="81"/>
                    <a:pt x="1021" y="82"/>
                    <a:pt x="1021" y="83"/>
                  </a:cubicBezTo>
                  <a:cubicBezTo>
                    <a:pt x="1021" y="84"/>
                    <a:pt x="1021" y="86"/>
                    <a:pt x="1019" y="86"/>
                  </a:cubicBezTo>
                  <a:lnTo>
                    <a:pt x="984" y="94"/>
                  </a:lnTo>
                  <a:cubicBezTo>
                    <a:pt x="983" y="95"/>
                    <a:pt x="982" y="94"/>
                    <a:pt x="981" y="93"/>
                  </a:cubicBezTo>
                  <a:cubicBezTo>
                    <a:pt x="981" y="91"/>
                    <a:pt x="982" y="90"/>
                    <a:pt x="983" y="90"/>
                  </a:cubicBezTo>
                  <a:close/>
                  <a:moveTo>
                    <a:pt x="1043" y="75"/>
                  </a:moveTo>
                  <a:lnTo>
                    <a:pt x="1078" y="67"/>
                  </a:lnTo>
                  <a:cubicBezTo>
                    <a:pt x="1079" y="66"/>
                    <a:pt x="1080" y="67"/>
                    <a:pt x="1081" y="68"/>
                  </a:cubicBezTo>
                  <a:cubicBezTo>
                    <a:pt x="1081" y="70"/>
                    <a:pt x="1080" y="71"/>
                    <a:pt x="1079" y="72"/>
                  </a:cubicBezTo>
                  <a:lnTo>
                    <a:pt x="1044" y="80"/>
                  </a:lnTo>
                  <a:cubicBezTo>
                    <a:pt x="1043" y="80"/>
                    <a:pt x="1041" y="80"/>
                    <a:pt x="1041" y="78"/>
                  </a:cubicBezTo>
                  <a:cubicBezTo>
                    <a:pt x="1041" y="77"/>
                    <a:pt x="1041" y="75"/>
                    <a:pt x="1043" y="75"/>
                  </a:cubicBezTo>
                  <a:close/>
                  <a:moveTo>
                    <a:pt x="1103" y="61"/>
                  </a:moveTo>
                  <a:lnTo>
                    <a:pt x="1138" y="54"/>
                  </a:lnTo>
                  <a:cubicBezTo>
                    <a:pt x="1139" y="53"/>
                    <a:pt x="1141" y="54"/>
                    <a:pt x="1141" y="56"/>
                  </a:cubicBezTo>
                  <a:cubicBezTo>
                    <a:pt x="1141" y="57"/>
                    <a:pt x="1140" y="58"/>
                    <a:pt x="1139" y="59"/>
                  </a:cubicBezTo>
                  <a:lnTo>
                    <a:pt x="1104" y="66"/>
                  </a:lnTo>
                  <a:cubicBezTo>
                    <a:pt x="1102" y="66"/>
                    <a:pt x="1101" y="65"/>
                    <a:pt x="1101" y="64"/>
                  </a:cubicBezTo>
                  <a:cubicBezTo>
                    <a:pt x="1100" y="62"/>
                    <a:pt x="1101" y="61"/>
                    <a:pt x="1103" y="61"/>
                  </a:cubicBezTo>
                  <a:close/>
                  <a:moveTo>
                    <a:pt x="1163" y="49"/>
                  </a:moveTo>
                  <a:lnTo>
                    <a:pt x="1198" y="42"/>
                  </a:lnTo>
                  <a:cubicBezTo>
                    <a:pt x="1200" y="42"/>
                    <a:pt x="1201" y="43"/>
                    <a:pt x="1201" y="44"/>
                  </a:cubicBezTo>
                  <a:cubicBezTo>
                    <a:pt x="1201" y="45"/>
                    <a:pt x="1201" y="47"/>
                    <a:pt x="1199" y="47"/>
                  </a:cubicBezTo>
                  <a:lnTo>
                    <a:pt x="1164" y="54"/>
                  </a:lnTo>
                  <a:cubicBezTo>
                    <a:pt x="1163" y="54"/>
                    <a:pt x="1161" y="53"/>
                    <a:pt x="1161" y="52"/>
                  </a:cubicBezTo>
                  <a:cubicBezTo>
                    <a:pt x="1161" y="50"/>
                    <a:pt x="1162" y="49"/>
                    <a:pt x="1163" y="49"/>
                  </a:cubicBezTo>
                  <a:close/>
                  <a:moveTo>
                    <a:pt x="1223" y="37"/>
                  </a:moveTo>
                  <a:lnTo>
                    <a:pt x="1234" y="35"/>
                  </a:lnTo>
                  <a:lnTo>
                    <a:pt x="1259" y="32"/>
                  </a:lnTo>
                  <a:cubicBezTo>
                    <a:pt x="1260" y="31"/>
                    <a:pt x="1262" y="32"/>
                    <a:pt x="1262" y="34"/>
                  </a:cubicBezTo>
                  <a:cubicBezTo>
                    <a:pt x="1262" y="35"/>
                    <a:pt x="1261" y="37"/>
                    <a:pt x="1260" y="37"/>
                  </a:cubicBezTo>
                  <a:lnTo>
                    <a:pt x="1235" y="40"/>
                  </a:lnTo>
                  <a:lnTo>
                    <a:pt x="1224" y="42"/>
                  </a:lnTo>
                  <a:cubicBezTo>
                    <a:pt x="1223" y="42"/>
                    <a:pt x="1222" y="41"/>
                    <a:pt x="1221" y="40"/>
                  </a:cubicBezTo>
                  <a:cubicBezTo>
                    <a:pt x="1221" y="39"/>
                    <a:pt x="1222" y="37"/>
                    <a:pt x="1223" y="37"/>
                  </a:cubicBezTo>
                  <a:close/>
                  <a:moveTo>
                    <a:pt x="1284" y="28"/>
                  </a:moveTo>
                  <a:lnTo>
                    <a:pt x="1320" y="24"/>
                  </a:lnTo>
                  <a:cubicBezTo>
                    <a:pt x="1321" y="23"/>
                    <a:pt x="1322" y="24"/>
                    <a:pt x="1323" y="26"/>
                  </a:cubicBezTo>
                  <a:cubicBezTo>
                    <a:pt x="1323" y="27"/>
                    <a:pt x="1322" y="28"/>
                    <a:pt x="1320" y="29"/>
                  </a:cubicBezTo>
                  <a:lnTo>
                    <a:pt x="1285" y="33"/>
                  </a:lnTo>
                  <a:cubicBezTo>
                    <a:pt x="1283" y="34"/>
                    <a:pt x="1282" y="33"/>
                    <a:pt x="1282" y="31"/>
                  </a:cubicBezTo>
                  <a:cubicBezTo>
                    <a:pt x="1282" y="30"/>
                    <a:pt x="1283" y="28"/>
                    <a:pt x="1284" y="28"/>
                  </a:cubicBezTo>
                  <a:close/>
                  <a:moveTo>
                    <a:pt x="1345" y="20"/>
                  </a:moveTo>
                  <a:lnTo>
                    <a:pt x="1369" y="17"/>
                  </a:lnTo>
                  <a:lnTo>
                    <a:pt x="1381" y="16"/>
                  </a:lnTo>
                  <a:cubicBezTo>
                    <a:pt x="1382" y="16"/>
                    <a:pt x="1383" y="17"/>
                    <a:pt x="1384" y="18"/>
                  </a:cubicBezTo>
                  <a:cubicBezTo>
                    <a:pt x="1384" y="20"/>
                    <a:pt x="1383" y="21"/>
                    <a:pt x="1381" y="21"/>
                  </a:cubicBezTo>
                  <a:lnTo>
                    <a:pt x="1370" y="22"/>
                  </a:lnTo>
                  <a:lnTo>
                    <a:pt x="1346" y="25"/>
                  </a:lnTo>
                  <a:cubicBezTo>
                    <a:pt x="1344" y="25"/>
                    <a:pt x="1343" y="24"/>
                    <a:pt x="1343" y="23"/>
                  </a:cubicBezTo>
                  <a:cubicBezTo>
                    <a:pt x="1343" y="22"/>
                    <a:pt x="1344" y="20"/>
                    <a:pt x="1345" y="20"/>
                  </a:cubicBezTo>
                  <a:close/>
                  <a:moveTo>
                    <a:pt x="1406" y="14"/>
                  </a:moveTo>
                  <a:lnTo>
                    <a:pt x="1442" y="10"/>
                  </a:lnTo>
                  <a:cubicBezTo>
                    <a:pt x="1443" y="10"/>
                    <a:pt x="1445" y="11"/>
                    <a:pt x="1445" y="13"/>
                  </a:cubicBezTo>
                  <a:cubicBezTo>
                    <a:pt x="1445" y="14"/>
                    <a:pt x="1444" y="15"/>
                    <a:pt x="1442" y="16"/>
                  </a:cubicBezTo>
                  <a:lnTo>
                    <a:pt x="1407" y="19"/>
                  </a:lnTo>
                  <a:cubicBezTo>
                    <a:pt x="1405" y="19"/>
                    <a:pt x="1404" y="18"/>
                    <a:pt x="1404" y="16"/>
                  </a:cubicBezTo>
                  <a:cubicBezTo>
                    <a:pt x="1404" y="15"/>
                    <a:pt x="1405" y="14"/>
                    <a:pt x="1406" y="14"/>
                  </a:cubicBezTo>
                  <a:close/>
                  <a:moveTo>
                    <a:pt x="1467" y="8"/>
                  </a:moveTo>
                  <a:lnTo>
                    <a:pt x="1503" y="5"/>
                  </a:lnTo>
                  <a:cubicBezTo>
                    <a:pt x="1505" y="5"/>
                    <a:pt x="1506" y="6"/>
                    <a:pt x="1506" y="7"/>
                  </a:cubicBezTo>
                  <a:cubicBezTo>
                    <a:pt x="1506" y="9"/>
                    <a:pt x="1505" y="10"/>
                    <a:pt x="1504" y="10"/>
                  </a:cubicBezTo>
                  <a:lnTo>
                    <a:pt x="1468" y="13"/>
                  </a:lnTo>
                  <a:cubicBezTo>
                    <a:pt x="1467" y="13"/>
                    <a:pt x="1465" y="12"/>
                    <a:pt x="1465" y="11"/>
                  </a:cubicBezTo>
                  <a:cubicBezTo>
                    <a:pt x="1465" y="10"/>
                    <a:pt x="1466" y="8"/>
                    <a:pt x="1467" y="8"/>
                  </a:cubicBezTo>
                  <a:close/>
                  <a:moveTo>
                    <a:pt x="1529" y="4"/>
                  </a:moveTo>
                  <a:lnTo>
                    <a:pt x="1565" y="3"/>
                  </a:lnTo>
                  <a:cubicBezTo>
                    <a:pt x="1566" y="3"/>
                    <a:pt x="1567" y="4"/>
                    <a:pt x="1567" y="5"/>
                  </a:cubicBezTo>
                  <a:cubicBezTo>
                    <a:pt x="1567" y="7"/>
                    <a:pt x="1566" y="8"/>
                    <a:pt x="1565" y="8"/>
                  </a:cubicBezTo>
                  <a:lnTo>
                    <a:pt x="1529" y="9"/>
                  </a:lnTo>
                  <a:cubicBezTo>
                    <a:pt x="1528" y="9"/>
                    <a:pt x="1526" y="8"/>
                    <a:pt x="1526" y="7"/>
                  </a:cubicBezTo>
                  <a:cubicBezTo>
                    <a:pt x="1526" y="5"/>
                    <a:pt x="1527" y="4"/>
                    <a:pt x="1529" y="4"/>
                  </a:cubicBezTo>
                  <a:close/>
                  <a:moveTo>
                    <a:pt x="1590" y="2"/>
                  </a:moveTo>
                  <a:lnTo>
                    <a:pt x="1626" y="0"/>
                  </a:lnTo>
                  <a:cubicBezTo>
                    <a:pt x="1628" y="0"/>
                    <a:pt x="1629" y="1"/>
                    <a:pt x="1629" y="3"/>
                  </a:cubicBezTo>
                  <a:cubicBezTo>
                    <a:pt x="1629" y="4"/>
                    <a:pt x="1628" y="5"/>
                    <a:pt x="1626" y="6"/>
                  </a:cubicBezTo>
                  <a:lnTo>
                    <a:pt x="1590" y="7"/>
                  </a:lnTo>
                  <a:cubicBezTo>
                    <a:pt x="1589" y="7"/>
                    <a:pt x="1588" y="6"/>
                    <a:pt x="1588" y="4"/>
                  </a:cubicBezTo>
                  <a:cubicBezTo>
                    <a:pt x="1588" y="3"/>
                    <a:pt x="1589" y="2"/>
                    <a:pt x="1590" y="2"/>
                  </a:cubicBezTo>
                  <a:close/>
                  <a:moveTo>
                    <a:pt x="1652" y="0"/>
                  </a:moveTo>
                  <a:lnTo>
                    <a:pt x="1688" y="1"/>
                  </a:lnTo>
                  <a:cubicBezTo>
                    <a:pt x="1689" y="1"/>
                    <a:pt x="1690" y="2"/>
                    <a:pt x="1690" y="3"/>
                  </a:cubicBezTo>
                  <a:cubicBezTo>
                    <a:pt x="1690" y="5"/>
                    <a:pt x="1689" y="6"/>
                    <a:pt x="1688" y="6"/>
                  </a:cubicBezTo>
                  <a:lnTo>
                    <a:pt x="1652" y="5"/>
                  </a:lnTo>
                  <a:cubicBezTo>
                    <a:pt x="1650" y="5"/>
                    <a:pt x="1649" y="4"/>
                    <a:pt x="1649" y="3"/>
                  </a:cubicBezTo>
                  <a:cubicBezTo>
                    <a:pt x="1649" y="1"/>
                    <a:pt x="1650" y="0"/>
                    <a:pt x="1652" y="0"/>
                  </a:cubicBezTo>
                  <a:close/>
                  <a:moveTo>
                    <a:pt x="1713" y="1"/>
                  </a:moveTo>
                  <a:lnTo>
                    <a:pt x="1749" y="1"/>
                  </a:lnTo>
                  <a:cubicBezTo>
                    <a:pt x="1750" y="2"/>
                    <a:pt x="1752" y="3"/>
                    <a:pt x="1752" y="4"/>
                  </a:cubicBezTo>
                  <a:cubicBezTo>
                    <a:pt x="1752" y="6"/>
                    <a:pt x="1750" y="7"/>
                    <a:pt x="1749" y="7"/>
                  </a:cubicBezTo>
                  <a:lnTo>
                    <a:pt x="1713" y="6"/>
                  </a:lnTo>
                  <a:cubicBezTo>
                    <a:pt x="1712" y="6"/>
                    <a:pt x="1711" y="5"/>
                    <a:pt x="1711" y="3"/>
                  </a:cubicBezTo>
                  <a:cubicBezTo>
                    <a:pt x="1711" y="2"/>
                    <a:pt x="1712" y="1"/>
                    <a:pt x="1713" y="1"/>
                  </a:cubicBezTo>
                  <a:close/>
                  <a:moveTo>
                    <a:pt x="1775" y="2"/>
                  </a:moveTo>
                  <a:lnTo>
                    <a:pt x="1778" y="2"/>
                  </a:lnTo>
                  <a:lnTo>
                    <a:pt x="1811" y="4"/>
                  </a:lnTo>
                  <a:cubicBezTo>
                    <a:pt x="1812" y="4"/>
                    <a:pt x="1813" y="5"/>
                    <a:pt x="1813" y="7"/>
                  </a:cubicBezTo>
                  <a:cubicBezTo>
                    <a:pt x="1813" y="8"/>
                    <a:pt x="1812" y="9"/>
                    <a:pt x="1810" y="9"/>
                  </a:cubicBezTo>
                  <a:lnTo>
                    <a:pt x="1777" y="7"/>
                  </a:lnTo>
                  <a:lnTo>
                    <a:pt x="1775" y="7"/>
                  </a:lnTo>
                  <a:cubicBezTo>
                    <a:pt x="1773" y="7"/>
                    <a:pt x="1772" y="6"/>
                    <a:pt x="1772" y="4"/>
                  </a:cubicBezTo>
                  <a:cubicBezTo>
                    <a:pt x="1772" y="3"/>
                    <a:pt x="1773" y="2"/>
                    <a:pt x="1775" y="2"/>
                  </a:cubicBezTo>
                  <a:close/>
                  <a:moveTo>
                    <a:pt x="1836" y="6"/>
                  </a:moveTo>
                  <a:lnTo>
                    <a:pt x="1872" y="8"/>
                  </a:lnTo>
                  <a:cubicBezTo>
                    <a:pt x="1873" y="8"/>
                    <a:pt x="1874" y="9"/>
                    <a:pt x="1874" y="11"/>
                  </a:cubicBezTo>
                  <a:cubicBezTo>
                    <a:pt x="1874" y="12"/>
                    <a:pt x="1873" y="13"/>
                    <a:pt x="1872" y="13"/>
                  </a:cubicBezTo>
                  <a:lnTo>
                    <a:pt x="1836" y="11"/>
                  </a:lnTo>
                  <a:cubicBezTo>
                    <a:pt x="1834" y="11"/>
                    <a:pt x="1833" y="10"/>
                    <a:pt x="1833" y="8"/>
                  </a:cubicBezTo>
                  <a:cubicBezTo>
                    <a:pt x="1833" y="7"/>
                    <a:pt x="1835" y="6"/>
                    <a:pt x="1836" y="6"/>
                  </a:cubicBezTo>
                  <a:close/>
                  <a:moveTo>
                    <a:pt x="1897" y="10"/>
                  </a:moveTo>
                  <a:lnTo>
                    <a:pt x="1915" y="11"/>
                  </a:lnTo>
                  <a:lnTo>
                    <a:pt x="1933" y="13"/>
                  </a:lnTo>
                  <a:cubicBezTo>
                    <a:pt x="1935" y="13"/>
                    <a:pt x="1936" y="15"/>
                    <a:pt x="1935" y="16"/>
                  </a:cubicBezTo>
                  <a:cubicBezTo>
                    <a:pt x="1935" y="17"/>
                    <a:pt x="1934" y="18"/>
                    <a:pt x="1933" y="18"/>
                  </a:cubicBezTo>
                  <a:lnTo>
                    <a:pt x="1914" y="16"/>
                  </a:lnTo>
                  <a:lnTo>
                    <a:pt x="1897" y="15"/>
                  </a:lnTo>
                  <a:cubicBezTo>
                    <a:pt x="1896" y="15"/>
                    <a:pt x="1895" y="14"/>
                    <a:pt x="1895" y="12"/>
                  </a:cubicBezTo>
                  <a:cubicBezTo>
                    <a:pt x="1895" y="11"/>
                    <a:pt x="1896" y="10"/>
                    <a:pt x="1897" y="10"/>
                  </a:cubicBezTo>
                  <a:close/>
                  <a:moveTo>
                    <a:pt x="1959" y="16"/>
                  </a:moveTo>
                  <a:lnTo>
                    <a:pt x="1994" y="20"/>
                  </a:lnTo>
                  <a:cubicBezTo>
                    <a:pt x="1996" y="20"/>
                    <a:pt x="1997" y="22"/>
                    <a:pt x="1996" y="23"/>
                  </a:cubicBezTo>
                  <a:cubicBezTo>
                    <a:pt x="1996" y="24"/>
                    <a:pt x="1995" y="25"/>
                    <a:pt x="1994" y="25"/>
                  </a:cubicBezTo>
                  <a:lnTo>
                    <a:pt x="1958" y="21"/>
                  </a:lnTo>
                  <a:cubicBezTo>
                    <a:pt x="1957" y="21"/>
                    <a:pt x="1956" y="20"/>
                    <a:pt x="1956" y="18"/>
                  </a:cubicBezTo>
                  <a:cubicBezTo>
                    <a:pt x="1956" y="17"/>
                    <a:pt x="1957" y="16"/>
                    <a:pt x="1959" y="16"/>
                  </a:cubicBezTo>
                  <a:close/>
                  <a:moveTo>
                    <a:pt x="2020" y="23"/>
                  </a:moveTo>
                  <a:lnTo>
                    <a:pt x="2052" y="27"/>
                  </a:lnTo>
                  <a:cubicBezTo>
                    <a:pt x="2053" y="27"/>
                    <a:pt x="2054" y="28"/>
                    <a:pt x="2054" y="30"/>
                  </a:cubicBezTo>
                  <a:cubicBezTo>
                    <a:pt x="2054" y="31"/>
                    <a:pt x="2053" y="32"/>
                    <a:pt x="2051" y="32"/>
                  </a:cubicBezTo>
                  <a:lnTo>
                    <a:pt x="2019" y="28"/>
                  </a:lnTo>
                  <a:cubicBezTo>
                    <a:pt x="2018" y="28"/>
                    <a:pt x="2017" y="27"/>
                    <a:pt x="2017" y="25"/>
                  </a:cubicBezTo>
                  <a:cubicBezTo>
                    <a:pt x="2017" y="24"/>
                    <a:pt x="2018" y="23"/>
                    <a:pt x="2020" y="23"/>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128">
              <a:extLst>
                <a:ext uri="{FF2B5EF4-FFF2-40B4-BE49-F238E27FC236}">
                  <a16:creationId xmlns:a16="http://schemas.microsoft.com/office/drawing/2014/main" id="{12ADFFCE-1831-4518-B203-D350B7004B79}"/>
                </a:ext>
              </a:extLst>
            </p:cNvPr>
            <p:cNvSpPr>
              <a:spLocks/>
            </p:cNvSpPr>
            <p:nvPr/>
          </p:nvSpPr>
          <p:spPr bwMode="auto">
            <a:xfrm>
              <a:off x="3840" y="1992"/>
              <a:ext cx="56" cy="52"/>
            </a:xfrm>
            <a:custGeom>
              <a:avLst/>
              <a:gdLst>
                <a:gd name="T0" fmla="*/ 8 w 56"/>
                <a:gd name="T1" fmla="*/ 0 h 52"/>
                <a:gd name="T2" fmla="*/ 56 w 56"/>
                <a:gd name="T3" fmla="*/ 34 h 52"/>
                <a:gd name="T4" fmla="*/ 0 w 56"/>
                <a:gd name="T5" fmla="*/ 52 h 52"/>
                <a:gd name="T6" fmla="*/ 8 w 56"/>
                <a:gd name="T7" fmla="*/ 0 h 52"/>
              </a:gdLst>
              <a:ahLst/>
              <a:cxnLst>
                <a:cxn ang="0">
                  <a:pos x="T0" y="T1"/>
                </a:cxn>
                <a:cxn ang="0">
                  <a:pos x="T2" y="T3"/>
                </a:cxn>
                <a:cxn ang="0">
                  <a:pos x="T4" y="T5"/>
                </a:cxn>
                <a:cxn ang="0">
                  <a:pos x="T6" y="T7"/>
                </a:cxn>
              </a:cxnLst>
              <a:rect l="0" t="0" r="r" b="b"/>
              <a:pathLst>
                <a:path w="56" h="52">
                  <a:moveTo>
                    <a:pt x="8" y="0"/>
                  </a:moveTo>
                  <a:lnTo>
                    <a:pt x="56" y="34"/>
                  </a:lnTo>
                  <a:lnTo>
                    <a:pt x="0" y="52"/>
                  </a:lnTo>
                  <a:lnTo>
                    <a:pt x="8"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29">
              <a:extLst>
                <a:ext uri="{FF2B5EF4-FFF2-40B4-BE49-F238E27FC236}">
                  <a16:creationId xmlns:a16="http://schemas.microsoft.com/office/drawing/2014/main" id="{0A231594-D182-4C02-8922-FB0340C47DE1}"/>
                </a:ext>
              </a:extLst>
            </p:cNvPr>
            <p:cNvSpPr>
              <a:spLocks noChangeArrowheads="1"/>
            </p:cNvSpPr>
            <p:nvPr/>
          </p:nvSpPr>
          <p:spPr bwMode="auto">
            <a:xfrm>
              <a:off x="3283" y="1996"/>
              <a:ext cx="194"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30">
              <a:extLst>
                <a:ext uri="{FF2B5EF4-FFF2-40B4-BE49-F238E27FC236}">
                  <a16:creationId xmlns:a16="http://schemas.microsoft.com/office/drawing/2014/main" id="{554E51D9-1D59-48DB-92B3-39641D8EA26F}"/>
                </a:ext>
              </a:extLst>
            </p:cNvPr>
            <p:cNvSpPr>
              <a:spLocks noEditPoints="1"/>
            </p:cNvSpPr>
            <p:nvPr/>
          </p:nvSpPr>
          <p:spPr bwMode="auto">
            <a:xfrm>
              <a:off x="3286" y="2028"/>
              <a:ext cx="186" cy="38"/>
            </a:xfrm>
            <a:custGeom>
              <a:avLst/>
              <a:gdLst>
                <a:gd name="T0" fmla="*/ 61 w 417"/>
                <a:gd name="T1" fmla="*/ 16 h 83"/>
                <a:gd name="T2" fmla="*/ 13 w 417"/>
                <a:gd name="T3" fmla="*/ 29 h 83"/>
                <a:gd name="T4" fmla="*/ 48 w 417"/>
                <a:gd name="T5" fmla="*/ 73 h 83"/>
                <a:gd name="T6" fmla="*/ 34 w 417"/>
                <a:gd name="T7" fmla="*/ 40 h 83"/>
                <a:gd name="T8" fmla="*/ 64 w 417"/>
                <a:gd name="T9" fmla="*/ 39 h 83"/>
                <a:gd name="T10" fmla="*/ 58 w 417"/>
                <a:gd name="T11" fmla="*/ 80 h 83"/>
                <a:gd name="T12" fmla="*/ 3 w 417"/>
                <a:gd name="T13" fmla="*/ 59 h 83"/>
                <a:gd name="T14" fmla="*/ 49 w 417"/>
                <a:gd name="T15" fmla="*/ 1 h 83"/>
                <a:gd name="T16" fmla="*/ 132 w 417"/>
                <a:gd name="T17" fmla="*/ 50 h 83"/>
                <a:gd name="T18" fmla="*/ 100 w 417"/>
                <a:gd name="T19" fmla="*/ 73 h 83"/>
                <a:gd name="T20" fmla="*/ 128 w 417"/>
                <a:gd name="T21" fmla="*/ 71 h 83"/>
                <a:gd name="T22" fmla="*/ 129 w 417"/>
                <a:gd name="T23" fmla="*/ 78 h 83"/>
                <a:gd name="T24" fmla="*/ 96 w 417"/>
                <a:gd name="T25" fmla="*/ 81 h 83"/>
                <a:gd name="T26" fmla="*/ 96 w 417"/>
                <a:gd name="T27" fmla="*/ 23 h 83"/>
                <a:gd name="T28" fmla="*/ 132 w 417"/>
                <a:gd name="T29" fmla="*/ 50 h 83"/>
                <a:gd name="T30" fmla="*/ 92 w 417"/>
                <a:gd name="T31" fmla="*/ 40 h 83"/>
                <a:gd name="T32" fmla="*/ 174 w 417"/>
                <a:gd name="T33" fmla="*/ 82 h 83"/>
                <a:gd name="T34" fmla="*/ 151 w 417"/>
                <a:gd name="T35" fmla="*/ 72 h 83"/>
                <a:gd name="T36" fmla="*/ 140 w 417"/>
                <a:gd name="T37" fmla="*/ 25 h 83"/>
                <a:gd name="T38" fmla="*/ 150 w 417"/>
                <a:gd name="T39" fmla="*/ 8 h 83"/>
                <a:gd name="T40" fmla="*/ 160 w 417"/>
                <a:gd name="T41" fmla="*/ 8 h 83"/>
                <a:gd name="T42" fmla="*/ 177 w 417"/>
                <a:gd name="T43" fmla="*/ 25 h 83"/>
                <a:gd name="T44" fmla="*/ 162 w 417"/>
                <a:gd name="T45" fmla="*/ 71 h 83"/>
                <a:gd name="T46" fmla="*/ 176 w 417"/>
                <a:gd name="T47" fmla="*/ 73 h 83"/>
                <a:gd name="T48" fmla="*/ 283 w 417"/>
                <a:gd name="T49" fmla="*/ 74 h 83"/>
                <a:gd name="T50" fmla="*/ 259 w 417"/>
                <a:gd name="T51" fmla="*/ 83 h 83"/>
                <a:gd name="T52" fmla="*/ 234 w 417"/>
                <a:gd name="T53" fmla="*/ 11 h 83"/>
                <a:gd name="T54" fmla="*/ 281 w 417"/>
                <a:gd name="T55" fmla="*/ 7 h 83"/>
                <a:gd name="T56" fmla="*/ 282 w 417"/>
                <a:gd name="T57" fmla="*/ 16 h 83"/>
                <a:gd name="T58" fmla="*/ 260 w 417"/>
                <a:gd name="T59" fmla="*/ 9 h 83"/>
                <a:gd name="T60" fmla="*/ 242 w 417"/>
                <a:gd name="T61" fmla="*/ 65 h 83"/>
                <a:gd name="T62" fmla="*/ 281 w 417"/>
                <a:gd name="T63" fmla="*/ 66 h 83"/>
                <a:gd name="T64" fmla="*/ 334 w 417"/>
                <a:gd name="T65" fmla="*/ 82 h 83"/>
                <a:gd name="T66" fmla="*/ 325 w 417"/>
                <a:gd name="T67" fmla="*/ 75 h 83"/>
                <a:gd name="T68" fmla="*/ 288 w 417"/>
                <a:gd name="T69" fmla="*/ 66 h 83"/>
                <a:gd name="T70" fmla="*/ 324 w 417"/>
                <a:gd name="T71" fmla="*/ 43 h 83"/>
                <a:gd name="T72" fmla="*/ 299 w 417"/>
                <a:gd name="T73" fmla="*/ 33 h 83"/>
                <a:gd name="T74" fmla="*/ 291 w 417"/>
                <a:gd name="T75" fmla="*/ 31 h 83"/>
                <a:gd name="T76" fmla="*/ 312 w 417"/>
                <a:gd name="T77" fmla="*/ 21 h 83"/>
                <a:gd name="T78" fmla="*/ 324 w 417"/>
                <a:gd name="T79" fmla="*/ 55 h 83"/>
                <a:gd name="T80" fmla="*/ 301 w 417"/>
                <a:gd name="T81" fmla="*/ 72 h 83"/>
                <a:gd name="T82" fmla="*/ 389 w 417"/>
                <a:gd name="T83" fmla="*/ 30 h 83"/>
                <a:gd name="T84" fmla="*/ 382 w 417"/>
                <a:gd name="T85" fmla="*/ 31 h 83"/>
                <a:gd name="T86" fmla="*/ 366 w 417"/>
                <a:gd name="T87" fmla="*/ 80 h 83"/>
                <a:gd name="T88" fmla="*/ 357 w 417"/>
                <a:gd name="T89" fmla="*/ 82 h 83"/>
                <a:gd name="T90" fmla="*/ 358 w 417"/>
                <a:gd name="T91" fmla="*/ 22 h 83"/>
                <a:gd name="T92" fmla="*/ 365 w 417"/>
                <a:gd name="T93" fmla="*/ 32 h 83"/>
                <a:gd name="T94" fmla="*/ 384 w 417"/>
                <a:gd name="T95" fmla="*/ 22 h 83"/>
                <a:gd name="T96" fmla="*/ 389 w 417"/>
                <a:gd name="T97" fmla="*/ 28 h 83"/>
                <a:gd name="T98" fmla="*/ 409 w 417"/>
                <a:gd name="T99" fmla="*/ 83 h 83"/>
                <a:gd name="T100" fmla="*/ 390 w 417"/>
                <a:gd name="T101" fmla="*/ 31 h 83"/>
                <a:gd name="T102" fmla="*/ 381 w 417"/>
                <a:gd name="T103" fmla="*/ 23 h 83"/>
                <a:gd name="T104" fmla="*/ 393 w 417"/>
                <a:gd name="T105" fmla="*/ 7 h 83"/>
                <a:gd name="T106" fmla="*/ 400 w 417"/>
                <a:gd name="T107" fmla="*/ 22 h 83"/>
                <a:gd name="T108" fmla="*/ 416 w 417"/>
                <a:gd name="T109" fmla="*/ 30 h 83"/>
                <a:gd name="T110" fmla="*/ 411 w 417"/>
                <a:gd name="T111" fmla="*/ 74 h 83"/>
                <a:gd name="T112" fmla="*/ 417 w 417"/>
                <a:gd name="T113" fmla="*/ 7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7" h="83">
                  <a:moveTo>
                    <a:pt x="66" y="12"/>
                  </a:moveTo>
                  <a:cubicBezTo>
                    <a:pt x="66" y="13"/>
                    <a:pt x="66" y="14"/>
                    <a:pt x="66" y="14"/>
                  </a:cubicBezTo>
                  <a:cubicBezTo>
                    <a:pt x="65" y="15"/>
                    <a:pt x="65" y="15"/>
                    <a:pt x="65" y="16"/>
                  </a:cubicBezTo>
                  <a:cubicBezTo>
                    <a:pt x="65" y="16"/>
                    <a:pt x="65" y="16"/>
                    <a:pt x="65" y="16"/>
                  </a:cubicBezTo>
                  <a:cubicBezTo>
                    <a:pt x="64" y="17"/>
                    <a:pt x="64" y="17"/>
                    <a:pt x="64" y="17"/>
                  </a:cubicBezTo>
                  <a:cubicBezTo>
                    <a:pt x="63" y="17"/>
                    <a:pt x="62" y="16"/>
                    <a:pt x="61" y="16"/>
                  </a:cubicBezTo>
                  <a:cubicBezTo>
                    <a:pt x="60" y="15"/>
                    <a:pt x="59" y="14"/>
                    <a:pt x="57" y="13"/>
                  </a:cubicBezTo>
                  <a:cubicBezTo>
                    <a:pt x="55" y="12"/>
                    <a:pt x="52" y="11"/>
                    <a:pt x="50" y="10"/>
                  </a:cubicBezTo>
                  <a:cubicBezTo>
                    <a:pt x="47" y="10"/>
                    <a:pt x="44" y="9"/>
                    <a:pt x="40" y="9"/>
                  </a:cubicBezTo>
                  <a:cubicBezTo>
                    <a:pt x="35" y="9"/>
                    <a:pt x="31" y="10"/>
                    <a:pt x="28" y="12"/>
                  </a:cubicBezTo>
                  <a:cubicBezTo>
                    <a:pt x="24" y="13"/>
                    <a:pt x="21" y="15"/>
                    <a:pt x="19" y="18"/>
                  </a:cubicBezTo>
                  <a:cubicBezTo>
                    <a:pt x="16" y="21"/>
                    <a:pt x="14" y="25"/>
                    <a:pt x="13" y="29"/>
                  </a:cubicBezTo>
                  <a:cubicBezTo>
                    <a:pt x="12" y="33"/>
                    <a:pt x="11" y="37"/>
                    <a:pt x="11" y="41"/>
                  </a:cubicBezTo>
                  <a:cubicBezTo>
                    <a:pt x="11" y="47"/>
                    <a:pt x="12" y="51"/>
                    <a:pt x="13" y="55"/>
                  </a:cubicBezTo>
                  <a:cubicBezTo>
                    <a:pt x="15" y="59"/>
                    <a:pt x="17" y="63"/>
                    <a:pt x="19" y="65"/>
                  </a:cubicBezTo>
                  <a:cubicBezTo>
                    <a:pt x="22" y="68"/>
                    <a:pt x="25" y="70"/>
                    <a:pt x="28" y="72"/>
                  </a:cubicBezTo>
                  <a:cubicBezTo>
                    <a:pt x="32" y="73"/>
                    <a:pt x="36" y="74"/>
                    <a:pt x="40" y="74"/>
                  </a:cubicBezTo>
                  <a:cubicBezTo>
                    <a:pt x="42" y="74"/>
                    <a:pt x="45" y="73"/>
                    <a:pt x="48" y="73"/>
                  </a:cubicBezTo>
                  <a:cubicBezTo>
                    <a:pt x="50" y="72"/>
                    <a:pt x="53" y="71"/>
                    <a:pt x="55" y="70"/>
                  </a:cubicBezTo>
                  <a:lnTo>
                    <a:pt x="55" y="46"/>
                  </a:lnTo>
                  <a:lnTo>
                    <a:pt x="36" y="46"/>
                  </a:lnTo>
                  <a:cubicBezTo>
                    <a:pt x="35" y="46"/>
                    <a:pt x="35" y="46"/>
                    <a:pt x="34" y="45"/>
                  </a:cubicBezTo>
                  <a:cubicBezTo>
                    <a:pt x="34" y="45"/>
                    <a:pt x="34" y="44"/>
                    <a:pt x="34" y="42"/>
                  </a:cubicBezTo>
                  <a:cubicBezTo>
                    <a:pt x="34" y="41"/>
                    <a:pt x="34" y="41"/>
                    <a:pt x="34" y="40"/>
                  </a:cubicBezTo>
                  <a:cubicBezTo>
                    <a:pt x="34" y="40"/>
                    <a:pt x="34" y="39"/>
                    <a:pt x="34" y="39"/>
                  </a:cubicBezTo>
                  <a:cubicBezTo>
                    <a:pt x="35" y="38"/>
                    <a:pt x="35" y="38"/>
                    <a:pt x="35" y="38"/>
                  </a:cubicBezTo>
                  <a:cubicBezTo>
                    <a:pt x="35" y="38"/>
                    <a:pt x="36" y="38"/>
                    <a:pt x="36" y="38"/>
                  </a:cubicBezTo>
                  <a:lnTo>
                    <a:pt x="62" y="38"/>
                  </a:lnTo>
                  <a:cubicBezTo>
                    <a:pt x="62" y="38"/>
                    <a:pt x="63" y="38"/>
                    <a:pt x="63" y="38"/>
                  </a:cubicBezTo>
                  <a:cubicBezTo>
                    <a:pt x="64" y="38"/>
                    <a:pt x="64" y="38"/>
                    <a:pt x="64" y="39"/>
                  </a:cubicBezTo>
                  <a:cubicBezTo>
                    <a:pt x="65" y="39"/>
                    <a:pt x="65" y="39"/>
                    <a:pt x="65" y="40"/>
                  </a:cubicBezTo>
                  <a:cubicBezTo>
                    <a:pt x="65" y="41"/>
                    <a:pt x="65" y="41"/>
                    <a:pt x="65" y="42"/>
                  </a:cubicBezTo>
                  <a:lnTo>
                    <a:pt x="65" y="73"/>
                  </a:lnTo>
                  <a:cubicBezTo>
                    <a:pt x="65" y="74"/>
                    <a:pt x="65" y="75"/>
                    <a:pt x="65" y="76"/>
                  </a:cubicBezTo>
                  <a:cubicBezTo>
                    <a:pt x="65" y="76"/>
                    <a:pt x="64" y="77"/>
                    <a:pt x="63" y="78"/>
                  </a:cubicBezTo>
                  <a:cubicBezTo>
                    <a:pt x="61" y="78"/>
                    <a:pt x="60" y="79"/>
                    <a:pt x="58" y="80"/>
                  </a:cubicBezTo>
                  <a:cubicBezTo>
                    <a:pt x="56" y="80"/>
                    <a:pt x="54" y="81"/>
                    <a:pt x="52" y="82"/>
                  </a:cubicBezTo>
                  <a:cubicBezTo>
                    <a:pt x="50" y="82"/>
                    <a:pt x="48" y="82"/>
                    <a:pt x="46" y="83"/>
                  </a:cubicBezTo>
                  <a:cubicBezTo>
                    <a:pt x="44" y="83"/>
                    <a:pt x="42" y="83"/>
                    <a:pt x="40" y="83"/>
                  </a:cubicBezTo>
                  <a:cubicBezTo>
                    <a:pt x="33" y="83"/>
                    <a:pt x="28" y="82"/>
                    <a:pt x="23" y="80"/>
                  </a:cubicBezTo>
                  <a:cubicBezTo>
                    <a:pt x="18" y="78"/>
                    <a:pt x="14" y="75"/>
                    <a:pt x="10" y="72"/>
                  </a:cubicBezTo>
                  <a:cubicBezTo>
                    <a:pt x="7" y="68"/>
                    <a:pt x="4" y="64"/>
                    <a:pt x="3" y="59"/>
                  </a:cubicBezTo>
                  <a:cubicBezTo>
                    <a:pt x="1" y="54"/>
                    <a:pt x="0" y="48"/>
                    <a:pt x="0" y="42"/>
                  </a:cubicBezTo>
                  <a:cubicBezTo>
                    <a:pt x="0" y="36"/>
                    <a:pt x="1" y="30"/>
                    <a:pt x="3" y="25"/>
                  </a:cubicBezTo>
                  <a:cubicBezTo>
                    <a:pt x="5" y="20"/>
                    <a:pt x="7" y="15"/>
                    <a:pt x="11" y="11"/>
                  </a:cubicBezTo>
                  <a:cubicBezTo>
                    <a:pt x="14" y="8"/>
                    <a:pt x="19" y="5"/>
                    <a:pt x="24" y="3"/>
                  </a:cubicBezTo>
                  <a:cubicBezTo>
                    <a:pt x="29" y="1"/>
                    <a:pt x="34" y="0"/>
                    <a:pt x="40" y="0"/>
                  </a:cubicBezTo>
                  <a:cubicBezTo>
                    <a:pt x="43" y="0"/>
                    <a:pt x="46" y="0"/>
                    <a:pt x="49" y="1"/>
                  </a:cubicBezTo>
                  <a:cubicBezTo>
                    <a:pt x="51" y="1"/>
                    <a:pt x="54" y="2"/>
                    <a:pt x="56" y="3"/>
                  </a:cubicBezTo>
                  <a:cubicBezTo>
                    <a:pt x="58" y="3"/>
                    <a:pt x="60" y="4"/>
                    <a:pt x="61" y="5"/>
                  </a:cubicBezTo>
                  <a:cubicBezTo>
                    <a:pt x="63" y="6"/>
                    <a:pt x="64" y="7"/>
                    <a:pt x="64" y="7"/>
                  </a:cubicBezTo>
                  <a:cubicBezTo>
                    <a:pt x="65" y="8"/>
                    <a:pt x="65" y="8"/>
                    <a:pt x="65" y="9"/>
                  </a:cubicBezTo>
                  <a:cubicBezTo>
                    <a:pt x="66" y="10"/>
                    <a:pt x="66" y="11"/>
                    <a:pt x="66" y="12"/>
                  </a:cubicBezTo>
                  <a:close/>
                  <a:moveTo>
                    <a:pt x="132" y="50"/>
                  </a:moveTo>
                  <a:cubicBezTo>
                    <a:pt x="132" y="51"/>
                    <a:pt x="131" y="53"/>
                    <a:pt x="131" y="53"/>
                  </a:cubicBezTo>
                  <a:cubicBezTo>
                    <a:pt x="130" y="54"/>
                    <a:pt x="129" y="54"/>
                    <a:pt x="128" y="54"/>
                  </a:cubicBezTo>
                  <a:lnTo>
                    <a:pt x="91" y="54"/>
                  </a:lnTo>
                  <a:cubicBezTo>
                    <a:pt x="91" y="57"/>
                    <a:pt x="91" y="60"/>
                    <a:pt x="92" y="63"/>
                  </a:cubicBezTo>
                  <a:cubicBezTo>
                    <a:pt x="92" y="65"/>
                    <a:pt x="93" y="67"/>
                    <a:pt x="95" y="69"/>
                  </a:cubicBezTo>
                  <a:cubicBezTo>
                    <a:pt x="96" y="71"/>
                    <a:pt x="98" y="72"/>
                    <a:pt x="100" y="73"/>
                  </a:cubicBezTo>
                  <a:cubicBezTo>
                    <a:pt x="103" y="74"/>
                    <a:pt x="106" y="75"/>
                    <a:pt x="109" y="75"/>
                  </a:cubicBezTo>
                  <a:cubicBezTo>
                    <a:pt x="112" y="75"/>
                    <a:pt x="114" y="75"/>
                    <a:pt x="116" y="74"/>
                  </a:cubicBezTo>
                  <a:cubicBezTo>
                    <a:pt x="118" y="74"/>
                    <a:pt x="120" y="73"/>
                    <a:pt x="122" y="73"/>
                  </a:cubicBezTo>
                  <a:cubicBezTo>
                    <a:pt x="123" y="72"/>
                    <a:pt x="124" y="72"/>
                    <a:pt x="125" y="71"/>
                  </a:cubicBezTo>
                  <a:cubicBezTo>
                    <a:pt x="126" y="71"/>
                    <a:pt x="127" y="70"/>
                    <a:pt x="128" y="70"/>
                  </a:cubicBezTo>
                  <a:cubicBezTo>
                    <a:pt x="128" y="70"/>
                    <a:pt x="128" y="71"/>
                    <a:pt x="128" y="71"/>
                  </a:cubicBezTo>
                  <a:cubicBezTo>
                    <a:pt x="129" y="71"/>
                    <a:pt x="129" y="71"/>
                    <a:pt x="129" y="71"/>
                  </a:cubicBezTo>
                  <a:cubicBezTo>
                    <a:pt x="129" y="72"/>
                    <a:pt x="129" y="72"/>
                    <a:pt x="129" y="73"/>
                  </a:cubicBezTo>
                  <a:cubicBezTo>
                    <a:pt x="129" y="73"/>
                    <a:pt x="129" y="74"/>
                    <a:pt x="129" y="74"/>
                  </a:cubicBezTo>
                  <a:cubicBezTo>
                    <a:pt x="129" y="75"/>
                    <a:pt x="129" y="75"/>
                    <a:pt x="129" y="76"/>
                  </a:cubicBezTo>
                  <a:cubicBezTo>
                    <a:pt x="129" y="76"/>
                    <a:pt x="129" y="77"/>
                    <a:pt x="129" y="77"/>
                  </a:cubicBezTo>
                  <a:cubicBezTo>
                    <a:pt x="129" y="77"/>
                    <a:pt x="129" y="78"/>
                    <a:pt x="129" y="78"/>
                  </a:cubicBezTo>
                  <a:cubicBezTo>
                    <a:pt x="129" y="78"/>
                    <a:pt x="129" y="78"/>
                    <a:pt x="128" y="79"/>
                  </a:cubicBezTo>
                  <a:cubicBezTo>
                    <a:pt x="128" y="79"/>
                    <a:pt x="127" y="79"/>
                    <a:pt x="126" y="80"/>
                  </a:cubicBezTo>
                  <a:cubicBezTo>
                    <a:pt x="125" y="80"/>
                    <a:pt x="124" y="81"/>
                    <a:pt x="122" y="81"/>
                  </a:cubicBezTo>
                  <a:cubicBezTo>
                    <a:pt x="120" y="82"/>
                    <a:pt x="118" y="82"/>
                    <a:pt x="116" y="83"/>
                  </a:cubicBezTo>
                  <a:cubicBezTo>
                    <a:pt x="113" y="83"/>
                    <a:pt x="111" y="83"/>
                    <a:pt x="108" y="83"/>
                  </a:cubicBezTo>
                  <a:cubicBezTo>
                    <a:pt x="103" y="83"/>
                    <a:pt x="99" y="82"/>
                    <a:pt x="96" y="81"/>
                  </a:cubicBezTo>
                  <a:cubicBezTo>
                    <a:pt x="92" y="80"/>
                    <a:pt x="90" y="78"/>
                    <a:pt x="87" y="75"/>
                  </a:cubicBezTo>
                  <a:cubicBezTo>
                    <a:pt x="85" y="73"/>
                    <a:pt x="83" y="70"/>
                    <a:pt x="82" y="66"/>
                  </a:cubicBezTo>
                  <a:cubicBezTo>
                    <a:pt x="81" y="62"/>
                    <a:pt x="80" y="58"/>
                    <a:pt x="80" y="52"/>
                  </a:cubicBezTo>
                  <a:cubicBezTo>
                    <a:pt x="80" y="48"/>
                    <a:pt x="81" y="43"/>
                    <a:pt x="82" y="39"/>
                  </a:cubicBezTo>
                  <a:cubicBezTo>
                    <a:pt x="83" y="36"/>
                    <a:pt x="85" y="32"/>
                    <a:pt x="87" y="30"/>
                  </a:cubicBezTo>
                  <a:cubicBezTo>
                    <a:pt x="90" y="27"/>
                    <a:pt x="92" y="25"/>
                    <a:pt x="96" y="23"/>
                  </a:cubicBezTo>
                  <a:cubicBezTo>
                    <a:pt x="99" y="22"/>
                    <a:pt x="103" y="21"/>
                    <a:pt x="107" y="21"/>
                  </a:cubicBezTo>
                  <a:cubicBezTo>
                    <a:pt x="111" y="21"/>
                    <a:pt x="115" y="22"/>
                    <a:pt x="118" y="23"/>
                  </a:cubicBezTo>
                  <a:cubicBezTo>
                    <a:pt x="121" y="25"/>
                    <a:pt x="124" y="27"/>
                    <a:pt x="126" y="29"/>
                  </a:cubicBezTo>
                  <a:cubicBezTo>
                    <a:pt x="128" y="32"/>
                    <a:pt x="129" y="34"/>
                    <a:pt x="130" y="38"/>
                  </a:cubicBezTo>
                  <a:cubicBezTo>
                    <a:pt x="131" y="41"/>
                    <a:pt x="132" y="44"/>
                    <a:pt x="132" y="48"/>
                  </a:cubicBezTo>
                  <a:lnTo>
                    <a:pt x="132" y="50"/>
                  </a:lnTo>
                  <a:close/>
                  <a:moveTo>
                    <a:pt x="121" y="47"/>
                  </a:moveTo>
                  <a:cubicBezTo>
                    <a:pt x="121" y="41"/>
                    <a:pt x="120" y="37"/>
                    <a:pt x="118" y="34"/>
                  </a:cubicBezTo>
                  <a:cubicBezTo>
                    <a:pt x="115" y="31"/>
                    <a:pt x="111" y="29"/>
                    <a:pt x="106" y="29"/>
                  </a:cubicBezTo>
                  <a:cubicBezTo>
                    <a:pt x="104" y="29"/>
                    <a:pt x="102" y="30"/>
                    <a:pt x="100" y="31"/>
                  </a:cubicBezTo>
                  <a:cubicBezTo>
                    <a:pt x="98" y="32"/>
                    <a:pt x="96" y="33"/>
                    <a:pt x="95" y="35"/>
                  </a:cubicBezTo>
                  <a:cubicBezTo>
                    <a:pt x="94" y="36"/>
                    <a:pt x="93" y="38"/>
                    <a:pt x="92" y="40"/>
                  </a:cubicBezTo>
                  <a:cubicBezTo>
                    <a:pt x="91" y="42"/>
                    <a:pt x="91" y="44"/>
                    <a:pt x="91" y="47"/>
                  </a:cubicBezTo>
                  <a:lnTo>
                    <a:pt x="121" y="47"/>
                  </a:lnTo>
                  <a:close/>
                  <a:moveTo>
                    <a:pt x="177" y="76"/>
                  </a:moveTo>
                  <a:cubicBezTo>
                    <a:pt x="177" y="77"/>
                    <a:pt x="177" y="78"/>
                    <a:pt x="177" y="79"/>
                  </a:cubicBezTo>
                  <a:cubicBezTo>
                    <a:pt x="177" y="80"/>
                    <a:pt x="176" y="80"/>
                    <a:pt x="176" y="81"/>
                  </a:cubicBezTo>
                  <a:cubicBezTo>
                    <a:pt x="176" y="81"/>
                    <a:pt x="175" y="81"/>
                    <a:pt x="174" y="82"/>
                  </a:cubicBezTo>
                  <a:cubicBezTo>
                    <a:pt x="174" y="82"/>
                    <a:pt x="173" y="82"/>
                    <a:pt x="172" y="82"/>
                  </a:cubicBezTo>
                  <a:cubicBezTo>
                    <a:pt x="171" y="83"/>
                    <a:pt x="170" y="83"/>
                    <a:pt x="169" y="83"/>
                  </a:cubicBezTo>
                  <a:cubicBezTo>
                    <a:pt x="169" y="83"/>
                    <a:pt x="168" y="83"/>
                    <a:pt x="167" y="83"/>
                  </a:cubicBezTo>
                  <a:cubicBezTo>
                    <a:pt x="164" y="83"/>
                    <a:pt x="161" y="83"/>
                    <a:pt x="159" y="82"/>
                  </a:cubicBezTo>
                  <a:cubicBezTo>
                    <a:pt x="157" y="81"/>
                    <a:pt x="155" y="80"/>
                    <a:pt x="154" y="78"/>
                  </a:cubicBezTo>
                  <a:cubicBezTo>
                    <a:pt x="153" y="77"/>
                    <a:pt x="152" y="75"/>
                    <a:pt x="151" y="72"/>
                  </a:cubicBezTo>
                  <a:cubicBezTo>
                    <a:pt x="150" y="70"/>
                    <a:pt x="150" y="67"/>
                    <a:pt x="150" y="64"/>
                  </a:cubicBezTo>
                  <a:lnTo>
                    <a:pt x="150" y="31"/>
                  </a:lnTo>
                  <a:lnTo>
                    <a:pt x="142" y="31"/>
                  </a:lnTo>
                  <a:cubicBezTo>
                    <a:pt x="142" y="31"/>
                    <a:pt x="141" y="31"/>
                    <a:pt x="141" y="30"/>
                  </a:cubicBezTo>
                  <a:cubicBezTo>
                    <a:pt x="140" y="29"/>
                    <a:pt x="140" y="28"/>
                    <a:pt x="140" y="27"/>
                  </a:cubicBezTo>
                  <a:cubicBezTo>
                    <a:pt x="140" y="26"/>
                    <a:pt x="140" y="25"/>
                    <a:pt x="140" y="25"/>
                  </a:cubicBezTo>
                  <a:cubicBezTo>
                    <a:pt x="141" y="24"/>
                    <a:pt x="141" y="24"/>
                    <a:pt x="141" y="23"/>
                  </a:cubicBezTo>
                  <a:cubicBezTo>
                    <a:pt x="141" y="23"/>
                    <a:pt x="141" y="23"/>
                    <a:pt x="141" y="23"/>
                  </a:cubicBezTo>
                  <a:cubicBezTo>
                    <a:pt x="142" y="23"/>
                    <a:pt x="142" y="22"/>
                    <a:pt x="142" y="22"/>
                  </a:cubicBezTo>
                  <a:lnTo>
                    <a:pt x="150" y="22"/>
                  </a:lnTo>
                  <a:lnTo>
                    <a:pt x="150" y="9"/>
                  </a:lnTo>
                  <a:cubicBezTo>
                    <a:pt x="150" y="9"/>
                    <a:pt x="150" y="9"/>
                    <a:pt x="150" y="8"/>
                  </a:cubicBezTo>
                  <a:cubicBezTo>
                    <a:pt x="151" y="8"/>
                    <a:pt x="151" y="8"/>
                    <a:pt x="151" y="8"/>
                  </a:cubicBezTo>
                  <a:cubicBezTo>
                    <a:pt x="152" y="7"/>
                    <a:pt x="152" y="7"/>
                    <a:pt x="153" y="7"/>
                  </a:cubicBezTo>
                  <a:cubicBezTo>
                    <a:pt x="153" y="7"/>
                    <a:pt x="154" y="7"/>
                    <a:pt x="155" y="7"/>
                  </a:cubicBezTo>
                  <a:cubicBezTo>
                    <a:pt x="156" y="7"/>
                    <a:pt x="157" y="7"/>
                    <a:pt x="158" y="7"/>
                  </a:cubicBezTo>
                  <a:cubicBezTo>
                    <a:pt x="159" y="7"/>
                    <a:pt x="159" y="7"/>
                    <a:pt x="159" y="8"/>
                  </a:cubicBezTo>
                  <a:cubicBezTo>
                    <a:pt x="160" y="8"/>
                    <a:pt x="160" y="8"/>
                    <a:pt x="160" y="8"/>
                  </a:cubicBezTo>
                  <a:cubicBezTo>
                    <a:pt x="160" y="9"/>
                    <a:pt x="160" y="9"/>
                    <a:pt x="160" y="9"/>
                  </a:cubicBezTo>
                  <a:lnTo>
                    <a:pt x="160" y="22"/>
                  </a:lnTo>
                  <a:lnTo>
                    <a:pt x="175" y="22"/>
                  </a:lnTo>
                  <a:cubicBezTo>
                    <a:pt x="175" y="22"/>
                    <a:pt x="176" y="23"/>
                    <a:pt x="176" y="23"/>
                  </a:cubicBezTo>
                  <a:cubicBezTo>
                    <a:pt x="176" y="23"/>
                    <a:pt x="176" y="23"/>
                    <a:pt x="176" y="23"/>
                  </a:cubicBezTo>
                  <a:cubicBezTo>
                    <a:pt x="177" y="24"/>
                    <a:pt x="177" y="24"/>
                    <a:pt x="177" y="25"/>
                  </a:cubicBezTo>
                  <a:cubicBezTo>
                    <a:pt x="177" y="25"/>
                    <a:pt x="177" y="26"/>
                    <a:pt x="177" y="27"/>
                  </a:cubicBezTo>
                  <a:cubicBezTo>
                    <a:pt x="177" y="28"/>
                    <a:pt x="177" y="29"/>
                    <a:pt x="176" y="30"/>
                  </a:cubicBezTo>
                  <a:cubicBezTo>
                    <a:pt x="176" y="31"/>
                    <a:pt x="176" y="31"/>
                    <a:pt x="175" y="31"/>
                  </a:cubicBezTo>
                  <a:lnTo>
                    <a:pt x="160" y="31"/>
                  </a:lnTo>
                  <a:lnTo>
                    <a:pt x="160" y="62"/>
                  </a:lnTo>
                  <a:cubicBezTo>
                    <a:pt x="160" y="66"/>
                    <a:pt x="161" y="69"/>
                    <a:pt x="162" y="71"/>
                  </a:cubicBezTo>
                  <a:cubicBezTo>
                    <a:pt x="163" y="73"/>
                    <a:pt x="165" y="74"/>
                    <a:pt x="168" y="74"/>
                  </a:cubicBezTo>
                  <a:cubicBezTo>
                    <a:pt x="169" y="74"/>
                    <a:pt x="170" y="74"/>
                    <a:pt x="171" y="74"/>
                  </a:cubicBezTo>
                  <a:cubicBezTo>
                    <a:pt x="172" y="74"/>
                    <a:pt x="172" y="74"/>
                    <a:pt x="173" y="73"/>
                  </a:cubicBezTo>
                  <a:cubicBezTo>
                    <a:pt x="174" y="73"/>
                    <a:pt x="174" y="73"/>
                    <a:pt x="174" y="73"/>
                  </a:cubicBezTo>
                  <a:cubicBezTo>
                    <a:pt x="175" y="73"/>
                    <a:pt x="175" y="72"/>
                    <a:pt x="176" y="72"/>
                  </a:cubicBezTo>
                  <a:cubicBezTo>
                    <a:pt x="176" y="72"/>
                    <a:pt x="176" y="72"/>
                    <a:pt x="176" y="73"/>
                  </a:cubicBezTo>
                  <a:cubicBezTo>
                    <a:pt x="176" y="73"/>
                    <a:pt x="176" y="73"/>
                    <a:pt x="177" y="73"/>
                  </a:cubicBezTo>
                  <a:cubicBezTo>
                    <a:pt x="177" y="73"/>
                    <a:pt x="177" y="74"/>
                    <a:pt x="177" y="74"/>
                  </a:cubicBezTo>
                  <a:cubicBezTo>
                    <a:pt x="177" y="75"/>
                    <a:pt x="177" y="75"/>
                    <a:pt x="177" y="76"/>
                  </a:cubicBezTo>
                  <a:close/>
                  <a:moveTo>
                    <a:pt x="283" y="70"/>
                  </a:moveTo>
                  <a:cubicBezTo>
                    <a:pt x="283" y="71"/>
                    <a:pt x="283" y="72"/>
                    <a:pt x="283" y="72"/>
                  </a:cubicBezTo>
                  <a:cubicBezTo>
                    <a:pt x="283" y="73"/>
                    <a:pt x="283" y="73"/>
                    <a:pt x="283" y="74"/>
                  </a:cubicBezTo>
                  <a:cubicBezTo>
                    <a:pt x="283" y="74"/>
                    <a:pt x="282" y="74"/>
                    <a:pt x="282" y="75"/>
                  </a:cubicBezTo>
                  <a:cubicBezTo>
                    <a:pt x="282" y="75"/>
                    <a:pt x="282" y="75"/>
                    <a:pt x="281" y="76"/>
                  </a:cubicBezTo>
                  <a:cubicBezTo>
                    <a:pt x="281" y="76"/>
                    <a:pt x="280" y="77"/>
                    <a:pt x="279" y="78"/>
                  </a:cubicBezTo>
                  <a:cubicBezTo>
                    <a:pt x="277" y="78"/>
                    <a:pt x="276" y="79"/>
                    <a:pt x="274" y="80"/>
                  </a:cubicBezTo>
                  <a:cubicBezTo>
                    <a:pt x="272" y="81"/>
                    <a:pt x="270" y="82"/>
                    <a:pt x="267" y="82"/>
                  </a:cubicBezTo>
                  <a:cubicBezTo>
                    <a:pt x="264" y="83"/>
                    <a:pt x="262" y="83"/>
                    <a:pt x="259" y="83"/>
                  </a:cubicBezTo>
                  <a:cubicBezTo>
                    <a:pt x="253" y="83"/>
                    <a:pt x="249" y="82"/>
                    <a:pt x="244" y="80"/>
                  </a:cubicBezTo>
                  <a:cubicBezTo>
                    <a:pt x="240" y="79"/>
                    <a:pt x="237" y="76"/>
                    <a:pt x="234" y="73"/>
                  </a:cubicBezTo>
                  <a:cubicBezTo>
                    <a:pt x="231" y="69"/>
                    <a:pt x="228" y="65"/>
                    <a:pt x="227" y="60"/>
                  </a:cubicBezTo>
                  <a:cubicBezTo>
                    <a:pt x="225" y="55"/>
                    <a:pt x="224" y="49"/>
                    <a:pt x="224" y="43"/>
                  </a:cubicBezTo>
                  <a:cubicBezTo>
                    <a:pt x="224" y="36"/>
                    <a:pt x="225" y="30"/>
                    <a:pt x="227" y="25"/>
                  </a:cubicBezTo>
                  <a:cubicBezTo>
                    <a:pt x="229" y="19"/>
                    <a:pt x="231" y="15"/>
                    <a:pt x="234" y="11"/>
                  </a:cubicBezTo>
                  <a:cubicBezTo>
                    <a:pt x="237" y="8"/>
                    <a:pt x="241" y="5"/>
                    <a:pt x="245" y="3"/>
                  </a:cubicBezTo>
                  <a:cubicBezTo>
                    <a:pt x="250" y="1"/>
                    <a:pt x="255" y="0"/>
                    <a:pt x="260" y="0"/>
                  </a:cubicBezTo>
                  <a:cubicBezTo>
                    <a:pt x="262" y="0"/>
                    <a:pt x="264" y="0"/>
                    <a:pt x="267" y="1"/>
                  </a:cubicBezTo>
                  <a:cubicBezTo>
                    <a:pt x="269" y="1"/>
                    <a:pt x="271" y="2"/>
                    <a:pt x="273" y="2"/>
                  </a:cubicBezTo>
                  <a:cubicBezTo>
                    <a:pt x="275" y="3"/>
                    <a:pt x="276" y="4"/>
                    <a:pt x="278" y="5"/>
                  </a:cubicBezTo>
                  <a:cubicBezTo>
                    <a:pt x="279" y="6"/>
                    <a:pt x="280" y="6"/>
                    <a:pt x="281" y="7"/>
                  </a:cubicBezTo>
                  <a:cubicBezTo>
                    <a:pt x="281" y="7"/>
                    <a:pt x="282" y="8"/>
                    <a:pt x="282" y="8"/>
                  </a:cubicBezTo>
                  <a:cubicBezTo>
                    <a:pt x="282" y="8"/>
                    <a:pt x="282" y="9"/>
                    <a:pt x="282" y="9"/>
                  </a:cubicBezTo>
                  <a:cubicBezTo>
                    <a:pt x="282" y="10"/>
                    <a:pt x="282" y="10"/>
                    <a:pt x="283" y="11"/>
                  </a:cubicBezTo>
                  <a:cubicBezTo>
                    <a:pt x="283" y="11"/>
                    <a:pt x="283" y="12"/>
                    <a:pt x="283" y="12"/>
                  </a:cubicBezTo>
                  <a:cubicBezTo>
                    <a:pt x="283" y="13"/>
                    <a:pt x="283" y="14"/>
                    <a:pt x="282" y="15"/>
                  </a:cubicBezTo>
                  <a:cubicBezTo>
                    <a:pt x="282" y="15"/>
                    <a:pt x="282" y="16"/>
                    <a:pt x="282" y="16"/>
                  </a:cubicBezTo>
                  <a:cubicBezTo>
                    <a:pt x="282" y="16"/>
                    <a:pt x="282" y="17"/>
                    <a:pt x="282" y="17"/>
                  </a:cubicBezTo>
                  <a:cubicBezTo>
                    <a:pt x="281" y="17"/>
                    <a:pt x="281" y="17"/>
                    <a:pt x="281" y="17"/>
                  </a:cubicBezTo>
                  <a:cubicBezTo>
                    <a:pt x="280" y="17"/>
                    <a:pt x="279" y="17"/>
                    <a:pt x="278" y="16"/>
                  </a:cubicBezTo>
                  <a:cubicBezTo>
                    <a:pt x="277" y="15"/>
                    <a:pt x="276" y="14"/>
                    <a:pt x="274" y="13"/>
                  </a:cubicBezTo>
                  <a:cubicBezTo>
                    <a:pt x="273" y="12"/>
                    <a:pt x="271" y="11"/>
                    <a:pt x="268" y="11"/>
                  </a:cubicBezTo>
                  <a:cubicBezTo>
                    <a:pt x="266" y="10"/>
                    <a:pt x="263" y="9"/>
                    <a:pt x="260" y="9"/>
                  </a:cubicBezTo>
                  <a:cubicBezTo>
                    <a:pt x="256" y="9"/>
                    <a:pt x="253" y="10"/>
                    <a:pt x="250" y="12"/>
                  </a:cubicBezTo>
                  <a:cubicBezTo>
                    <a:pt x="247" y="13"/>
                    <a:pt x="244" y="15"/>
                    <a:pt x="242" y="18"/>
                  </a:cubicBezTo>
                  <a:cubicBezTo>
                    <a:pt x="240" y="21"/>
                    <a:pt x="238" y="24"/>
                    <a:pt x="237" y="28"/>
                  </a:cubicBezTo>
                  <a:cubicBezTo>
                    <a:pt x="236" y="32"/>
                    <a:pt x="236" y="37"/>
                    <a:pt x="236" y="42"/>
                  </a:cubicBezTo>
                  <a:cubicBezTo>
                    <a:pt x="236" y="47"/>
                    <a:pt x="236" y="52"/>
                    <a:pt x="237" y="56"/>
                  </a:cubicBezTo>
                  <a:cubicBezTo>
                    <a:pt x="238" y="59"/>
                    <a:pt x="240" y="63"/>
                    <a:pt x="242" y="65"/>
                  </a:cubicBezTo>
                  <a:cubicBezTo>
                    <a:pt x="244" y="68"/>
                    <a:pt x="247" y="70"/>
                    <a:pt x="250" y="71"/>
                  </a:cubicBezTo>
                  <a:cubicBezTo>
                    <a:pt x="253" y="73"/>
                    <a:pt x="256" y="73"/>
                    <a:pt x="260" y="73"/>
                  </a:cubicBezTo>
                  <a:cubicBezTo>
                    <a:pt x="263" y="73"/>
                    <a:pt x="266" y="73"/>
                    <a:pt x="268" y="72"/>
                  </a:cubicBezTo>
                  <a:cubicBezTo>
                    <a:pt x="271" y="71"/>
                    <a:pt x="273" y="71"/>
                    <a:pt x="275" y="70"/>
                  </a:cubicBezTo>
                  <a:cubicBezTo>
                    <a:pt x="276" y="69"/>
                    <a:pt x="278" y="68"/>
                    <a:pt x="279" y="67"/>
                  </a:cubicBezTo>
                  <a:cubicBezTo>
                    <a:pt x="280" y="66"/>
                    <a:pt x="281" y="66"/>
                    <a:pt x="281" y="66"/>
                  </a:cubicBezTo>
                  <a:cubicBezTo>
                    <a:pt x="282" y="66"/>
                    <a:pt x="282" y="66"/>
                    <a:pt x="282" y="66"/>
                  </a:cubicBezTo>
                  <a:cubicBezTo>
                    <a:pt x="282" y="66"/>
                    <a:pt x="282" y="66"/>
                    <a:pt x="283" y="67"/>
                  </a:cubicBezTo>
                  <a:cubicBezTo>
                    <a:pt x="283" y="67"/>
                    <a:pt x="283" y="67"/>
                    <a:pt x="283" y="68"/>
                  </a:cubicBezTo>
                  <a:cubicBezTo>
                    <a:pt x="283" y="69"/>
                    <a:pt x="283" y="70"/>
                    <a:pt x="283" y="70"/>
                  </a:cubicBezTo>
                  <a:close/>
                  <a:moveTo>
                    <a:pt x="334" y="80"/>
                  </a:moveTo>
                  <a:cubicBezTo>
                    <a:pt x="334" y="81"/>
                    <a:pt x="334" y="81"/>
                    <a:pt x="334" y="82"/>
                  </a:cubicBezTo>
                  <a:cubicBezTo>
                    <a:pt x="333" y="82"/>
                    <a:pt x="333" y="82"/>
                    <a:pt x="332" y="82"/>
                  </a:cubicBezTo>
                  <a:cubicBezTo>
                    <a:pt x="332" y="82"/>
                    <a:pt x="331" y="82"/>
                    <a:pt x="330" y="82"/>
                  </a:cubicBezTo>
                  <a:cubicBezTo>
                    <a:pt x="329" y="82"/>
                    <a:pt x="328" y="82"/>
                    <a:pt x="327" y="82"/>
                  </a:cubicBezTo>
                  <a:cubicBezTo>
                    <a:pt x="326" y="82"/>
                    <a:pt x="326" y="82"/>
                    <a:pt x="326" y="82"/>
                  </a:cubicBezTo>
                  <a:cubicBezTo>
                    <a:pt x="325" y="81"/>
                    <a:pt x="325" y="81"/>
                    <a:pt x="325" y="80"/>
                  </a:cubicBezTo>
                  <a:lnTo>
                    <a:pt x="325" y="75"/>
                  </a:lnTo>
                  <a:cubicBezTo>
                    <a:pt x="323" y="77"/>
                    <a:pt x="320" y="79"/>
                    <a:pt x="317" y="81"/>
                  </a:cubicBezTo>
                  <a:cubicBezTo>
                    <a:pt x="314" y="82"/>
                    <a:pt x="311" y="83"/>
                    <a:pt x="307" y="83"/>
                  </a:cubicBezTo>
                  <a:cubicBezTo>
                    <a:pt x="304" y="83"/>
                    <a:pt x="302" y="83"/>
                    <a:pt x="299" y="82"/>
                  </a:cubicBezTo>
                  <a:cubicBezTo>
                    <a:pt x="297" y="81"/>
                    <a:pt x="295" y="80"/>
                    <a:pt x="293" y="79"/>
                  </a:cubicBezTo>
                  <a:cubicBezTo>
                    <a:pt x="292" y="77"/>
                    <a:pt x="290" y="75"/>
                    <a:pt x="289" y="73"/>
                  </a:cubicBezTo>
                  <a:cubicBezTo>
                    <a:pt x="288" y="71"/>
                    <a:pt x="288" y="69"/>
                    <a:pt x="288" y="66"/>
                  </a:cubicBezTo>
                  <a:cubicBezTo>
                    <a:pt x="288" y="63"/>
                    <a:pt x="289" y="60"/>
                    <a:pt x="290" y="58"/>
                  </a:cubicBezTo>
                  <a:cubicBezTo>
                    <a:pt x="291" y="55"/>
                    <a:pt x="293" y="53"/>
                    <a:pt x="295" y="52"/>
                  </a:cubicBezTo>
                  <a:cubicBezTo>
                    <a:pt x="298" y="50"/>
                    <a:pt x="301" y="49"/>
                    <a:pt x="304" y="48"/>
                  </a:cubicBezTo>
                  <a:cubicBezTo>
                    <a:pt x="308" y="48"/>
                    <a:pt x="312" y="47"/>
                    <a:pt x="316" y="47"/>
                  </a:cubicBezTo>
                  <a:lnTo>
                    <a:pt x="324" y="47"/>
                  </a:lnTo>
                  <a:lnTo>
                    <a:pt x="324" y="43"/>
                  </a:lnTo>
                  <a:cubicBezTo>
                    <a:pt x="324" y="41"/>
                    <a:pt x="324" y="39"/>
                    <a:pt x="323" y="37"/>
                  </a:cubicBezTo>
                  <a:cubicBezTo>
                    <a:pt x="323" y="36"/>
                    <a:pt x="322" y="34"/>
                    <a:pt x="321" y="33"/>
                  </a:cubicBezTo>
                  <a:cubicBezTo>
                    <a:pt x="320" y="32"/>
                    <a:pt x="319" y="31"/>
                    <a:pt x="317" y="31"/>
                  </a:cubicBezTo>
                  <a:cubicBezTo>
                    <a:pt x="315" y="30"/>
                    <a:pt x="313" y="30"/>
                    <a:pt x="311" y="30"/>
                  </a:cubicBezTo>
                  <a:cubicBezTo>
                    <a:pt x="308" y="30"/>
                    <a:pt x="306" y="30"/>
                    <a:pt x="304" y="31"/>
                  </a:cubicBezTo>
                  <a:cubicBezTo>
                    <a:pt x="302" y="31"/>
                    <a:pt x="300" y="32"/>
                    <a:pt x="299" y="33"/>
                  </a:cubicBezTo>
                  <a:cubicBezTo>
                    <a:pt x="297" y="33"/>
                    <a:pt x="296" y="34"/>
                    <a:pt x="295" y="35"/>
                  </a:cubicBezTo>
                  <a:cubicBezTo>
                    <a:pt x="294" y="35"/>
                    <a:pt x="293" y="35"/>
                    <a:pt x="293" y="35"/>
                  </a:cubicBezTo>
                  <a:cubicBezTo>
                    <a:pt x="292" y="35"/>
                    <a:pt x="292" y="35"/>
                    <a:pt x="292" y="35"/>
                  </a:cubicBezTo>
                  <a:cubicBezTo>
                    <a:pt x="292" y="35"/>
                    <a:pt x="291" y="35"/>
                    <a:pt x="291" y="34"/>
                  </a:cubicBezTo>
                  <a:cubicBezTo>
                    <a:pt x="291" y="34"/>
                    <a:pt x="291" y="34"/>
                    <a:pt x="291" y="33"/>
                  </a:cubicBezTo>
                  <a:cubicBezTo>
                    <a:pt x="291" y="33"/>
                    <a:pt x="291" y="32"/>
                    <a:pt x="291" y="31"/>
                  </a:cubicBezTo>
                  <a:cubicBezTo>
                    <a:pt x="291" y="30"/>
                    <a:pt x="291" y="30"/>
                    <a:pt x="291" y="29"/>
                  </a:cubicBezTo>
                  <a:cubicBezTo>
                    <a:pt x="291" y="28"/>
                    <a:pt x="291" y="28"/>
                    <a:pt x="292" y="27"/>
                  </a:cubicBezTo>
                  <a:cubicBezTo>
                    <a:pt x="293" y="27"/>
                    <a:pt x="293" y="26"/>
                    <a:pt x="295" y="25"/>
                  </a:cubicBezTo>
                  <a:cubicBezTo>
                    <a:pt x="296" y="25"/>
                    <a:pt x="298" y="24"/>
                    <a:pt x="300" y="23"/>
                  </a:cubicBezTo>
                  <a:cubicBezTo>
                    <a:pt x="301" y="23"/>
                    <a:pt x="303" y="22"/>
                    <a:pt x="305" y="22"/>
                  </a:cubicBezTo>
                  <a:cubicBezTo>
                    <a:pt x="308" y="21"/>
                    <a:pt x="310" y="21"/>
                    <a:pt x="312" y="21"/>
                  </a:cubicBezTo>
                  <a:cubicBezTo>
                    <a:pt x="316" y="21"/>
                    <a:pt x="319" y="22"/>
                    <a:pt x="322" y="23"/>
                  </a:cubicBezTo>
                  <a:cubicBezTo>
                    <a:pt x="325" y="24"/>
                    <a:pt x="327" y="25"/>
                    <a:pt x="329" y="27"/>
                  </a:cubicBezTo>
                  <a:cubicBezTo>
                    <a:pt x="331" y="28"/>
                    <a:pt x="332" y="31"/>
                    <a:pt x="333" y="33"/>
                  </a:cubicBezTo>
                  <a:cubicBezTo>
                    <a:pt x="334" y="36"/>
                    <a:pt x="334" y="39"/>
                    <a:pt x="334" y="42"/>
                  </a:cubicBezTo>
                  <a:lnTo>
                    <a:pt x="334" y="80"/>
                  </a:lnTo>
                  <a:close/>
                  <a:moveTo>
                    <a:pt x="324" y="55"/>
                  </a:moveTo>
                  <a:lnTo>
                    <a:pt x="315" y="55"/>
                  </a:lnTo>
                  <a:cubicBezTo>
                    <a:pt x="312" y="55"/>
                    <a:pt x="310" y="55"/>
                    <a:pt x="308" y="55"/>
                  </a:cubicBezTo>
                  <a:cubicBezTo>
                    <a:pt x="306" y="56"/>
                    <a:pt x="304" y="57"/>
                    <a:pt x="302" y="58"/>
                  </a:cubicBezTo>
                  <a:cubicBezTo>
                    <a:pt x="301" y="59"/>
                    <a:pt x="300" y="60"/>
                    <a:pt x="299" y="61"/>
                  </a:cubicBezTo>
                  <a:cubicBezTo>
                    <a:pt x="299" y="62"/>
                    <a:pt x="298" y="64"/>
                    <a:pt x="298" y="65"/>
                  </a:cubicBezTo>
                  <a:cubicBezTo>
                    <a:pt x="298" y="68"/>
                    <a:pt x="299" y="71"/>
                    <a:pt x="301" y="72"/>
                  </a:cubicBezTo>
                  <a:cubicBezTo>
                    <a:pt x="303" y="74"/>
                    <a:pt x="306" y="75"/>
                    <a:pt x="309" y="75"/>
                  </a:cubicBezTo>
                  <a:cubicBezTo>
                    <a:pt x="312" y="75"/>
                    <a:pt x="314" y="74"/>
                    <a:pt x="317" y="73"/>
                  </a:cubicBezTo>
                  <a:cubicBezTo>
                    <a:pt x="319" y="72"/>
                    <a:pt x="321" y="70"/>
                    <a:pt x="324" y="67"/>
                  </a:cubicBezTo>
                  <a:lnTo>
                    <a:pt x="324" y="55"/>
                  </a:lnTo>
                  <a:close/>
                  <a:moveTo>
                    <a:pt x="389" y="28"/>
                  </a:moveTo>
                  <a:cubicBezTo>
                    <a:pt x="389" y="29"/>
                    <a:pt x="389" y="29"/>
                    <a:pt x="389" y="30"/>
                  </a:cubicBezTo>
                  <a:cubicBezTo>
                    <a:pt x="389" y="31"/>
                    <a:pt x="388" y="31"/>
                    <a:pt x="388" y="32"/>
                  </a:cubicBezTo>
                  <a:cubicBezTo>
                    <a:pt x="388" y="32"/>
                    <a:pt x="388" y="32"/>
                    <a:pt x="388" y="32"/>
                  </a:cubicBezTo>
                  <a:cubicBezTo>
                    <a:pt x="388" y="33"/>
                    <a:pt x="387" y="33"/>
                    <a:pt x="387" y="33"/>
                  </a:cubicBezTo>
                  <a:cubicBezTo>
                    <a:pt x="387" y="33"/>
                    <a:pt x="386" y="33"/>
                    <a:pt x="386" y="32"/>
                  </a:cubicBezTo>
                  <a:cubicBezTo>
                    <a:pt x="385" y="32"/>
                    <a:pt x="385" y="32"/>
                    <a:pt x="384" y="32"/>
                  </a:cubicBezTo>
                  <a:cubicBezTo>
                    <a:pt x="384" y="32"/>
                    <a:pt x="383" y="31"/>
                    <a:pt x="382" y="31"/>
                  </a:cubicBezTo>
                  <a:cubicBezTo>
                    <a:pt x="381" y="31"/>
                    <a:pt x="381" y="31"/>
                    <a:pt x="380" y="31"/>
                  </a:cubicBezTo>
                  <a:cubicBezTo>
                    <a:pt x="379" y="31"/>
                    <a:pt x="378" y="31"/>
                    <a:pt x="377" y="32"/>
                  </a:cubicBezTo>
                  <a:cubicBezTo>
                    <a:pt x="376" y="32"/>
                    <a:pt x="375" y="33"/>
                    <a:pt x="374" y="34"/>
                  </a:cubicBezTo>
                  <a:cubicBezTo>
                    <a:pt x="372" y="35"/>
                    <a:pt x="371" y="36"/>
                    <a:pt x="370" y="38"/>
                  </a:cubicBezTo>
                  <a:cubicBezTo>
                    <a:pt x="369" y="39"/>
                    <a:pt x="368" y="41"/>
                    <a:pt x="366" y="43"/>
                  </a:cubicBezTo>
                  <a:lnTo>
                    <a:pt x="366" y="80"/>
                  </a:lnTo>
                  <a:cubicBezTo>
                    <a:pt x="366" y="81"/>
                    <a:pt x="366" y="81"/>
                    <a:pt x="366" y="81"/>
                  </a:cubicBezTo>
                  <a:cubicBezTo>
                    <a:pt x="366" y="81"/>
                    <a:pt x="365" y="82"/>
                    <a:pt x="365" y="82"/>
                  </a:cubicBezTo>
                  <a:cubicBezTo>
                    <a:pt x="365" y="82"/>
                    <a:pt x="364" y="82"/>
                    <a:pt x="363" y="82"/>
                  </a:cubicBezTo>
                  <a:cubicBezTo>
                    <a:pt x="363" y="82"/>
                    <a:pt x="362" y="82"/>
                    <a:pt x="361" y="82"/>
                  </a:cubicBezTo>
                  <a:cubicBezTo>
                    <a:pt x="360" y="82"/>
                    <a:pt x="359" y="82"/>
                    <a:pt x="358" y="82"/>
                  </a:cubicBezTo>
                  <a:cubicBezTo>
                    <a:pt x="358" y="82"/>
                    <a:pt x="357" y="82"/>
                    <a:pt x="357" y="82"/>
                  </a:cubicBezTo>
                  <a:cubicBezTo>
                    <a:pt x="356" y="82"/>
                    <a:pt x="356" y="81"/>
                    <a:pt x="356" y="81"/>
                  </a:cubicBezTo>
                  <a:cubicBezTo>
                    <a:pt x="356" y="81"/>
                    <a:pt x="356" y="81"/>
                    <a:pt x="356" y="80"/>
                  </a:cubicBezTo>
                  <a:lnTo>
                    <a:pt x="356" y="24"/>
                  </a:lnTo>
                  <a:cubicBezTo>
                    <a:pt x="356" y="24"/>
                    <a:pt x="356" y="23"/>
                    <a:pt x="356" y="23"/>
                  </a:cubicBezTo>
                  <a:cubicBezTo>
                    <a:pt x="356" y="23"/>
                    <a:pt x="356" y="23"/>
                    <a:pt x="357" y="23"/>
                  </a:cubicBezTo>
                  <a:cubicBezTo>
                    <a:pt x="357" y="22"/>
                    <a:pt x="358" y="22"/>
                    <a:pt x="358" y="22"/>
                  </a:cubicBezTo>
                  <a:cubicBezTo>
                    <a:pt x="359" y="22"/>
                    <a:pt x="359" y="22"/>
                    <a:pt x="360" y="22"/>
                  </a:cubicBezTo>
                  <a:cubicBezTo>
                    <a:pt x="361" y="22"/>
                    <a:pt x="362" y="22"/>
                    <a:pt x="363" y="22"/>
                  </a:cubicBezTo>
                  <a:cubicBezTo>
                    <a:pt x="363" y="22"/>
                    <a:pt x="364" y="22"/>
                    <a:pt x="364" y="23"/>
                  </a:cubicBezTo>
                  <a:cubicBezTo>
                    <a:pt x="364" y="23"/>
                    <a:pt x="365" y="23"/>
                    <a:pt x="365" y="23"/>
                  </a:cubicBezTo>
                  <a:cubicBezTo>
                    <a:pt x="365" y="23"/>
                    <a:pt x="365" y="24"/>
                    <a:pt x="365" y="24"/>
                  </a:cubicBezTo>
                  <a:lnTo>
                    <a:pt x="365" y="32"/>
                  </a:lnTo>
                  <a:cubicBezTo>
                    <a:pt x="367" y="30"/>
                    <a:pt x="368" y="28"/>
                    <a:pt x="369" y="27"/>
                  </a:cubicBezTo>
                  <a:cubicBezTo>
                    <a:pt x="371" y="25"/>
                    <a:pt x="372" y="24"/>
                    <a:pt x="373" y="23"/>
                  </a:cubicBezTo>
                  <a:cubicBezTo>
                    <a:pt x="374" y="23"/>
                    <a:pt x="376" y="22"/>
                    <a:pt x="377" y="22"/>
                  </a:cubicBezTo>
                  <a:cubicBezTo>
                    <a:pt x="378" y="21"/>
                    <a:pt x="379" y="21"/>
                    <a:pt x="380" y="21"/>
                  </a:cubicBezTo>
                  <a:cubicBezTo>
                    <a:pt x="381" y="21"/>
                    <a:pt x="382" y="21"/>
                    <a:pt x="382" y="21"/>
                  </a:cubicBezTo>
                  <a:cubicBezTo>
                    <a:pt x="383" y="21"/>
                    <a:pt x="384" y="22"/>
                    <a:pt x="384" y="22"/>
                  </a:cubicBezTo>
                  <a:cubicBezTo>
                    <a:pt x="385" y="22"/>
                    <a:pt x="386" y="22"/>
                    <a:pt x="386" y="22"/>
                  </a:cubicBezTo>
                  <a:cubicBezTo>
                    <a:pt x="387" y="23"/>
                    <a:pt x="387" y="23"/>
                    <a:pt x="388" y="23"/>
                  </a:cubicBezTo>
                  <a:cubicBezTo>
                    <a:pt x="388" y="23"/>
                    <a:pt x="388" y="23"/>
                    <a:pt x="388" y="24"/>
                  </a:cubicBezTo>
                  <a:cubicBezTo>
                    <a:pt x="388" y="24"/>
                    <a:pt x="388" y="24"/>
                    <a:pt x="388" y="24"/>
                  </a:cubicBezTo>
                  <a:cubicBezTo>
                    <a:pt x="389" y="25"/>
                    <a:pt x="389" y="25"/>
                    <a:pt x="389" y="26"/>
                  </a:cubicBezTo>
                  <a:cubicBezTo>
                    <a:pt x="389" y="26"/>
                    <a:pt x="389" y="27"/>
                    <a:pt x="389" y="28"/>
                  </a:cubicBezTo>
                  <a:close/>
                  <a:moveTo>
                    <a:pt x="417" y="76"/>
                  </a:moveTo>
                  <a:cubicBezTo>
                    <a:pt x="417" y="77"/>
                    <a:pt x="417" y="78"/>
                    <a:pt x="417" y="79"/>
                  </a:cubicBezTo>
                  <a:cubicBezTo>
                    <a:pt x="417" y="80"/>
                    <a:pt x="416" y="80"/>
                    <a:pt x="416" y="81"/>
                  </a:cubicBezTo>
                  <a:cubicBezTo>
                    <a:pt x="416" y="81"/>
                    <a:pt x="415" y="81"/>
                    <a:pt x="414" y="82"/>
                  </a:cubicBezTo>
                  <a:cubicBezTo>
                    <a:pt x="414" y="82"/>
                    <a:pt x="413" y="82"/>
                    <a:pt x="412" y="82"/>
                  </a:cubicBezTo>
                  <a:cubicBezTo>
                    <a:pt x="411" y="83"/>
                    <a:pt x="410" y="83"/>
                    <a:pt x="409" y="83"/>
                  </a:cubicBezTo>
                  <a:cubicBezTo>
                    <a:pt x="409" y="83"/>
                    <a:pt x="408" y="83"/>
                    <a:pt x="407" y="83"/>
                  </a:cubicBezTo>
                  <a:cubicBezTo>
                    <a:pt x="404" y="83"/>
                    <a:pt x="401" y="83"/>
                    <a:pt x="399" y="82"/>
                  </a:cubicBezTo>
                  <a:cubicBezTo>
                    <a:pt x="397" y="81"/>
                    <a:pt x="395" y="80"/>
                    <a:pt x="394" y="78"/>
                  </a:cubicBezTo>
                  <a:cubicBezTo>
                    <a:pt x="393" y="77"/>
                    <a:pt x="392" y="75"/>
                    <a:pt x="391" y="72"/>
                  </a:cubicBezTo>
                  <a:cubicBezTo>
                    <a:pt x="390" y="70"/>
                    <a:pt x="390" y="67"/>
                    <a:pt x="390" y="64"/>
                  </a:cubicBezTo>
                  <a:lnTo>
                    <a:pt x="390" y="31"/>
                  </a:lnTo>
                  <a:lnTo>
                    <a:pt x="382" y="31"/>
                  </a:lnTo>
                  <a:cubicBezTo>
                    <a:pt x="382" y="31"/>
                    <a:pt x="381" y="31"/>
                    <a:pt x="381" y="30"/>
                  </a:cubicBezTo>
                  <a:cubicBezTo>
                    <a:pt x="380" y="29"/>
                    <a:pt x="380" y="28"/>
                    <a:pt x="380" y="27"/>
                  </a:cubicBezTo>
                  <a:cubicBezTo>
                    <a:pt x="380" y="26"/>
                    <a:pt x="380" y="25"/>
                    <a:pt x="380" y="25"/>
                  </a:cubicBezTo>
                  <a:cubicBezTo>
                    <a:pt x="381" y="24"/>
                    <a:pt x="381" y="24"/>
                    <a:pt x="381" y="23"/>
                  </a:cubicBezTo>
                  <a:cubicBezTo>
                    <a:pt x="381" y="23"/>
                    <a:pt x="381" y="23"/>
                    <a:pt x="381" y="23"/>
                  </a:cubicBezTo>
                  <a:cubicBezTo>
                    <a:pt x="382" y="23"/>
                    <a:pt x="382" y="22"/>
                    <a:pt x="382" y="22"/>
                  </a:cubicBezTo>
                  <a:lnTo>
                    <a:pt x="390" y="22"/>
                  </a:lnTo>
                  <a:lnTo>
                    <a:pt x="390" y="9"/>
                  </a:lnTo>
                  <a:cubicBezTo>
                    <a:pt x="390" y="9"/>
                    <a:pt x="390" y="9"/>
                    <a:pt x="390" y="8"/>
                  </a:cubicBezTo>
                  <a:cubicBezTo>
                    <a:pt x="391" y="8"/>
                    <a:pt x="391" y="8"/>
                    <a:pt x="391" y="8"/>
                  </a:cubicBezTo>
                  <a:cubicBezTo>
                    <a:pt x="392" y="7"/>
                    <a:pt x="392" y="7"/>
                    <a:pt x="393" y="7"/>
                  </a:cubicBezTo>
                  <a:cubicBezTo>
                    <a:pt x="393" y="7"/>
                    <a:pt x="394" y="7"/>
                    <a:pt x="395" y="7"/>
                  </a:cubicBezTo>
                  <a:cubicBezTo>
                    <a:pt x="396" y="7"/>
                    <a:pt x="397" y="7"/>
                    <a:pt x="398" y="7"/>
                  </a:cubicBezTo>
                  <a:cubicBezTo>
                    <a:pt x="399" y="7"/>
                    <a:pt x="399" y="7"/>
                    <a:pt x="399" y="8"/>
                  </a:cubicBezTo>
                  <a:cubicBezTo>
                    <a:pt x="400" y="8"/>
                    <a:pt x="400" y="8"/>
                    <a:pt x="400" y="8"/>
                  </a:cubicBezTo>
                  <a:cubicBezTo>
                    <a:pt x="400" y="9"/>
                    <a:pt x="400" y="9"/>
                    <a:pt x="400" y="9"/>
                  </a:cubicBezTo>
                  <a:lnTo>
                    <a:pt x="400" y="22"/>
                  </a:lnTo>
                  <a:lnTo>
                    <a:pt x="415" y="22"/>
                  </a:lnTo>
                  <a:cubicBezTo>
                    <a:pt x="415" y="22"/>
                    <a:pt x="416" y="23"/>
                    <a:pt x="416" y="23"/>
                  </a:cubicBezTo>
                  <a:cubicBezTo>
                    <a:pt x="416" y="23"/>
                    <a:pt x="416" y="23"/>
                    <a:pt x="416" y="23"/>
                  </a:cubicBezTo>
                  <a:cubicBezTo>
                    <a:pt x="417" y="24"/>
                    <a:pt x="417" y="24"/>
                    <a:pt x="417" y="25"/>
                  </a:cubicBezTo>
                  <a:cubicBezTo>
                    <a:pt x="417" y="25"/>
                    <a:pt x="417" y="26"/>
                    <a:pt x="417" y="27"/>
                  </a:cubicBezTo>
                  <a:cubicBezTo>
                    <a:pt x="417" y="28"/>
                    <a:pt x="417" y="29"/>
                    <a:pt x="416" y="30"/>
                  </a:cubicBezTo>
                  <a:cubicBezTo>
                    <a:pt x="416" y="31"/>
                    <a:pt x="416" y="31"/>
                    <a:pt x="415" y="31"/>
                  </a:cubicBezTo>
                  <a:lnTo>
                    <a:pt x="400" y="31"/>
                  </a:lnTo>
                  <a:lnTo>
                    <a:pt x="400" y="62"/>
                  </a:lnTo>
                  <a:cubicBezTo>
                    <a:pt x="400" y="66"/>
                    <a:pt x="401" y="69"/>
                    <a:pt x="402" y="71"/>
                  </a:cubicBezTo>
                  <a:cubicBezTo>
                    <a:pt x="403" y="73"/>
                    <a:pt x="405" y="74"/>
                    <a:pt x="408" y="74"/>
                  </a:cubicBezTo>
                  <a:cubicBezTo>
                    <a:pt x="409" y="74"/>
                    <a:pt x="410" y="74"/>
                    <a:pt x="411" y="74"/>
                  </a:cubicBezTo>
                  <a:cubicBezTo>
                    <a:pt x="412" y="74"/>
                    <a:pt x="412" y="74"/>
                    <a:pt x="413" y="73"/>
                  </a:cubicBezTo>
                  <a:cubicBezTo>
                    <a:pt x="414" y="73"/>
                    <a:pt x="414" y="73"/>
                    <a:pt x="414" y="73"/>
                  </a:cubicBezTo>
                  <a:cubicBezTo>
                    <a:pt x="415" y="73"/>
                    <a:pt x="415" y="72"/>
                    <a:pt x="416" y="72"/>
                  </a:cubicBezTo>
                  <a:cubicBezTo>
                    <a:pt x="416" y="72"/>
                    <a:pt x="416" y="72"/>
                    <a:pt x="416" y="73"/>
                  </a:cubicBezTo>
                  <a:cubicBezTo>
                    <a:pt x="416" y="73"/>
                    <a:pt x="416" y="73"/>
                    <a:pt x="417" y="73"/>
                  </a:cubicBezTo>
                  <a:cubicBezTo>
                    <a:pt x="417" y="73"/>
                    <a:pt x="417" y="74"/>
                    <a:pt x="417" y="74"/>
                  </a:cubicBezTo>
                  <a:cubicBezTo>
                    <a:pt x="417" y="75"/>
                    <a:pt x="417" y="75"/>
                    <a:pt x="417" y="76"/>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31">
              <a:extLst>
                <a:ext uri="{FF2B5EF4-FFF2-40B4-BE49-F238E27FC236}">
                  <a16:creationId xmlns:a16="http://schemas.microsoft.com/office/drawing/2014/main" id="{82A610F1-6133-481A-B57C-FF25E1494584}"/>
                </a:ext>
              </a:extLst>
            </p:cNvPr>
            <p:cNvSpPr>
              <a:spLocks noEditPoints="1"/>
            </p:cNvSpPr>
            <p:nvPr/>
          </p:nvSpPr>
          <p:spPr bwMode="auto">
            <a:xfrm>
              <a:off x="2554" y="1703"/>
              <a:ext cx="1297" cy="438"/>
            </a:xfrm>
            <a:custGeom>
              <a:avLst/>
              <a:gdLst>
                <a:gd name="T0" fmla="*/ 2898 w 2898"/>
                <a:gd name="T1" fmla="*/ 2 h 977"/>
                <a:gd name="T2" fmla="*/ 2834 w 2898"/>
                <a:gd name="T3" fmla="*/ 8 h 977"/>
                <a:gd name="T4" fmla="*/ 2738 w 2898"/>
                <a:gd name="T5" fmla="*/ 21 h 977"/>
                <a:gd name="T6" fmla="*/ 2675 w 2898"/>
                <a:gd name="T7" fmla="*/ 33 h 977"/>
                <a:gd name="T8" fmla="*/ 2617 w 2898"/>
                <a:gd name="T9" fmla="*/ 43 h 977"/>
                <a:gd name="T10" fmla="*/ 2591 w 2898"/>
                <a:gd name="T11" fmla="*/ 46 h 977"/>
                <a:gd name="T12" fmla="*/ 2594 w 2898"/>
                <a:gd name="T13" fmla="*/ 44 h 977"/>
                <a:gd name="T14" fmla="*/ 2494 w 2898"/>
                <a:gd name="T15" fmla="*/ 56 h 977"/>
                <a:gd name="T16" fmla="*/ 2435 w 2898"/>
                <a:gd name="T17" fmla="*/ 72 h 977"/>
                <a:gd name="T18" fmla="*/ 2410 w 2898"/>
                <a:gd name="T19" fmla="*/ 77 h 977"/>
                <a:gd name="T20" fmla="*/ 2410 w 2898"/>
                <a:gd name="T21" fmla="*/ 77 h 977"/>
                <a:gd name="T22" fmla="*/ 2352 w 2898"/>
                <a:gd name="T23" fmla="*/ 86 h 977"/>
                <a:gd name="T24" fmla="*/ 2288 w 2898"/>
                <a:gd name="T25" fmla="*/ 95 h 977"/>
                <a:gd name="T26" fmla="*/ 2193 w 2898"/>
                <a:gd name="T27" fmla="*/ 114 h 977"/>
                <a:gd name="T28" fmla="*/ 2134 w 2898"/>
                <a:gd name="T29" fmla="*/ 131 h 977"/>
                <a:gd name="T30" fmla="*/ 2169 w 2898"/>
                <a:gd name="T31" fmla="*/ 124 h 977"/>
                <a:gd name="T32" fmla="*/ 2111 w 2898"/>
                <a:gd name="T33" fmla="*/ 134 h 977"/>
                <a:gd name="T34" fmla="*/ 2048 w 2898"/>
                <a:gd name="T35" fmla="*/ 147 h 977"/>
                <a:gd name="T36" fmla="*/ 1954 w 2898"/>
                <a:gd name="T37" fmla="*/ 170 h 977"/>
                <a:gd name="T38" fmla="*/ 1892 w 2898"/>
                <a:gd name="T39" fmla="*/ 188 h 977"/>
                <a:gd name="T40" fmla="*/ 1836 w 2898"/>
                <a:gd name="T41" fmla="*/ 205 h 977"/>
                <a:gd name="T42" fmla="*/ 1811 w 2898"/>
                <a:gd name="T43" fmla="*/ 211 h 977"/>
                <a:gd name="T44" fmla="*/ 1811 w 2898"/>
                <a:gd name="T45" fmla="*/ 211 h 977"/>
                <a:gd name="T46" fmla="*/ 1753 w 2898"/>
                <a:gd name="T47" fmla="*/ 224 h 977"/>
                <a:gd name="T48" fmla="*/ 1691 w 2898"/>
                <a:gd name="T49" fmla="*/ 240 h 977"/>
                <a:gd name="T50" fmla="*/ 1598 w 2898"/>
                <a:gd name="T51" fmla="*/ 268 h 977"/>
                <a:gd name="T52" fmla="*/ 1538 w 2898"/>
                <a:gd name="T53" fmla="*/ 289 h 977"/>
                <a:gd name="T54" fmla="*/ 1482 w 2898"/>
                <a:gd name="T55" fmla="*/ 309 h 977"/>
                <a:gd name="T56" fmla="*/ 1458 w 2898"/>
                <a:gd name="T57" fmla="*/ 316 h 977"/>
                <a:gd name="T58" fmla="*/ 1458 w 2898"/>
                <a:gd name="T59" fmla="*/ 316 h 977"/>
                <a:gd name="T60" fmla="*/ 1396 w 2898"/>
                <a:gd name="T61" fmla="*/ 330 h 977"/>
                <a:gd name="T62" fmla="*/ 1304 w 2898"/>
                <a:gd name="T63" fmla="*/ 366 h 977"/>
                <a:gd name="T64" fmla="*/ 1250 w 2898"/>
                <a:gd name="T65" fmla="*/ 389 h 977"/>
                <a:gd name="T66" fmla="*/ 1226 w 2898"/>
                <a:gd name="T67" fmla="*/ 398 h 977"/>
                <a:gd name="T68" fmla="*/ 1226 w 2898"/>
                <a:gd name="T69" fmla="*/ 398 h 977"/>
                <a:gd name="T70" fmla="*/ 1170 w 2898"/>
                <a:gd name="T71" fmla="*/ 416 h 977"/>
                <a:gd name="T72" fmla="*/ 1109 w 2898"/>
                <a:gd name="T73" fmla="*/ 435 h 977"/>
                <a:gd name="T74" fmla="*/ 1016 w 2898"/>
                <a:gd name="T75" fmla="*/ 473 h 977"/>
                <a:gd name="T76" fmla="*/ 996 w 2898"/>
                <a:gd name="T77" fmla="*/ 484 h 977"/>
                <a:gd name="T78" fmla="*/ 996 w 2898"/>
                <a:gd name="T79" fmla="*/ 484 h 977"/>
                <a:gd name="T80" fmla="*/ 941 w 2898"/>
                <a:gd name="T81" fmla="*/ 505 h 977"/>
                <a:gd name="T82" fmla="*/ 881 w 2898"/>
                <a:gd name="T83" fmla="*/ 528 h 977"/>
                <a:gd name="T84" fmla="*/ 792 w 2898"/>
                <a:gd name="T85" fmla="*/ 566 h 977"/>
                <a:gd name="T86" fmla="*/ 734 w 2898"/>
                <a:gd name="T87" fmla="*/ 594 h 977"/>
                <a:gd name="T88" fmla="*/ 684 w 2898"/>
                <a:gd name="T89" fmla="*/ 618 h 977"/>
                <a:gd name="T90" fmla="*/ 715 w 2898"/>
                <a:gd name="T91" fmla="*/ 602 h 977"/>
                <a:gd name="T92" fmla="*/ 656 w 2898"/>
                <a:gd name="T93" fmla="*/ 626 h 977"/>
                <a:gd name="T94" fmla="*/ 569 w 2898"/>
                <a:gd name="T95" fmla="*/ 669 h 977"/>
                <a:gd name="T96" fmla="*/ 512 w 2898"/>
                <a:gd name="T97" fmla="*/ 700 h 977"/>
                <a:gd name="T98" fmla="*/ 461 w 2898"/>
                <a:gd name="T99" fmla="*/ 728 h 977"/>
                <a:gd name="T100" fmla="*/ 438 w 2898"/>
                <a:gd name="T101" fmla="*/ 739 h 977"/>
                <a:gd name="T102" fmla="*/ 438 w 2898"/>
                <a:gd name="T103" fmla="*/ 739 h 977"/>
                <a:gd name="T104" fmla="*/ 384 w 2898"/>
                <a:gd name="T105" fmla="*/ 763 h 977"/>
                <a:gd name="T106" fmla="*/ 325 w 2898"/>
                <a:gd name="T107" fmla="*/ 790 h 977"/>
                <a:gd name="T108" fmla="*/ 241 w 2898"/>
                <a:gd name="T109" fmla="*/ 838 h 977"/>
                <a:gd name="T110" fmla="*/ 186 w 2898"/>
                <a:gd name="T111" fmla="*/ 871 h 977"/>
                <a:gd name="T112" fmla="*/ 136 w 2898"/>
                <a:gd name="T113" fmla="*/ 902 h 977"/>
                <a:gd name="T114" fmla="*/ 114 w 2898"/>
                <a:gd name="T115" fmla="*/ 915 h 977"/>
                <a:gd name="T116" fmla="*/ 114 w 2898"/>
                <a:gd name="T117" fmla="*/ 915 h 977"/>
                <a:gd name="T118" fmla="*/ 61 w 2898"/>
                <a:gd name="T119" fmla="*/ 941 h 977"/>
                <a:gd name="T120" fmla="*/ 4 w 2898"/>
                <a:gd name="T121" fmla="*/ 971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98" h="977">
                  <a:moveTo>
                    <a:pt x="2896" y="5"/>
                  </a:moveTo>
                  <a:lnTo>
                    <a:pt x="2860" y="10"/>
                  </a:lnTo>
                  <a:cubicBezTo>
                    <a:pt x="2859" y="10"/>
                    <a:pt x="2858" y="9"/>
                    <a:pt x="2857" y="8"/>
                  </a:cubicBezTo>
                  <a:cubicBezTo>
                    <a:pt x="2857" y="6"/>
                    <a:pt x="2858" y="5"/>
                    <a:pt x="2860" y="5"/>
                  </a:cubicBezTo>
                  <a:lnTo>
                    <a:pt x="2895" y="0"/>
                  </a:lnTo>
                  <a:cubicBezTo>
                    <a:pt x="2897" y="0"/>
                    <a:pt x="2898" y="1"/>
                    <a:pt x="2898" y="2"/>
                  </a:cubicBezTo>
                  <a:cubicBezTo>
                    <a:pt x="2898" y="4"/>
                    <a:pt x="2897" y="5"/>
                    <a:pt x="2896" y="5"/>
                  </a:cubicBezTo>
                  <a:close/>
                  <a:moveTo>
                    <a:pt x="2835" y="13"/>
                  </a:moveTo>
                  <a:lnTo>
                    <a:pt x="2799" y="18"/>
                  </a:lnTo>
                  <a:cubicBezTo>
                    <a:pt x="2798" y="18"/>
                    <a:pt x="2797" y="17"/>
                    <a:pt x="2797" y="16"/>
                  </a:cubicBezTo>
                  <a:cubicBezTo>
                    <a:pt x="2796" y="15"/>
                    <a:pt x="2797" y="13"/>
                    <a:pt x="2799" y="13"/>
                  </a:cubicBezTo>
                  <a:lnTo>
                    <a:pt x="2834" y="8"/>
                  </a:lnTo>
                  <a:cubicBezTo>
                    <a:pt x="2836" y="8"/>
                    <a:pt x="2837" y="9"/>
                    <a:pt x="2837" y="10"/>
                  </a:cubicBezTo>
                  <a:cubicBezTo>
                    <a:pt x="2837" y="12"/>
                    <a:pt x="2836" y="13"/>
                    <a:pt x="2835" y="13"/>
                  </a:cubicBezTo>
                  <a:close/>
                  <a:moveTo>
                    <a:pt x="2774" y="22"/>
                  </a:moveTo>
                  <a:lnTo>
                    <a:pt x="2739" y="26"/>
                  </a:lnTo>
                  <a:cubicBezTo>
                    <a:pt x="2737" y="27"/>
                    <a:pt x="2736" y="26"/>
                    <a:pt x="2736" y="24"/>
                  </a:cubicBezTo>
                  <a:cubicBezTo>
                    <a:pt x="2735" y="23"/>
                    <a:pt x="2736" y="22"/>
                    <a:pt x="2738" y="21"/>
                  </a:cubicBezTo>
                  <a:lnTo>
                    <a:pt x="2773" y="17"/>
                  </a:lnTo>
                  <a:cubicBezTo>
                    <a:pt x="2775" y="16"/>
                    <a:pt x="2776" y="17"/>
                    <a:pt x="2776" y="19"/>
                  </a:cubicBezTo>
                  <a:cubicBezTo>
                    <a:pt x="2776" y="20"/>
                    <a:pt x="2775" y="21"/>
                    <a:pt x="2774" y="22"/>
                  </a:cubicBezTo>
                  <a:close/>
                  <a:moveTo>
                    <a:pt x="2713" y="30"/>
                  </a:moveTo>
                  <a:lnTo>
                    <a:pt x="2678" y="35"/>
                  </a:lnTo>
                  <a:cubicBezTo>
                    <a:pt x="2676" y="35"/>
                    <a:pt x="2675" y="34"/>
                    <a:pt x="2675" y="33"/>
                  </a:cubicBezTo>
                  <a:cubicBezTo>
                    <a:pt x="2675" y="31"/>
                    <a:pt x="2676" y="30"/>
                    <a:pt x="2677" y="30"/>
                  </a:cubicBezTo>
                  <a:lnTo>
                    <a:pt x="2713" y="25"/>
                  </a:lnTo>
                  <a:cubicBezTo>
                    <a:pt x="2714" y="25"/>
                    <a:pt x="2715" y="26"/>
                    <a:pt x="2715" y="27"/>
                  </a:cubicBezTo>
                  <a:cubicBezTo>
                    <a:pt x="2716" y="28"/>
                    <a:pt x="2715" y="30"/>
                    <a:pt x="2713" y="30"/>
                  </a:cubicBezTo>
                  <a:close/>
                  <a:moveTo>
                    <a:pt x="2652" y="38"/>
                  </a:moveTo>
                  <a:lnTo>
                    <a:pt x="2617" y="43"/>
                  </a:lnTo>
                  <a:cubicBezTo>
                    <a:pt x="2615" y="43"/>
                    <a:pt x="2614" y="42"/>
                    <a:pt x="2614" y="41"/>
                  </a:cubicBezTo>
                  <a:cubicBezTo>
                    <a:pt x="2614" y="39"/>
                    <a:pt x="2615" y="38"/>
                    <a:pt x="2616" y="38"/>
                  </a:cubicBezTo>
                  <a:lnTo>
                    <a:pt x="2652" y="33"/>
                  </a:lnTo>
                  <a:cubicBezTo>
                    <a:pt x="2653" y="33"/>
                    <a:pt x="2654" y="34"/>
                    <a:pt x="2655" y="35"/>
                  </a:cubicBezTo>
                  <a:cubicBezTo>
                    <a:pt x="2655" y="37"/>
                    <a:pt x="2654" y="38"/>
                    <a:pt x="2652" y="38"/>
                  </a:cubicBezTo>
                  <a:close/>
                  <a:moveTo>
                    <a:pt x="2591" y="46"/>
                  </a:moveTo>
                  <a:lnTo>
                    <a:pt x="2556" y="51"/>
                  </a:lnTo>
                  <a:cubicBezTo>
                    <a:pt x="2555" y="51"/>
                    <a:pt x="2553" y="50"/>
                    <a:pt x="2553" y="49"/>
                  </a:cubicBezTo>
                  <a:cubicBezTo>
                    <a:pt x="2553" y="48"/>
                    <a:pt x="2554" y="46"/>
                    <a:pt x="2555" y="46"/>
                  </a:cubicBezTo>
                  <a:lnTo>
                    <a:pt x="2555" y="46"/>
                  </a:lnTo>
                  <a:lnTo>
                    <a:pt x="2591" y="41"/>
                  </a:lnTo>
                  <a:cubicBezTo>
                    <a:pt x="2592" y="41"/>
                    <a:pt x="2593" y="42"/>
                    <a:pt x="2594" y="44"/>
                  </a:cubicBezTo>
                  <a:cubicBezTo>
                    <a:pt x="2594" y="45"/>
                    <a:pt x="2593" y="46"/>
                    <a:pt x="2591" y="46"/>
                  </a:cubicBezTo>
                  <a:close/>
                  <a:moveTo>
                    <a:pt x="2531" y="55"/>
                  </a:moveTo>
                  <a:lnTo>
                    <a:pt x="2514" y="57"/>
                  </a:lnTo>
                  <a:lnTo>
                    <a:pt x="2495" y="61"/>
                  </a:lnTo>
                  <a:cubicBezTo>
                    <a:pt x="2494" y="61"/>
                    <a:pt x="2493" y="60"/>
                    <a:pt x="2492" y="59"/>
                  </a:cubicBezTo>
                  <a:cubicBezTo>
                    <a:pt x="2492" y="57"/>
                    <a:pt x="2493" y="56"/>
                    <a:pt x="2494" y="56"/>
                  </a:cubicBezTo>
                  <a:lnTo>
                    <a:pt x="2513" y="52"/>
                  </a:lnTo>
                  <a:lnTo>
                    <a:pt x="2530" y="50"/>
                  </a:lnTo>
                  <a:cubicBezTo>
                    <a:pt x="2531" y="49"/>
                    <a:pt x="2533" y="50"/>
                    <a:pt x="2533" y="52"/>
                  </a:cubicBezTo>
                  <a:cubicBezTo>
                    <a:pt x="2533" y="53"/>
                    <a:pt x="2532" y="55"/>
                    <a:pt x="2531" y="55"/>
                  </a:cubicBezTo>
                  <a:close/>
                  <a:moveTo>
                    <a:pt x="2470" y="65"/>
                  </a:moveTo>
                  <a:lnTo>
                    <a:pt x="2435" y="72"/>
                  </a:lnTo>
                  <a:cubicBezTo>
                    <a:pt x="2434" y="73"/>
                    <a:pt x="2432" y="72"/>
                    <a:pt x="2432" y="70"/>
                  </a:cubicBezTo>
                  <a:cubicBezTo>
                    <a:pt x="2432" y="69"/>
                    <a:pt x="2433" y="67"/>
                    <a:pt x="2434" y="67"/>
                  </a:cubicBezTo>
                  <a:lnTo>
                    <a:pt x="2469" y="60"/>
                  </a:lnTo>
                  <a:cubicBezTo>
                    <a:pt x="2471" y="60"/>
                    <a:pt x="2472" y="61"/>
                    <a:pt x="2472" y="62"/>
                  </a:cubicBezTo>
                  <a:cubicBezTo>
                    <a:pt x="2473" y="64"/>
                    <a:pt x="2472" y="65"/>
                    <a:pt x="2470" y="65"/>
                  </a:cubicBezTo>
                  <a:close/>
                  <a:moveTo>
                    <a:pt x="2410" y="77"/>
                  </a:moveTo>
                  <a:lnTo>
                    <a:pt x="2375" y="84"/>
                  </a:lnTo>
                  <a:cubicBezTo>
                    <a:pt x="2373" y="84"/>
                    <a:pt x="2372" y="83"/>
                    <a:pt x="2372" y="82"/>
                  </a:cubicBezTo>
                  <a:cubicBezTo>
                    <a:pt x="2371" y="81"/>
                    <a:pt x="2372" y="79"/>
                    <a:pt x="2374" y="79"/>
                  </a:cubicBezTo>
                  <a:lnTo>
                    <a:pt x="2409" y="72"/>
                  </a:lnTo>
                  <a:cubicBezTo>
                    <a:pt x="2410" y="72"/>
                    <a:pt x="2412" y="73"/>
                    <a:pt x="2412" y="74"/>
                  </a:cubicBezTo>
                  <a:cubicBezTo>
                    <a:pt x="2412" y="76"/>
                    <a:pt x="2411" y="77"/>
                    <a:pt x="2410" y="77"/>
                  </a:cubicBezTo>
                  <a:close/>
                  <a:moveTo>
                    <a:pt x="2350" y="89"/>
                  </a:moveTo>
                  <a:lnTo>
                    <a:pt x="2314" y="96"/>
                  </a:lnTo>
                  <a:cubicBezTo>
                    <a:pt x="2313" y="96"/>
                    <a:pt x="2312" y="95"/>
                    <a:pt x="2311" y="94"/>
                  </a:cubicBezTo>
                  <a:cubicBezTo>
                    <a:pt x="2311" y="92"/>
                    <a:pt x="2312" y="91"/>
                    <a:pt x="2313" y="91"/>
                  </a:cubicBezTo>
                  <a:lnTo>
                    <a:pt x="2349" y="84"/>
                  </a:lnTo>
                  <a:cubicBezTo>
                    <a:pt x="2350" y="84"/>
                    <a:pt x="2351" y="84"/>
                    <a:pt x="2352" y="86"/>
                  </a:cubicBezTo>
                  <a:cubicBezTo>
                    <a:pt x="2352" y="87"/>
                    <a:pt x="2351" y="89"/>
                    <a:pt x="2350" y="89"/>
                  </a:cubicBezTo>
                  <a:close/>
                  <a:moveTo>
                    <a:pt x="2289" y="100"/>
                  </a:moveTo>
                  <a:lnTo>
                    <a:pt x="2254" y="107"/>
                  </a:lnTo>
                  <a:cubicBezTo>
                    <a:pt x="2253" y="108"/>
                    <a:pt x="2251" y="107"/>
                    <a:pt x="2251" y="105"/>
                  </a:cubicBezTo>
                  <a:cubicBezTo>
                    <a:pt x="2251" y="104"/>
                    <a:pt x="2252" y="103"/>
                    <a:pt x="2253" y="102"/>
                  </a:cubicBezTo>
                  <a:lnTo>
                    <a:pt x="2288" y="95"/>
                  </a:lnTo>
                  <a:cubicBezTo>
                    <a:pt x="2290" y="95"/>
                    <a:pt x="2291" y="96"/>
                    <a:pt x="2291" y="97"/>
                  </a:cubicBezTo>
                  <a:cubicBezTo>
                    <a:pt x="2292" y="99"/>
                    <a:pt x="2291" y="100"/>
                    <a:pt x="2289" y="100"/>
                  </a:cubicBezTo>
                  <a:close/>
                  <a:moveTo>
                    <a:pt x="2229" y="112"/>
                  </a:moveTo>
                  <a:lnTo>
                    <a:pt x="2194" y="119"/>
                  </a:lnTo>
                  <a:cubicBezTo>
                    <a:pt x="2192" y="119"/>
                    <a:pt x="2191" y="118"/>
                    <a:pt x="2191" y="117"/>
                  </a:cubicBezTo>
                  <a:cubicBezTo>
                    <a:pt x="2191" y="116"/>
                    <a:pt x="2191" y="114"/>
                    <a:pt x="2193" y="114"/>
                  </a:cubicBezTo>
                  <a:lnTo>
                    <a:pt x="2228" y="107"/>
                  </a:lnTo>
                  <a:cubicBezTo>
                    <a:pt x="2229" y="107"/>
                    <a:pt x="2231" y="108"/>
                    <a:pt x="2231" y="109"/>
                  </a:cubicBezTo>
                  <a:cubicBezTo>
                    <a:pt x="2231" y="111"/>
                    <a:pt x="2230" y="112"/>
                    <a:pt x="2229" y="112"/>
                  </a:cubicBezTo>
                  <a:close/>
                  <a:moveTo>
                    <a:pt x="2169" y="124"/>
                  </a:moveTo>
                  <a:lnTo>
                    <a:pt x="2137" y="130"/>
                  </a:lnTo>
                  <a:lnTo>
                    <a:pt x="2134" y="131"/>
                  </a:lnTo>
                  <a:cubicBezTo>
                    <a:pt x="2132" y="131"/>
                    <a:pt x="2131" y="130"/>
                    <a:pt x="2131" y="129"/>
                  </a:cubicBezTo>
                  <a:cubicBezTo>
                    <a:pt x="2130" y="128"/>
                    <a:pt x="2131" y="126"/>
                    <a:pt x="2132" y="126"/>
                  </a:cubicBezTo>
                  <a:lnTo>
                    <a:pt x="2136" y="125"/>
                  </a:lnTo>
                  <a:lnTo>
                    <a:pt x="2168" y="119"/>
                  </a:lnTo>
                  <a:cubicBezTo>
                    <a:pt x="2169" y="119"/>
                    <a:pt x="2170" y="119"/>
                    <a:pt x="2171" y="121"/>
                  </a:cubicBezTo>
                  <a:cubicBezTo>
                    <a:pt x="2171" y="122"/>
                    <a:pt x="2170" y="124"/>
                    <a:pt x="2169" y="124"/>
                  </a:cubicBezTo>
                  <a:close/>
                  <a:moveTo>
                    <a:pt x="2109" y="137"/>
                  </a:moveTo>
                  <a:lnTo>
                    <a:pt x="2074" y="146"/>
                  </a:lnTo>
                  <a:cubicBezTo>
                    <a:pt x="2073" y="146"/>
                    <a:pt x="2071" y="145"/>
                    <a:pt x="2071" y="144"/>
                  </a:cubicBezTo>
                  <a:cubicBezTo>
                    <a:pt x="2071" y="142"/>
                    <a:pt x="2071" y="141"/>
                    <a:pt x="2073" y="141"/>
                  </a:cubicBezTo>
                  <a:lnTo>
                    <a:pt x="2108" y="132"/>
                  </a:lnTo>
                  <a:cubicBezTo>
                    <a:pt x="2109" y="132"/>
                    <a:pt x="2110" y="133"/>
                    <a:pt x="2111" y="134"/>
                  </a:cubicBezTo>
                  <a:cubicBezTo>
                    <a:pt x="2111" y="135"/>
                    <a:pt x="2110" y="137"/>
                    <a:pt x="2109" y="137"/>
                  </a:cubicBezTo>
                  <a:close/>
                  <a:moveTo>
                    <a:pt x="2049" y="152"/>
                  </a:moveTo>
                  <a:lnTo>
                    <a:pt x="2014" y="161"/>
                  </a:lnTo>
                  <a:cubicBezTo>
                    <a:pt x="2013" y="161"/>
                    <a:pt x="2012" y="160"/>
                    <a:pt x="2011" y="159"/>
                  </a:cubicBezTo>
                  <a:cubicBezTo>
                    <a:pt x="2011" y="157"/>
                    <a:pt x="2012" y="156"/>
                    <a:pt x="2013" y="156"/>
                  </a:cubicBezTo>
                  <a:lnTo>
                    <a:pt x="2048" y="147"/>
                  </a:lnTo>
                  <a:cubicBezTo>
                    <a:pt x="2049" y="147"/>
                    <a:pt x="2051" y="147"/>
                    <a:pt x="2051" y="149"/>
                  </a:cubicBezTo>
                  <a:cubicBezTo>
                    <a:pt x="2051" y="150"/>
                    <a:pt x="2051" y="152"/>
                    <a:pt x="2049" y="152"/>
                  </a:cubicBezTo>
                  <a:close/>
                  <a:moveTo>
                    <a:pt x="1990" y="167"/>
                  </a:moveTo>
                  <a:lnTo>
                    <a:pt x="1955" y="175"/>
                  </a:lnTo>
                  <a:cubicBezTo>
                    <a:pt x="1953" y="176"/>
                    <a:pt x="1952" y="175"/>
                    <a:pt x="1952" y="174"/>
                  </a:cubicBezTo>
                  <a:cubicBezTo>
                    <a:pt x="1951" y="172"/>
                    <a:pt x="1952" y="171"/>
                    <a:pt x="1954" y="170"/>
                  </a:cubicBezTo>
                  <a:lnTo>
                    <a:pt x="1988" y="162"/>
                  </a:lnTo>
                  <a:cubicBezTo>
                    <a:pt x="1990" y="161"/>
                    <a:pt x="1991" y="162"/>
                    <a:pt x="1991" y="164"/>
                  </a:cubicBezTo>
                  <a:cubicBezTo>
                    <a:pt x="1992" y="165"/>
                    <a:pt x="1991" y="166"/>
                    <a:pt x="1990" y="167"/>
                  </a:cubicBezTo>
                  <a:close/>
                  <a:moveTo>
                    <a:pt x="1930" y="182"/>
                  </a:moveTo>
                  <a:lnTo>
                    <a:pt x="1895" y="190"/>
                  </a:lnTo>
                  <a:cubicBezTo>
                    <a:pt x="1894" y="191"/>
                    <a:pt x="1892" y="190"/>
                    <a:pt x="1892" y="188"/>
                  </a:cubicBezTo>
                  <a:cubicBezTo>
                    <a:pt x="1892" y="187"/>
                    <a:pt x="1893" y="186"/>
                    <a:pt x="1894" y="185"/>
                  </a:cubicBezTo>
                  <a:lnTo>
                    <a:pt x="1929" y="177"/>
                  </a:lnTo>
                  <a:cubicBezTo>
                    <a:pt x="1930" y="176"/>
                    <a:pt x="1932" y="177"/>
                    <a:pt x="1932" y="178"/>
                  </a:cubicBezTo>
                  <a:cubicBezTo>
                    <a:pt x="1932" y="180"/>
                    <a:pt x="1931" y="181"/>
                    <a:pt x="1930" y="182"/>
                  </a:cubicBezTo>
                  <a:close/>
                  <a:moveTo>
                    <a:pt x="1870" y="196"/>
                  </a:moveTo>
                  <a:lnTo>
                    <a:pt x="1836" y="205"/>
                  </a:lnTo>
                  <a:cubicBezTo>
                    <a:pt x="1834" y="205"/>
                    <a:pt x="1833" y="205"/>
                    <a:pt x="1833" y="203"/>
                  </a:cubicBezTo>
                  <a:cubicBezTo>
                    <a:pt x="1832" y="202"/>
                    <a:pt x="1833" y="200"/>
                    <a:pt x="1834" y="200"/>
                  </a:cubicBezTo>
                  <a:lnTo>
                    <a:pt x="1869" y="191"/>
                  </a:lnTo>
                  <a:cubicBezTo>
                    <a:pt x="1871" y="191"/>
                    <a:pt x="1872" y="192"/>
                    <a:pt x="1872" y="193"/>
                  </a:cubicBezTo>
                  <a:cubicBezTo>
                    <a:pt x="1873" y="195"/>
                    <a:pt x="1872" y="196"/>
                    <a:pt x="1870" y="196"/>
                  </a:cubicBezTo>
                  <a:close/>
                  <a:moveTo>
                    <a:pt x="1811" y="211"/>
                  </a:moveTo>
                  <a:lnTo>
                    <a:pt x="1776" y="220"/>
                  </a:lnTo>
                  <a:cubicBezTo>
                    <a:pt x="1775" y="220"/>
                    <a:pt x="1773" y="219"/>
                    <a:pt x="1773" y="218"/>
                  </a:cubicBezTo>
                  <a:cubicBezTo>
                    <a:pt x="1773" y="217"/>
                    <a:pt x="1773" y="215"/>
                    <a:pt x="1775" y="215"/>
                  </a:cubicBezTo>
                  <a:lnTo>
                    <a:pt x="1810" y="206"/>
                  </a:lnTo>
                  <a:cubicBezTo>
                    <a:pt x="1811" y="206"/>
                    <a:pt x="1812" y="207"/>
                    <a:pt x="1813" y="208"/>
                  </a:cubicBezTo>
                  <a:cubicBezTo>
                    <a:pt x="1813" y="210"/>
                    <a:pt x="1812" y="211"/>
                    <a:pt x="1811" y="211"/>
                  </a:cubicBezTo>
                  <a:close/>
                  <a:moveTo>
                    <a:pt x="1751" y="227"/>
                  </a:moveTo>
                  <a:lnTo>
                    <a:pt x="1717" y="237"/>
                  </a:lnTo>
                  <a:cubicBezTo>
                    <a:pt x="1716" y="238"/>
                    <a:pt x="1714" y="237"/>
                    <a:pt x="1714" y="236"/>
                  </a:cubicBezTo>
                  <a:cubicBezTo>
                    <a:pt x="1714" y="234"/>
                    <a:pt x="1714" y="233"/>
                    <a:pt x="1716" y="232"/>
                  </a:cubicBezTo>
                  <a:lnTo>
                    <a:pt x="1750" y="222"/>
                  </a:lnTo>
                  <a:cubicBezTo>
                    <a:pt x="1751" y="221"/>
                    <a:pt x="1753" y="222"/>
                    <a:pt x="1753" y="224"/>
                  </a:cubicBezTo>
                  <a:cubicBezTo>
                    <a:pt x="1754" y="225"/>
                    <a:pt x="1753" y="226"/>
                    <a:pt x="1751" y="227"/>
                  </a:cubicBezTo>
                  <a:close/>
                  <a:moveTo>
                    <a:pt x="1693" y="245"/>
                  </a:moveTo>
                  <a:lnTo>
                    <a:pt x="1658" y="255"/>
                  </a:lnTo>
                  <a:cubicBezTo>
                    <a:pt x="1657" y="256"/>
                    <a:pt x="1656" y="255"/>
                    <a:pt x="1655" y="253"/>
                  </a:cubicBezTo>
                  <a:cubicBezTo>
                    <a:pt x="1655" y="252"/>
                    <a:pt x="1656" y="251"/>
                    <a:pt x="1657" y="250"/>
                  </a:cubicBezTo>
                  <a:lnTo>
                    <a:pt x="1691" y="240"/>
                  </a:lnTo>
                  <a:cubicBezTo>
                    <a:pt x="1693" y="239"/>
                    <a:pt x="1694" y="240"/>
                    <a:pt x="1694" y="242"/>
                  </a:cubicBezTo>
                  <a:cubicBezTo>
                    <a:pt x="1695" y="243"/>
                    <a:pt x="1694" y="244"/>
                    <a:pt x="1693" y="245"/>
                  </a:cubicBezTo>
                  <a:close/>
                  <a:moveTo>
                    <a:pt x="1634" y="263"/>
                  </a:moveTo>
                  <a:lnTo>
                    <a:pt x="1600" y="273"/>
                  </a:lnTo>
                  <a:cubicBezTo>
                    <a:pt x="1598" y="274"/>
                    <a:pt x="1597" y="273"/>
                    <a:pt x="1597" y="271"/>
                  </a:cubicBezTo>
                  <a:cubicBezTo>
                    <a:pt x="1596" y="270"/>
                    <a:pt x="1597" y="269"/>
                    <a:pt x="1598" y="268"/>
                  </a:cubicBezTo>
                  <a:lnTo>
                    <a:pt x="1632" y="258"/>
                  </a:lnTo>
                  <a:cubicBezTo>
                    <a:pt x="1634" y="257"/>
                    <a:pt x="1635" y="258"/>
                    <a:pt x="1636" y="259"/>
                  </a:cubicBezTo>
                  <a:cubicBezTo>
                    <a:pt x="1636" y="261"/>
                    <a:pt x="1635" y="262"/>
                    <a:pt x="1634" y="263"/>
                  </a:cubicBezTo>
                  <a:close/>
                  <a:moveTo>
                    <a:pt x="1575" y="281"/>
                  </a:moveTo>
                  <a:lnTo>
                    <a:pt x="1541" y="291"/>
                  </a:lnTo>
                  <a:cubicBezTo>
                    <a:pt x="1540" y="291"/>
                    <a:pt x="1538" y="291"/>
                    <a:pt x="1538" y="289"/>
                  </a:cubicBezTo>
                  <a:cubicBezTo>
                    <a:pt x="1537" y="288"/>
                    <a:pt x="1538" y="287"/>
                    <a:pt x="1539" y="286"/>
                  </a:cubicBezTo>
                  <a:lnTo>
                    <a:pt x="1574" y="276"/>
                  </a:lnTo>
                  <a:cubicBezTo>
                    <a:pt x="1575" y="275"/>
                    <a:pt x="1577" y="276"/>
                    <a:pt x="1577" y="277"/>
                  </a:cubicBezTo>
                  <a:cubicBezTo>
                    <a:pt x="1577" y="279"/>
                    <a:pt x="1577" y="280"/>
                    <a:pt x="1575" y="281"/>
                  </a:cubicBezTo>
                  <a:close/>
                  <a:moveTo>
                    <a:pt x="1516" y="299"/>
                  </a:moveTo>
                  <a:lnTo>
                    <a:pt x="1482" y="309"/>
                  </a:lnTo>
                  <a:cubicBezTo>
                    <a:pt x="1481" y="309"/>
                    <a:pt x="1479" y="309"/>
                    <a:pt x="1479" y="307"/>
                  </a:cubicBezTo>
                  <a:cubicBezTo>
                    <a:pt x="1479" y="306"/>
                    <a:pt x="1479" y="305"/>
                    <a:pt x="1481" y="304"/>
                  </a:cubicBezTo>
                  <a:lnTo>
                    <a:pt x="1515" y="294"/>
                  </a:lnTo>
                  <a:cubicBezTo>
                    <a:pt x="1516" y="293"/>
                    <a:pt x="1518" y="294"/>
                    <a:pt x="1518" y="295"/>
                  </a:cubicBezTo>
                  <a:cubicBezTo>
                    <a:pt x="1519" y="297"/>
                    <a:pt x="1518" y="298"/>
                    <a:pt x="1516" y="299"/>
                  </a:cubicBezTo>
                  <a:close/>
                  <a:moveTo>
                    <a:pt x="1458" y="316"/>
                  </a:moveTo>
                  <a:lnTo>
                    <a:pt x="1423" y="327"/>
                  </a:lnTo>
                  <a:cubicBezTo>
                    <a:pt x="1422" y="327"/>
                    <a:pt x="1421" y="327"/>
                    <a:pt x="1420" y="325"/>
                  </a:cubicBezTo>
                  <a:cubicBezTo>
                    <a:pt x="1420" y="324"/>
                    <a:pt x="1421" y="322"/>
                    <a:pt x="1422" y="322"/>
                  </a:cubicBezTo>
                  <a:lnTo>
                    <a:pt x="1456" y="312"/>
                  </a:lnTo>
                  <a:cubicBezTo>
                    <a:pt x="1458" y="311"/>
                    <a:pt x="1459" y="312"/>
                    <a:pt x="1459" y="313"/>
                  </a:cubicBezTo>
                  <a:cubicBezTo>
                    <a:pt x="1460" y="315"/>
                    <a:pt x="1459" y="316"/>
                    <a:pt x="1458" y="316"/>
                  </a:cubicBezTo>
                  <a:close/>
                  <a:moveTo>
                    <a:pt x="1399" y="334"/>
                  </a:moveTo>
                  <a:lnTo>
                    <a:pt x="1397" y="335"/>
                  </a:lnTo>
                  <a:lnTo>
                    <a:pt x="1365" y="347"/>
                  </a:lnTo>
                  <a:cubicBezTo>
                    <a:pt x="1364" y="347"/>
                    <a:pt x="1363" y="346"/>
                    <a:pt x="1362" y="345"/>
                  </a:cubicBezTo>
                  <a:cubicBezTo>
                    <a:pt x="1362" y="344"/>
                    <a:pt x="1362" y="342"/>
                    <a:pt x="1364" y="342"/>
                  </a:cubicBezTo>
                  <a:lnTo>
                    <a:pt x="1396" y="330"/>
                  </a:lnTo>
                  <a:lnTo>
                    <a:pt x="1397" y="329"/>
                  </a:lnTo>
                  <a:cubicBezTo>
                    <a:pt x="1399" y="329"/>
                    <a:pt x="1400" y="330"/>
                    <a:pt x="1401" y="331"/>
                  </a:cubicBezTo>
                  <a:cubicBezTo>
                    <a:pt x="1401" y="333"/>
                    <a:pt x="1400" y="334"/>
                    <a:pt x="1399" y="334"/>
                  </a:cubicBezTo>
                  <a:close/>
                  <a:moveTo>
                    <a:pt x="1341" y="355"/>
                  </a:moveTo>
                  <a:lnTo>
                    <a:pt x="1308" y="368"/>
                  </a:lnTo>
                  <a:cubicBezTo>
                    <a:pt x="1306" y="368"/>
                    <a:pt x="1305" y="368"/>
                    <a:pt x="1304" y="366"/>
                  </a:cubicBezTo>
                  <a:cubicBezTo>
                    <a:pt x="1304" y="365"/>
                    <a:pt x="1305" y="363"/>
                    <a:pt x="1306" y="363"/>
                  </a:cubicBezTo>
                  <a:lnTo>
                    <a:pt x="1340" y="351"/>
                  </a:lnTo>
                  <a:cubicBezTo>
                    <a:pt x="1341" y="350"/>
                    <a:pt x="1342" y="351"/>
                    <a:pt x="1343" y="352"/>
                  </a:cubicBezTo>
                  <a:cubicBezTo>
                    <a:pt x="1343" y="353"/>
                    <a:pt x="1343" y="355"/>
                    <a:pt x="1341" y="355"/>
                  </a:cubicBezTo>
                  <a:close/>
                  <a:moveTo>
                    <a:pt x="1284" y="377"/>
                  </a:moveTo>
                  <a:lnTo>
                    <a:pt x="1250" y="389"/>
                  </a:lnTo>
                  <a:cubicBezTo>
                    <a:pt x="1249" y="389"/>
                    <a:pt x="1247" y="389"/>
                    <a:pt x="1247" y="387"/>
                  </a:cubicBezTo>
                  <a:cubicBezTo>
                    <a:pt x="1246" y="386"/>
                    <a:pt x="1247" y="385"/>
                    <a:pt x="1248" y="384"/>
                  </a:cubicBezTo>
                  <a:lnTo>
                    <a:pt x="1282" y="372"/>
                  </a:lnTo>
                  <a:cubicBezTo>
                    <a:pt x="1283" y="371"/>
                    <a:pt x="1285" y="372"/>
                    <a:pt x="1285" y="373"/>
                  </a:cubicBezTo>
                  <a:cubicBezTo>
                    <a:pt x="1286" y="375"/>
                    <a:pt x="1285" y="376"/>
                    <a:pt x="1284" y="377"/>
                  </a:cubicBezTo>
                  <a:close/>
                  <a:moveTo>
                    <a:pt x="1226" y="398"/>
                  </a:moveTo>
                  <a:lnTo>
                    <a:pt x="1192" y="410"/>
                  </a:lnTo>
                  <a:cubicBezTo>
                    <a:pt x="1191" y="411"/>
                    <a:pt x="1190" y="410"/>
                    <a:pt x="1189" y="409"/>
                  </a:cubicBezTo>
                  <a:cubicBezTo>
                    <a:pt x="1189" y="407"/>
                    <a:pt x="1189" y="406"/>
                    <a:pt x="1191" y="405"/>
                  </a:cubicBezTo>
                  <a:lnTo>
                    <a:pt x="1224" y="393"/>
                  </a:lnTo>
                  <a:cubicBezTo>
                    <a:pt x="1226" y="392"/>
                    <a:pt x="1227" y="393"/>
                    <a:pt x="1228" y="394"/>
                  </a:cubicBezTo>
                  <a:cubicBezTo>
                    <a:pt x="1228" y="396"/>
                    <a:pt x="1227" y="397"/>
                    <a:pt x="1226" y="398"/>
                  </a:cubicBezTo>
                  <a:close/>
                  <a:moveTo>
                    <a:pt x="1168" y="419"/>
                  </a:moveTo>
                  <a:lnTo>
                    <a:pt x="1135" y="431"/>
                  </a:lnTo>
                  <a:cubicBezTo>
                    <a:pt x="1133" y="432"/>
                    <a:pt x="1132" y="431"/>
                    <a:pt x="1131" y="430"/>
                  </a:cubicBezTo>
                  <a:cubicBezTo>
                    <a:pt x="1131" y="428"/>
                    <a:pt x="1132" y="427"/>
                    <a:pt x="1133" y="426"/>
                  </a:cubicBezTo>
                  <a:lnTo>
                    <a:pt x="1167" y="414"/>
                  </a:lnTo>
                  <a:cubicBezTo>
                    <a:pt x="1168" y="414"/>
                    <a:pt x="1169" y="414"/>
                    <a:pt x="1170" y="416"/>
                  </a:cubicBezTo>
                  <a:cubicBezTo>
                    <a:pt x="1170" y="417"/>
                    <a:pt x="1170" y="418"/>
                    <a:pt x="1168" y="419"/>
                  </a:cubicBezTo>
                  <a:close/>
                  <a:moveTo>
                    <a:pt x="1111" y="440"/>
                  </a:moveTo>
                  <a:lnTo>
                    <a:pt x="1077" y="452"/>
                  </a:lnTo>
                  <a:cubicBezTo>
                    <a:pt x="1076" y="453"/>
                    <a:pt x="1074" y="452"/>
                    <a:pt x="1074" y="451"/>
                  </a:cubicBezTo>
                  <a:cubicBezTo>
                    <a:pt x="1073" y="449"/>
                    <a:pt x="1074" y="448"/>
                    <a:pt x="1075" y="448"/>
                  </a:cubicBezTo>
                  <a:lnTo>
                    <a:pt x="1109" y="435"/>
                  </a:lnTo>
                  <a:cubicBezTo>
                    <a:pt x="1110" y="435"/>
                    <a:pt x="1112" y="435"/>
                    <a:pt x="1112" y="437"/>
                  </a:cubicBezTo>
                  <a:cubicBezTo>
                    <a:pt x="1113" y="438"/>
                    <a:pt x="1112" y="440"/>
                    <a:pt x="1111" y="440"/>
                  </a:cubicBezTo>
                  <a:close/>
                  <a:moveTo>
                    <a:pt x="1053" y="461"/>
                  </a:moveTo>
                  <a:lnTo>
                    <a:pt x="1037" y="467"/>
                  </a:lnTo>
                  <a:lnTo>
                    <a:pt x="1020" y="474"/>
                  </a:lnTo>
                  <a:cubicBezTo>
                    <a:pt x="1019" y="475"/>
                    <a:pt x="1017" y="474"/>
                    <a:pt x="1016" y="473"/>
                  </a:cubicBezTo>
                  <a:cubicBezTo>
                    <a:pt x="1016" y="472"/>
                    <a:pt x="1017" y="470"/>
                    <a:pt x="1018" y="470"/>
                  </a:cubicBezTo>
                  <a:lnTo>
                    <a:pt x="1036" y="462"/>
                  </a:lnTo>
                  <a:lnTo>
                    <a:pt x="1051" y="456"/>
                  </a:lnTo>
                  <a:cubicBezTo>
                    <a:pt x="1053" y="456"/>
                    <a:pt x="1054" y="457"/>
                    <a:pt x="1054" y="458"/>
                  </a:cubicBezTo>
                  <a:cubicBezTo>
                    <a:pt x="1055" y="459"/>
                    <a:pt x="1054" y="461"/>
                    <a:pt x="1053" y="461"/>
                  </a:cubicBezTo>
                  <a:close/>
                  <a:moveTo>
                    <a:pt x="996" y="484"/>
                  </a:moveTo>
                  <a:lnTo>
                    <a:pt x="963" y="499"/>
                  </a:lnTo>
                  <a:cubicBezTo>
                    <a:pt x="962" y="499"/>
                    <a:pt x="961" y="498"/>
                    <a:pt x="960" y="497"/>
                  </a:cubicBezTo>
                  <a:cubicBezTo>
                    <a:pt x="959" y="496"/>
                    <a:pt x="960" y="494"/>
                    <a:pt x="961" y="494"/>
                  </a:cubicBezTo>
                  <a:lnTo>
                    <a:pt x="994" y="480"/>
                  </a:lnTo>
                  <a:cubicBezTo>
                    <a:pt x="996" y="479"/>
                    <a:pt x="997" y="480"/>
                    <a:pt x="998" y="481"/>
                  </a:cubicBezTo>
                  <a:cubicBezTo>
                    <a:pt x="998" y="482"/>
                    <a:pt x="998" y="484"/>
                    <a:pt x="996" y="484"/>
                  </a:cubicBezTo>
                  <a:close/>
                  <a:moveTo>
                    <a:pt x="940" y="509"/>
                  </a:moveTo>
                  <a:lnTo>
                    <a:pt x="907" y="523"/>
                  </a:lnTo>
                  <a:cubicBezTo>
                    <a:pt x="906" y="523"/>
                    <a:pt x="904" y="523"/>
                    <a:pt x="904" y="521"/>
                  </a:cubicBezTo>
                  <a:cubicBezTo>
                    <a:pt x="903" y="520"/>
                    <a:pt x="904" y="519"/>
                    <a:pt x="905" y="518"/>
                  </a:cubicBezTo>
                  <a:lnTo>
                    <a:pt x="938" y="504"/>
                  </a:lnTo>
                  <a:cubicBezTo>
                    <a:pt x="939" y="503"/>
                    <a:pt x="941" y="504"/>
                    <a:pt x="941" y="505"/>
                  </a:cubicBezTo>
                  <a:cubicBezTo>
                    <a:pt x="942" y="507"/>
                    <a:pt x="941" y="508"/>
                    <a:pt x="940" y="509"/>
                  </a:cubicBezTo>
                  <a:close/>
                  <a:moveTo>
                    <a:pt x="883" y="533"/>
                  </a:moveTo>
                  <a:lnTo>
                    <a:pt x="850" y="547"/>
                  </a:lnTo>
                  <a:cubicBezTo>
                    <a:pt x="849" y="547"/>
                    <a:pt x="848" y="547"/>
                    <a:pt x="847" y="546"/>
                  </a:cubicBezTo>
                  <a:cubicBezTo>
                    <a:pt x="846" y="544"/>
                    <a:pt x="847" y="543"/>
                    <a:pt x="848" y="542"/>
                  </a:cubicBezTo>
                  <a:lnTo>
                    <a:pt x="881" y="528"/>
                  </a:lnTo>
                  <a:cubicBezTo>
                    <a:pt x="883" y="527"/>
                    <a:pt x="884" y="528"/>
                    <a:pt x="885" y="529"/>
                  </a:cubicBezTo>
                  <a:cubicBezTo>
                    <a:pt x="885" y="531"/>
                    <a:pt x="885" y="532"/>
                    <a:pt x="883" y="533"/>
                  </a:cubicBezTo>
                  <a:close/>
                  <a:moveTo>
                    <a:pt x="827" y="557"/>
                  </a:moveTo>
                  <a:lnTo>
                    <a:pt x="794" y="571"/>
                  </a:lnTo>
                  <a:cubicBezTo>
                    <a:pt x="793" y="572"/>
                    <a:pt x="791" y="571"/>
                    <a:pt x="791" y="570"/>
                  </a:cubicBezTo>
                  <a:cubicBezTo>
                    <a:pt x="790" y="568"/>
                    <a:pt x="791" y="567"/>
                    <a:pt x="792" y="566"/>
                  </a:cubicBezTo>
                  <a:lnTo>
                    <a:pt x="825" y="552"/>
                  </a:lnTo>
                  <a:cubicBezTo>
                    <a:pt x="826" y="552"/>
                    <a:pt x="828" y="552"/>
                    <a:pt x="828" y="554"/>
                  </a:cubicBezTo>
                  <a:cubicBezTo>
                    <a:pt x="829" y="555"/>
                    <a:pt x="828" y="556"/>
                    <a:pt x="827" y="557"/>
                  </a:cubicBezTo>
                  <a:close/>
                  <a:moveTo>
                    <a:pt x="770" y="581"/>
                  </a:moveTo>
                  <a:lnTo>
                    <a:pt x="737" y="595"/>
                  </a:lnTo>
                  <a:cubicBezTo>
                    <a:pt x="736" y="596"/>
                    <a:pt x="735" y="595"/>
                    <a:pt x="734" y="594"/>
                  </a:cubicBezTo>
                  <a:cubicBezTo>
                    <a:pt x="733" y="593"/>
                    <a:pt x="734" y="591"/>
                    <a:pt x="735" y="590"/>
                  </a:cubicBezTo>
                  <a:lnTo>
                    <a:pt x="768" y="576"/>
                  </a:lnTo>
                  <a:cubicBezTo>
                    <a:pt x="770" y="576"/>
                    <a:pt x="771" y="576"/>
                    <a:pt x="772" y="578"/>
                  </a:cubicBezTo>
                  <a:cubicBezTo>
                    <a:pt x="772" y="579"/>
                    <a:pt x="772" y="581"/>
                    <a:pt x="770" y="581"/>
                  </a:cubicBezTo>
                  <a:close/>
                  <a:moveTo>
                    <a:pt x="714" y="605"/>
                  </a:moveTo>
                  <a:lnTo>
                    <a:pt x="684" y="618"/>
                  </a:lnTo>
                  <a:lnTo>
                    <a:pt x="681" y="619"/>
                  </a:lnTo>
                  <a:cubicBezTo>
                    <a:pt x="680" y="620"/>
                    <a:pt x="678" y="620"/>
                    <a:pt x="678" y="618"/>
                  </a:cubicBezTo>
                  <a:cubicBezTo>
                    <a:pt x="677" y="617"/>
                    <a:pt x="678" y="616"/>
                    <a:pt x="679" y="615"/>
                  </a:cubicBezTo>
                  <a:lnTo>
                    <a:pt x="682" y="613"/>
                  </a:lnTo>
                  <a:lnTo>
                    <a:pt x="712" y="601"/>
                  </a:lnTo>
                  <a:cubicBezTo>
                    <a:pt x="713" y="600"/>
                    <a:pt x="715" y="601"/>
                    <a:pt x="715" y="602"/>
                  </a:cubicBezTo>
                  <a:cubicBezTo>
                    <a:pt x="716" y="603"/>
                    <a:pt x="715" y="605"/>
                    <a:pt x="714" y="605"/>
                  </a:cubicBezTo>
                  <a:close/>
                  <a:moveTo>
                    <a:pt x="658" y="631"/>
                  </a:moveTo>
                  <a:lnTo>
                    <a:pt x="626" y="647"/>
                  </a:lnTo>
                  <a:cubicBezTo>
                    <a:pt x="625" y="647"/>
                    <a:pt x="623" y="647"/>
                    <a:pt x="623" y="645"/>
                  </a:cubicBezTo>
                  <a:cubicBezTo>
                    <a:pt x="622" y="644"/>
                    <a:pt x="623" y="643"/>
                    <a:pt x="624" y="642"/>
                  </a:cubicBezTo>
                  <a:lnTo>
                    <a:pt x="656" y="626"/>
                  </a:lnTo>
                  <a:cubicBezTo>
                    <a:pt x="657" y="626"/>
                    <a:pt x="659" y="626"/>
                    <a:pt x="659" y="627"/>
                  </a:cubicBezTo>
                  <a:cubicBezTo>
                    <a:pt x="660" y="629"/>
                    <a:pt x="659" y="630"/>
                    <a:pt x="658" y="631"/>
                  </a:cubicBezTo>
                  <a:close/>
                  <a:moveTo>
                    <a:pt x="603" y="658"/>
                  </a:moveTo>
                  <a:lnTo>
                    <a:pt x="571" y="674"/>
                  </a:lnTo>
                  <a:cubicBezTo>
                    <a:pt x="570" y="674"/>
                    <a:pt x="568" y="674"/>
                    <a:pt x="568" y="673"/>
                  </a:cubicBezTo>
                  <a:cubicBezTo>
                    <a:pt x="567" y="671"/>
                    <a:pt x="567" y="670"/>
                    <a:pt x="569" y="669"/>
                  </a:cubicBezTo>
                  <a:lnTo>
                    <a:pt x="601" y="653"/>
                  </a:lnTo>
                  <a:cubicBezTo>
                    <a:pt x="602" y="653"/>
                    <a:pt x="604" y="653"/>
                    <a:pt x="604" y="655"/>
                  </a:cubicBezTo>
                  <a:cubicBezTo>
                    <a:pt x="605" y="656"/>
                    <a:pt x="604" y="657"/>
                    <a:pt x="603" y="658"/>
                  </a:cubicBezTo>
                  <a:close/>
                  <a:moveTo>
                    <a:pt x="548" y="685"/>
                  </a:moveTo>
                  <a:lnTo>
                    <a:pt x="516" y="701"/>
                  </a:lnTo>
                  <a:cubicBezTo>
                    <a:pt x="515" y="702"/>
                    <a:pt x="513" y="701"/>
                    <a:pt x="512" y="700"/>
                  </a:cubicBezTo>
                  <a:cubicBezTo>
                    <a:pt x="512" y="698"/>
                    <a:pt x="512" y="697"/>
                    <a:pt x="514" y="696"/>
                  </a:cubicBezTo>
                  <a:lnTo>
                    <a:pt x="546" y="681"/>
                  </a:lnTo>
                  <a:cubicBezTo>
                    <a:pt x="547" y="680"/>
                    <a:pt x="549" y="680"/>
                    <a:pt x="549" y="682"/>
                  </a:cubicBezTo>
                  <a:cubicBezTo>
                    <a:pt x="550" y="683"/>
                    <a:pt x="549" y="684"/>
                    <a:pt x="548" y="685"/>
                  </a:cubicBezTo>
                  <a:close/>
                  <a:moveTo>
                    <a:pt x="493" y="712"/>
                  </a:moveTo>
                  <a:lnTo>
                    <a:pt x="461" y="728"/>
                  </a:lnTo>
                  <a:cubicBezTo>
                    <a:pt x="459" y="729"/>
                    <a:pt x="458" y="728"/>
                    <a:pt x="457" y="727"/>
                  </a:cubicBezTo>
                  <a:cubicBezTo>
                    <a:pt x="457" y="726"/>
                    <a:pt x="457" y="724"/>
                    <a:pt x="458" y="723"/>
                  </a:cubicBezTo>
                  <a:lnTo>
                    <a:pt x="491" y="708"/>
                  </a:lnTo>
                  <a:cubicBezTo>
                    <a:pt x="492" y="707"/>
                    <a:pt x="493" y="708"/>
                    <a:pt x="494" y="709"/>
                  </a:cubicBezTo>
                  <a:cubicBezTo>
                    <a:pt x="495" y="710"/>
                    <a:pt x="494" y="712"/>
                    <a:pt x="493" y="712"/>
                  </a:cubicBezTo>
                  <a:close/>
                  <a:moveTo>
                    <a:pt x="438" y="739"/>
                  </a:moveTo>
                  <a:lnTo>
                    <a:pt x="406" y="755"/>
                  </a:lnTo>
                  <a:cubicBezTo>
                    <a:pt x="404" y="756"/>
                    <a:pt x="403" y="755"/>
                    <a:pt x="402" y="754"/>
                  </a:cubicBezTo>
                  <a:cubicBezTo>
                    <a:pt x="402" y="753"/>
                    <a:pt x="402" y="751"/>
                    <a:pt x="403" y="751"/>
                  </a:cubicBezTo>
                  <a:lnTo>
                    <a:pt x="435" y="735"/>
                  </a:lnTo>
                  <a:cubicBezTo>
                    <a:pt x="437" y="734"/>
                    <a:pt x="438" y="735"/>
                    <a:pt x="439" y="736"/>
                  </a:cubicBezTo>
                  <a:cubicBezTo>
                    <a:pt x="440" y="737"/>
                    <a:pt x="439" y="739"/>
                    <a:pt x="438" y="739"/>
                  </a:cubicBezTo>
                  <a:close/>
                  <a:moveTo>
                    <a:pt x="383" y="767"/>
                  </a:moveTo>
                  <a:lnTo>
                    <a:pt x="351" y="782"/>
                  </a:lnTo>
                  <a:cubicBezTo>
                    <a:pt x="349" y="783"/>
                    <a:pt x="348" y="782"/>
                    <a:pt x="347" y="781"/>
                  </a:cubicBezTo>
                  <a:cubicBezTo>
                    <a:pt x="346" y="780"/>
                    <a:pt x="347" y="778"/>
                    <a:pt x="348" y="778"/>
                  </a:cubicBezTo>
                  <a:lnTo>
                    <a:pt x="380" y="762"/>
                  </a:lnTo>
                  <a:cubicBezTo>
                    <a:pt x="382" y="761"/>
                    <a:pt x="383" y="762"/>
                    <a:pt x="384" y="763"/>
                  </a:cubicBezTo>
                  <a:cubicBezTo>
                    <a:pt x="384" y="764"/>
                    <a:pt x="384" y="766"/>
                    <a:pt x="383" y="767"/>
                  </a:cubicBezTo>
                  <a:close/>
                  <a:moveTo>
                    <a:pt x="328" y="794"/>
                  </a:moveTo>
                  <a:lnTo>
                    <a:pt x="297" y="812"/>
                  </a:lnTo>
                  <a:cubicBezTo>
                    <a:pt x="296" y="813"/>
                    <a:pt x="294" y="812"/>
                    <a:pt x="293" y="811"/>
                  </a:cubicBezTo>
                  <a:cubicBezTo>
                    <a:pt x="293" y="810"/>
                    <a:pt x="293" y="808"/>
                    <a:pt x="294" y="807"/>
                  </a:cubicBezTo>
                  <a:lnTo>
                    <a:pt x="325" y="790"/>
                  </a:lnTo>
                  <a:cubicBezTo>
                    <a:pt x="327" y="789"/>
                    <a:pt x="328" y="790"/>
                    <a:pt x="329" y="791"/>
                  </a:cubicBezTo>
                  <a:cubicBezTo>
                    <a:pt x="330" y="792"/>
                    <a:pt x="329" y="794"/>
                    <a:pt x="328" y="794"/>
                  </a:cubicBezTo>
                  <a:close/>
                  <a:moveTo>
                    <a:pt x="274" y="824"/>
                  </a:moveTo>
                  <a:lnTo>
                    <a:pt x="243" y="842"/>
                  </a:lnTo>
                  <a:cubicBezTo>
                    <a:pt x="242" y="843"/>
                    <a:pt x="240" y="842"/>
                    <a:pt x="240" y="841"/>
                  </a:cubicBezTo>
                  <a:cubicBezTo>
                    <a:pt x="239" y="840"/>
                    <a:pt x="239" y="838"/>
                    <a:pt x="241" y="838"/>
                  </a:cubicBezTo>
                  <a:lnTo>
                    <a:pt x="272" y="820"/>
                  </a:lnTo>
                  <a:cubicBezTo>
                    <a:pt x="273" y="819"/>
                    <a:pt x="275" y="820"/>
                    <a:pt x="275" y="821"/>
                  </a:cubicBezTo>
                  <a:cubicBezTo>
                    <a:pt x="276" y="822"/>
                    <a:pt x="276" y="824"/>
                    <a:pt x="274" y="824"/>
                  </a:cubicBezTo>
                  <a:close/>
                  <a:moveTo>
                    <a:pt x="221" y="855"/>
                  </a:moveTo>
                  <a:lnTo>
                    <a:pt x="190" y="872"/>
                  </a:lnTo>
                  <a:cubicBezTo>
                    <a:pt x="188" y="873"/>
                    <a:pt x="187" y="872"/>
                    <a:pt x="186" y="871"/>
                  </a:cubicBezTo>
                  <a:cubicBezTo>
                    <a:pt x="186" y="870"/>
                    <a:pt x="186" y="868"/>
                    <a:pt x="187" y="868"/>
                  </a:cubicBezTo>
                  <a:lnTo>
                    <a:pt x="218" y="850"/>
                  </a:lnTo>
                  <a:cubicBezTo>
                    <a:pt x="220" y="849"/>
                    <a:pt x="221" y="850"/>
                    <a:pt x="222" y="851"/>
                  </a:cubicBezTo>
                  <a:cubicBezTo>
                    <a:pt x="223" y="852"/>
                    <a:pt x="222" y="854"/>
                    <a:pt x="221" y="855"/>
                  </a:cubicBezTo>
                  <a:close/>
                  <a:moveTo>
                    <a:pt x="167" y="885"/>
                  </a:moveTo>
                  <a:lnTo>
                    <a:pt x="136" y="902"/>
                  </a:lnTo>
                  <a:cubicBezTo>
                    <a:pt x="135" y="903"/>
                    <a:pt x="133" y="902"/>
                    <a:pt x="133" y="901"/>
                  </a:cubicBezTo>
                  <a:cubicBezTo>
                    <a:pt x="132" y="900"/>
                    <a:pt x="132" y="898"/>
                    <a:pt x="134" y="898"/>
                  </a:cubicBezTo>
                  <a:lnTo>
                    <a:pt x="165" y="880"/>
                  </a:lnTo>
                  <a:cubicBezTo>
                    <a:pt x="166" y="879"/>
                    <a:pt x="168" y="880"/>
                    <a:pt x="168" y="881"/>
                  </a:cubicBezTo>
                  <a:cubicBezTo>
                    <a:pt x="169" y="882"/>
                    <a:pt x="169" y="884"/>
                    <a:pt x="167" y="885"/>
                  </a:cubicBezTo>
                  <a:close/>
                  <a:moveTo>
                    <a:pt x="114" y="915"/>
                  </a:moveTo>
                  <a:lnTo>
                    <a:pt x="83" y="932"/>
                  </a:lnTo>
                  <a:cubicBezTo>
                    <a:pt x="81" y="933"/>
                    <a:pt x="80" y="933"/>
                    <a:pt x="79" y="931"/>
                  </a:cubicBezTo>
                  <a:cubicBezTo>
                    <a:pt x="78" y="930"/>
                    <a:pt x="79" y="929"/>
                    <a:pt x="80" y="928"/>
                  </a:cubicBezTo>
                  <a:lnTo>
                    <a:pt x="111" y="910"/>
                  </a:lnTo>
                  <a:cubicBezTo>
                    <a:pt x="113" y="910"/>
                    <a:pt x="114" y="910"/>
                    <a:pt x="115" y="911"/>
                  </a:cubicBezTo>
                  <a:cubicBezTo>
                    <a:pt x="115" y="913"/>
                    <a:pt x="115" y="914"/>
                    <a:pt x="114" y="915"/>
                  </a:cubicBezTo>
                  <a:close/>
                  <a:moveTo>
                    <a:pt x="60" y="945"/>
                  </a:moveTo>
                  <a:lnTo>
                    <a:pt x="29" y="962"/>
                  </a:lnTo>
                  <a:cubicBezTo>
                    <a:pt x="28" y="963"/>
                    <a:pt x="26" y="963"/>
                    <a:pt x="26" y="961"/>
                  </a:cubicBezTo>
                  <a:cubicBezTo>
                    <a:pt x="25" y="960"/>
                    <a:pt x="25" y="959"/>
                    <a:pt x="27" y="958"/>
                  </a:cubicBezTo>
                  <a:lnTo>
                    <a:pt x="58" y="940"/>
                  </a:lnTo>
                  <a:cubicBezTo>
                    <a:pt x="59" y="940"/>
                    <a:pt x="61" y="940"/>
                    <a:pt x="61" y="941"/>
                  </a:cubicBezTo>
                  <a:cubicBezTo>
                    <a:pt x="62" y="943"/>
                    <a:pt x="62" y="944"/>
                    <a:pt x="60" y="945"/>
                  </a:cubicBezTo>
                  <a:close/>
                  <a:moveTo>
                    <a:pt x="7" y="975"/>
                  </a:moveTo>
                  <a:lnTo>
                    <a:pt x="4" y="977"/>
                  </a:lnTo>
                  <a:cubicBezTo>
                    <a:pt x="2" y="977"/>
                    <a:pt x="1" y="977"/>
                    <a:pt x="0" y="976"/>
                  </a:cubicBezTo>
                  <a:cubicBezTo>
                    <a:pt x="0" y="974"/>
                    <a:pt x="0" y="973"/>
                    <a:pt x="1" y="972"/>
                  </a:cubicBezTo>
                  <a:lnTo>
                    <a:pt x="4" y="971"/>
                  </a:lnTo>
                  <a:cubicBezTo>
                    <a:pt x="5" y="970"/>
                    <a:pt x="7" y="970"/>
                    <a:pt x="8" y="972"/>
                  </a:cubicBezTo>
                  <a:cubicBezTo>
                    <a:pt x="8" y="973"/>
                    <a:pt x="8" y="974"/>
                    <a:pt x="7" y="975"/>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132">
              <a:extLst>
                <a:ext uri="{FF2B5EF4-FFF2-40B4-BE49-F238E27FC236}">
                  <a16:creationId xmlns:a16="http://schemas.microsoft.com/office/drawing/2014/main" id="{7D0E9E9B-3488-48F4-96A8-59C6FEB16974}"/>
                </a:ext>
              </a:extLst>
            </p:cNvPr>
            <p:cNvSpPr>
              <a:spLocks/>
            </p:cNvSpPr>
            <p:nvPr/>
          </p:nvSpPr>
          <p:spPr bwMode="auto">
            <a:xfrm>
              <a:off x="3840" y="1679"/>
              <a:ext cx="56" cy="52"/>
            </a:xfrm>
            <a:custGeom>
              <a:avLst/>
              <a:gdLst>
                <a:gd name="T0" fmla="*/ 0 w 56"/>
                <a:gd name="T1" fmla="*/ 0 h 52"/>
                <a:gd name="T2" fmla="*/ 56 w 56"/>
                <a:gd name="T3" fmla="*/ 20 h 52"/>
                <a:gd name="T4" fmla="*/ 6 w 56"/>
                <a:gd name="T5" fmla="*/ 52 h 52"/>
                <a:gd name="T6" fmla="*/ 0 w 56"/>
                <a:gd name="T7" fmla="*/ 0 h 52"/>
              </a:gdLst>
              <a:ahLst/>
              <a:cxnLst>
                <a:cxn ang="0">
                  <a:pos x="T0" y="T1"/>
                </a:cxn>
                <a:cxn ang="0">
                  <a:pos x="T2" y="T3"/>
                </a:cxn>
                <a:cxn ang="0">
                  <a:pos x="T4" y="T5"/>
                </a:cxn>
                <a:cxn ang="0">
                  <a:pos x="T6" y="T7"/>
                </a:cxn>
              </a:cxnLst>
              <a:rect l="0" t="0" r="r" b="b"/>
              <a:pathLst>
                <a:path w="56" h="52">
                  <a:moveTo>
                    <a:pt x="0" y="0"/>
                  </a:moveTo>
                  <a:lnTo>
                    <a:pt x="56" y="20"/>
                  </a:lnTo>
                  <a:lnTo>
                    <a:pt x="6" y="52"/>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133">
              <a:extLst>
                <a:ext uri="{FF2B5EF4-FFF2-40B4-BE49-F238E27FC236}">
                  <a16:creationId xmlns:a16="http://schemas.microsoft.com/office/drawing/2014/main" id="{036856AF-D7BD-413F-9A9B-55B2C71C3163}"/>
                </a:ext>
              </a:extLst>
            </p:cNvPr>
            <p:cNvSpPr>
              <a:spLocks noChangeArrowheads="1"/>
            </p:cNvSpPr>
            <p:nvPr/>
          </p:nvSpPr>
          <p:spPr bwMode="auto">
            <a:xfrm>
              <a:off x="2991" y="1810"/>
              <a:ext cx="421" cy="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12" name="Freeform 134">
              <a:extLst>
                <a:ext uri="{FF2B5EF4-FFF2-40B4-BE49-F238E27FC236}">
                  <a16:creationId xmlns:a16="http://schemas.microsoft.com/office/drawing/2014/main" id="{28D46836-D962-4218-8526-9D8F34030DDA}"/>
                </a:ext>
              </a:extLst>
            </p:cNvPr>
            <p:cNvSpPr>
              <a:spLocks noEditPoints="1"/>
            </p:cNvSpPr>
            <p:nvPr/>
          </p:nvSpPr>
          <p:spPr bwMode="auto">
            <a:xfrm>
              <a:off x="2993" y="1821"/>
              <a:ext cx="419" cy="49"/>
            </a:xfrm>
            <a:custGeom>
              <a:avLst/>
              <a:gdLst>
                <a:gd name="T0" fmla="*/ 11 w 935"/>
                <a:gd name="T1" fmla="*/ 52 h 110"/>
                <a:gd name="T2" fmla="*/ 35 w 935"/>
                <a:gd name="T3" fmla="*/ 48 h 110"/>
                <a:gd name="T4" fmla="*/ 39 w 935"/>
                <a:gd name="T5" fmla="*/ 93 h 110"/>
                <a:gd name="T6" fmla="*/ 65 w 935"/>
                <a:gd name="T7" fmla="*/ 19 h 110"/>
                <a:gd name="T8" fmla="*/ 127 w 935"/>
                <a:gd name="T9" fmla="*/ 81 h 110"/>
                <a:gd name="T10" fmla="*/ 96 w 935"/>
                <a:gd name="T11" fmla="*/ 91 h 110"/>
                <a:gd name="T12" fmla="*/ 121 w 935"/>
                <a:gd name="T13" fmla="*/ 57 h 110"/>
                <a:gd name="T14" fmla="*/ 169 w 935"/>
                <a:gd name="T15" fmla="*/ 93 h 110"/>
                <a:gd name="T16" fmla="*/ 142 w 935"/>
                <a:gd name="T17" fmla="*/ 33 h 110"/>
                <a:gd name="T18" fmla="*/ 176 w 935"/>
                <a:gd name="T19" fmla="*/ 33 h 110"/>
                <a:gd name="T20" fmla="*/ 175 w 935"/>
                <a:gd name="T21" fmla="*/ 83 h 110"/>
                <a:gd name="T22" fmla="*/ 232 w 935"/>
                <a:gd name="T23" fmla="*/ 19 h 110"/>
                <a:gd name="T24" fmla="*/ 226 w 935"/>
                <a:gd name="T25" fmla="*/ 56 h 110"/>
                <a:gd name="T26" fmla="*/ 254 w 935"/>
                <a:gd name="T27" fmla="*/ 88 h 110"/>
                <a:gd name="T28" fmla="*/ 241 w 935"/>
                <a:gd name="T29" fmla="*/ 11 h 110"/>
                <a:gd name="T30" fmla="*/ 301 w 935"/>
                <a:gd name="T31" fmla="*/ 85 h 110"/>
                <a:gd name="T32" fmla="*/ 318 w 935"/>
                <a:gd name="T33" fmla="*/ 90 h 110"/>
                <a:gd name="T34" fmla="*/ 318 w 935"/>
                <a:gd name="T35" fmla="*/ 39 h 110"/>
                <a:gd name="T36" fmla="*/ 388 w 935"/>
                <a:gd name="T37" fmla="*/ 91 h 110"/>
                <a:gd name="T38" fmla="*/ 358 w 935"/>
                <a:gd name="T39" fmla="*/ 43 h 110"/>
                <a:gd name="T40" fmla="*/ 340 w 935"/>
                <a:gd name="T41" fmla="*/ 33 h 110"/>
                <a:gd name="T42" fmla="*/ 388 w 935"/>
                <a:gd name="T43" fmla="*/ 56 h 110"/>
                <a:gd name="T44" fmla="*/ 418 w 935"/>
                <a:gd name="T45" fmla="*/ 48 h 110"/>
                <a:gd name="T46" fmla="*/ 404 w 935"/>
                <a:gd name="T47" fmla="*/ 33 h 110"/>
                <a:gd name="T48" fmla="*/ 432 w 935"/>
                <a:gd name="T49" fmla="*/ 32 h 110"/>
                <a:gd name="T50" fmla="*/ 468 w 935"/>
                <a:gd name="T51" fmla="*/ 84 h 110"/>
                <a:gd name="T52" fmla="*/ 496 w 935"/>
                <a:gd name="T53" fmla="*/ 89 h 110"/>
                <a:gd name="T54" fmla="*/ 486 w 935"/>
                <a:gd name="T55" fmla="*/ 34 h 110"/>
                <a:gd name="T56" fmla="*/ 551 w 935"/>
                <a:gd name="T57" fmla="*/ 75 h 110"/>
                <a:gd name="T58" fmla="*/ 512 w 935"/>
                <a:gd name="T59" fmla="*/ 80 h 110"/>
                <a:gd name="T60" fmla="*/ 527 w 935"/>
                <a:gd name="T61" fmla="*/ 65 h 110"/>
                <a:gd name="T62" fmla="*/ 547 w 935"/>
                <a:gd name="T63" fmla="*/ 36 h 110"/>
                <a:gd name="T64" fmla="*/ 525 w 935"/>
                <a:gd name="T65" fmla="*/ 42 h 110"/>
                <a:gd name="T66" fmla="*/ 563 w 935"/>
                <a:gd name="T67" fmla="*/ 109 h 110"/>
                <a:gd name="T68" fmla="*/ 602 w 935"/>
                <a:gd name="T69" fmla="*/ 1 h 110"/>
                <a:gd name="T70" fmla="*/ 655 w 935"/>
                <a:gd name="T71" fmla="*/ 71 h 110"/>
                <a:gd name="T72" fmla="*/ 634 w 935"/>
                <a:gd name="T73" fmla="*/ 11 h 110"/>
                <a:gd name="T74" fmla="*/ 724 w 935"/>
                <a:gd name="T75" fmla="*/ 38 h 110"/>
                <a:gd name="T76" fmla="*/ 702 w 935"/>
                <a:gd name="T77" fmla="*/ 91 h 110"/>
                <a:gd name="T78" fmla="*/ 696 w 935"/>
                <a:gd name="T79" fmla="*/ 32 h 110"/>
                <a:gd name="T80" fmla="*/ 724 w 935"/>
                <a:gd name="T81" fmla="*/ 33 h 110"/>
                <a:gd name="T82" fmla="*/ 730 w 935"/>
                <a:gd name="T83" fmla="*/ 89 h 110"/>
                <a:gd name="T84" fmla="*/ 726 w 935"/>
                <a:gd name="T85" fmla="*/ 19 h 110"/>
                <a:gd name="T86" fmla="*/ 753 w 935"/>
                <a:gd name="T87" fmla="*/ 37 h 110"/>
                <a:gd name="T88" fmla="*/ 753 w 935"/>
                <a:gd name="T89" fmla="*/ 85 h 110"/>
                <a:gd name="T90" fmla="*/ 773 w 935"/>
                <a:gd name="T91" fmla="*/ 33 h 110"/>
                <a:gd name="T92" fmla="*/ 772 w 935"/>
                <a:gd name="T93" fmla="*/ 11 h 110"/>
                <a:gd name="T94" fmla="*/ 799 w 935"/>
                <a:gd name="T95" fmla="*/ 87 h 110"/>
                <a:gd name="T96" fmla="*/ 829 w 935"/>
                <a:gd name="T97" fmla="*/ 76 h 110"/>
                <a:gd name="T98" fmla="*/ 825 w 935"/>
                <a:gd name="T99" fmla="*/ 32 h 110"/>
                <a:gd name="T100" fmla="*/ 830 w 935"/>
                <a:gd name="T101" fmla="*/ 42 h 110"/>
                <a:gd name="T102" fmla="*/ 838 w 935"/>
                <a:gd name="T103" fmla="*/ 69 h 110"/>
                <a:gd name="T104" fmla="*/ 854 w 935"/>
                <a:gd name="T105" fmla="*/ 41 h 110"/>
                <a:gd name="T106" fmla="*/ 859 w 935"/>
                <a:gd name="T107" fmla="*/ 17 h 110"/>
                <a:gd name="T108" fmla="*/ 864 w 935"/>
                <a:gd name="T109" fmla="*/ 41 h 110"/>
                <a:gd name="T110" fmla="*/ 933 w 935"/>
                <a:gd name="T111" fmla="*/ 83 h 110"/>
                <a:gd name="T112" fmla="*/ 897 w 935"/>
                <a:gd name="T113" fmla="*/ 80 h 110"/>
                <a:gd name="T114" fmla="*/ 905 w 935"/>
                <a:gd name="T115" fmla="*/ 63 h 110"/>
                <a:gd name="T116" fmla="*/ 932 w 935"/>
                <a:gd name="T117" fmla="*/ 37 h 110"/>
                <a:gd name="T118" fmla="*/ 907 w 935"/>
                <a:gd name="T119" fmla="*/ 4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5" h="110">
                  <a:moveTo>
                    <a:pt x="65" y="22"/>
                  </a:moveTo>
                  <a:cubicBezTo>
                    <a:pt x="65" y="23"/>
                    <a:pt x="65" y="24"/>
                    <a:pt x="65" y="24"/>
                  </a:cubicBezTo>
                  <a:cubicBezTo>
                    <a:pt x="65" y="25"/>
                    <a:pt x="65" y="26"/>
                    <a:pt x="65" y="26"/>
                  </a:cubicBezTo>
                  <a:cubicBezTo>
                    <a:pt x="65" y="26"/>
                    <a:pt x="65" y="27"/>
                    <a:pt x="64" y="27"/>
                  </a:cubicBezTo>
                  <a:cubicBezTo>
                    <a:pt x="64" y="27"/>
                    <a:pt x="64" y="27"/>
                    <a:pt x="64" y="27"/>
                  </a:cubicBezTo>
                  <a:cubicBezTo>
                    <a:pt x="63" y="27"/>
                    <a:pt x="62" y="27"/>
                    <a:pt x="61" y="26"/>
                  </a:cubicBezTo>
                  <a:cubicBezTo>
                    <a:pt x="60" y="25"/>
                    <a:pt x="58" y="24"/>
                    <a:pt x="56" y="23"/>
                  </a:cubicBezTo>
                  <a:cubicBezTo>
                    <a:pt x="54" y="22"/>
                    <a:pt x="52" y="21"/>
                    <a:pt x="49" y="21"/>
                  </a:cubicBezTo>
                  <a:cubicBezTo>
                    <a:pt x="47" y="20"/>
                    <a:pt x="43" y="19"/>
                    <a:pt x="40" y="19"/>
                  </a:cubicBezTo>
                  <a:cubicBezTo>
                    <a:pt x="35" y="19"/>
                    <a:pt x="31" y="20"/>
                    <a:pt x="28" y="22"/>
                  </a:cubicBezTo>
                  <a:cubicBezTo>
                    <a:pt x="24" y="23"/>
                    <a:pt x="21" y="26"/>
                    <a:pt x="19" y="29"/>
                  </a:cubicBezTo>
                  <a:cubicBezTo>
                    <a:pt x="16" y="31"/>
                    <a:pt x="14" y="35"/>
                    <a:pt x="13" y="39"/>
                  </a:cubicBezTo>
                  <a:cubicBezTo>
                    <a:pt x="12" y="43"/>
                    <a:pt x="11" y="47"/>
                    <a:pt x="11" y="52"/>
                  </a:cubicBezTo>
                  <a:cubicBezTo>
                    <a:pt x="11" y="57"/>
                    <a:pt x="12" y="61"/>
                    <a:pt x="13" y="65"/>
                  </a:cubicBezTo>
                  <a:cubicBezTo>
                    <a:pt x="15" y="69"/>
                    <a:pt x="17" y="73"/>
                    <a:pt x="19" y="76"/>
                  </a:cubicBezTo>
                  <a:cubicBezTo>
                    <a:pt x="22" y="78"/>
                    <a:pt x="25" y="80"/>
                    <a:pt x="28" y="82"/>
                  </a:cubicBezTo>
                  <a:cubicBezTo>
                    <a:pt x="32" y="83"/>
                    <a:pt x="36" y="84"/>
                    <a:pt x="40" y="84"/>
                  </a:cubicBezTo>
                  <a:cubicBezTo>
                    <a:pt x="42" y="84"/>
                    <a:pt x="45" y="84"/>
                    <a:pt x="47" y="83"/>
                  </a:cubicBezTo>
                  <a:cubicBezTo>
                    <a:pt x="50" y="82"/>
                    <a:pt x="52" y="82"/>
                    <a:pt x="55" y="80"/>
                  </a:cubicBezTo>
                  <a:lnTo>
                    <a:pt x="55" y="57"/>
                  </a:lnTo>
                  <a:lnTo>
                    <a:pt x="36" y="57"/>
                  </a:lnTo>
                  <a:cubicBezTo>
                    <a:pt x="35" y="57"/>
                    <a:pt x="35" y="56"/>
                    <a:pt x="34" y="56"/>
                  </a:cubicBezTo>
                  <a:cubicBezTo>
                    <a:pt x="34" y="55"/>
                    <a:pt x="34" y="54"/>
                    <a:pt x="34" y="52"/>
                  </a:cubicBezTo>
                  <a:cubicBezTo>
                    <a:pt x="34" y="52"/>
                    <a:pt x="34" y="51"/>
                    <a:pt x="34" y="50"/>
                  </a:cubicBezTo>
                  <a:cubicBezTo>
                    <a:pt x="34" y="50"/>
                    <a:pt x="34" y="49"/>
                    <a:pt x="34" y="49"/>
                  </a:cubicBezTo>
                  <a:cubicBezTo>
                    <a:pt x="34" y="49"/>
                    <a:pt x="35" y="48"/>
                    <a:pt x="35" y="48"/>
                  </a:cubicBezTo>
                  <a:cubicBezTo>
                    <a:pt x="35" y="48"/>
                    <a:pt x="35" y="48"/>
                    <a:pt x="36" y="48"/>
                  </a:cubicBezTo>
                  <a:lnTo>
                    <a:pt x="61" y="48"/>
                  </a:lnTo>
                  <a:cubicBezTo>
                    <a:pt x="62" y="48"/>
                    <a:pt x="62" y="48"/>
                    <a:pt x="63" y="48"/>
                  </a:cubicBezTo>
                  <a:cubicBezTo>
                    <a:pt x="63" y="48"/>
                    <a:pt x="64" y="49"/>
                    <a:pt x="64" y="49"/>
                  </a:cubicBezTo>
                  <a:cubicBezTo>
                    <a:pt x="64" y="49"/>
                    <a:pt x="65" y="50"/>
                    <a:pt x="65" y="50"/>
                  </a:cubicBezTo>
                  <a:cubicBezTo>
                    <a:pt x="65" y="51"/>
                    <a:pt x="65" y="52"/>
                    <a:pt x="65" y="52"/>
                  </a:cubicBezTo>
                  <a:lnTo>
                    <a:pt x="65" y="83"/>
                  </a:lnTo>
                  <a:cubicBezTo>
                    <a:pt x="65" y="84"/>
                    <a:pt x="65" y="85"/>
                    <a:pt x="65" y="86"/>
                  </a:cubicBezTo>
                  <a:cubicBezTo>
                    <a:pt x="64" y="87"/>
                    <a:pt x="64" y="87"/>
                    <a:pt x="62" y="88"/>
                  </a:cubicBezTo>
                  <a:cubicBezTo>
                    <a:pt x="61" y="89"/>
                    <a:pt x="60" y="89"/>
                    <a:pt x="58" y="90"/>
                  </a:cubicBezTo>
                  <a:cubicBezTo>
                    <a:pt x="56" y="91"/>
                    <a:pt x="54" y="91"/>
                    <a:pt x="52" y="92"/>
                  </a:cubicBezTo>
                  <a:cubicBezTo>
                    <a:pt x="50" y="92"/>
                    <a:pt x="48" y="93"/>
                    <a:pt x="46" y="93"/>
                  </a:cubicBezTo>
                  <a:cubicBezTo>
                    <a:pt x="43" y="93"/>
                    <a:pt x="41" y="93"/>
                    <a:pt x="39" y="93"/>
                  </a:cubicBezTo>
                  <a:cubicBezTo>
                    <a:pt x="33" y="93"/>
                    <a:pt x="28" y="92"/>
                    <a:pt x="23" y="90"/>
                  </a:cubicBezTo>
                  <a:cubicBezTo>
                    <a:pt x="18" y="88"/>
                    <a:pt x="14" y="86"/>
                    <a:pt x="10" y="82"/>
                  </a:cubicBezTo>
                  <a:cubicBezTo>
                    <a:pt x="7" y="79"/>
                    <a:pt x="4" y="74"/>
                    <a:pt x="2" y="69"/>
                  </a:cubicBezTo>
                  <a:cubicBezTo>
                    <a:pt x="1" y="64"/>
                    <a:pt x="0" y="59"/>
                    <a:pt x="0" y="53"/>
                  </a:cubicBezTo>
                  <a:cubicBezTo>
                    <a:pt x="0" y="46"/>
                    <a:pt x="1" y="40"/>
                    <a:pt x="3" y="35"/>
                  </a:cubicBezTo>
                  <a:cubicBezTo>
                    <a:pt x="4" y="30"/>
                    <a:pt x="7" y="25"/>
                    <a:pt x="11" y="22"/>
                  </a:cubicBezTo>
                  <a:cubicBezTo>
                    <a:pt x="14" y="18"/>
                    <a:pt x="18" y="15"/>
                    <a:pt x="23" y="13"/>
                  </a:cubicBezTo>
                  <a:cubicBezTo>
                    <a:pt x="28" y="11"/>
                    <a:pt x="34" y="10"/>
                    <a:pt x="40" y="10"/>
                  </a:cubicBezTo>
                  <a:cubicBezTo>
                    <a:pt x="43" y="10"/>
                    <a:pt x="46" y="10"/>
                    <a:pt x="49" y="11"/>
                  </a:cubicBezTo>
                  <a:cubicBezTo>
                    <a:pt x="51" y="12"/>
                    <a:pt x="54" y="12"/>
                    <a:pt x="56" y="13"/>
                  </a:cubicBezTo>
                  <a:cubicBezTo>
                    <a:pt x="58" y="14"/>
                    <a:pt x="60" y="14"/>
                    <a:pt x="61" y="15"/>
                  </a:cubicBezTo>
                  <a:cubicBezTo>
                    <a:pt x="62" y="16"/>
                    <a:pt x="63" y="17"/>
                    <a:pt x="64" y="17"/>
                  </a:cubicBezTo>
                  <a:cubicBezTo>
                    <a:pt x="65" y="18"/>
                    <a:pt x="65" y="19"/>
                    <a:pt x="65" y="19"/>
                  </a:cubicBezTo>
                  <a:cubicBezTo>
                    <a:pt x="65" y="20"/>
                    <a:pt x="65" y="21"/>
                    <a:pt x="65" y="22"/>
                  </a:cubicBezTo>
                  <a:close/>
                  <a:moveTo>
                    <a:pt x="132" y="60"/>
                  </a:moveTo>
                  <a:cubicBezTo>
                    <a:pt x="132" y="62"/>
                    <a:pt x="131" y="63"/>
                    <a:pt x="130" y="64"/>
                  </a:cubicBezTo>
                  <a:cubicBezTo>
                    <a:pt x="129" y="64"/>
                    <a:pt x="129" y="65"/>
                    <a:pt x="128" y="65"/>
                  </a:cubicBezTo>
                  <a:lnTo>
                    <a:pt x="90" y="65"/>
                  </a:lnTo>
                  <a:cubicBezTo>
                    <a:pt x="90" y="68"/>
                    <a:pt x="91" y="71"/>
                    <a:pt x="91" y="73"/>
                  </a:cubicBezTo>
                  <a:cubicBezTo>
                    <a:pt x="92" y="76"/>
                    <a:pt x="93" y="78"/>
                    <a:pt x="95" y="79"/>
                  </a:cubicBezTo>
                  <a:cubicBezTo>
                    <a:pt x="96" y="81"/>
                    <a:pt x="98" y="83"/>
                    <a:pt x="100" y="84"/>
                  </a:cubicBezTo>
                  <a:cubicBezTo>
                    <a:pt x="103" y="85"/>
                    <a:pt x="105" y="85"/>
                    <a:pt x="109" y="85"/>
                  </a:cubicBezTo>
                  <a:cubicBezTo>
                    <a:pt x="112" y="85"/>
                    <a:pt x="114" y="85"/>
                    <a:pt x="116" y="84"/>
                  </a:cubicBezTo>
                  <a:cubicBezTo>
                    <a:pt x="118" y="84"/>
                    <a:pt x="120" y="83"/>
                    <a:pt x="121" y="83"/>
                  </a:cubicBezTo>
                  <a:cubicBezTo>
                    <a:pt x="123" y="82"/>
                    <a:pt x="124" y="82"/>
                    <a:pt x="125" y="81"/>
                  </a:cubicBezTo>
                  <a:cubicBezTo>
                    <a:pt x="126" y="81"/>
                    <a:pt x="127" y="81"/>
                    <a:pt x="127" y="81"/>
                  </a:cubicBezTo>
                  <a:cubicBezTo>
                    <a:pt x="128" y="81"/>
                    <a:pt x="128" y="81"/>
                    <a:pt x="128" y="81"/>
                  </a:cubicBezTo>
                  <a:cubicBezTo>
                    <a:pt x="128" y="81"/>
                    <a:pt x="129" y="81"/>
                    <a:pt x="129" y="82"/>
                  </a:cubicBezTo>
                  <a:cubicBezTo>
                    <a:pt x="129" y="82"/>
                    <a:pt x="129" y="82"/>
                    <a:pt x="129" y="83"/>
                  </a:cubicBezTo>
                  <a:cubicBezTo>
                    <a:pt x="129" y="83"/>
                    <a:pt x="129" y="84"/>
                    <a:pt x="129" y="85"/>
                  </a:cubicBezTo>
                  <a:cubicBezTo>
                    <a:pt x="129" y="85"/>
                    <a:pt x="129" y="86"/>
                    <a:pt x="129" y="86"/>
                  </a:cubicBezTo>
                  <a:cubicBezTo>
                    <a:pt x="129" y="87"/>
                    <a:pt x="129" y="87"/>
                    <a:pt x="129" y="87"/>
                  </a:cubicBezTo>
                  <a:cubicBezTo>
                    <a:pt x="129" y="88"/>
                    <a:pt x="129" y="88"/>
                    <a:pt x="129" y="88"/>
                  </a:cubicBezTo>
                  <a:cubicBezTo>
                    <a:pt x="128" y="88"/>
                    <a:pt x="128" y="89"/>
                    <a:pt x="128" y="89"/>
                  </a:cubicBezTo>
                  <a:cubicBezTo>
                    <a:pt x="128" y="89"/>
                    <a:pt x="127" y="89"/>
                    <a:pt x="126" y="90"/>
                  </a:cubicBezTo>
                  <a:cubicBezTo>
                    <a:pt x="125" y="90"/>
                    <a:pt x="123" y="91"/>
                    <a:pt x="122" y="91"/>
                  </a:cubicBezTo>
                  <a:cubicBezTo>
                    <a:pt x="120" y="92"/>
                    <a:pt x="118" y="92"/>
                    <a:pt x="115" y="93"/>
                  </a:cubicBezTo>
                  <a:cubicBezTo>
                    <a:pt x="113" y="93"/>
                    <a:pt x="111" y="93"/>
                    <a:pt x="108" y="93"/>
                  </a:cubicBezTo>
                  <a:cubicBezTo>
                    <a:pt x="103" y="93"/>
                    <a:pt x="99" y="93"/>
                    <a:pt x="96" y="91"/>
                  </a:cubicBezTo>
                  <a:cubicBezTo>
                    <a:pt x="92" y="90"/>
                    <a:pt x="89" y="88"/>
                    <a:pt x="87" y="86"/>
                  </a:cubicBezTo>
                  <a:cubicBezTo>
                    <a:pt x="85" y="83"/>
                    <a:pt x="83" y="80"/>
                    <a:pt x="82" y="76"/>
                  </a:cubicBezTo>
                  <a:cubicBezTo>
                    <a:pt x="80" y="72"/>
                    <a:pt x="80" y="68"/>
                    <a:pt x="80" y="63"/>
                  </a:cubicBezTo>
                  <a:cubicBezTo>
                    <a:pt x="80" y="58"/>
                    <a:pt x="80" y="54"/>
                    <a:pt x="82" y="50"/>
                  </a:cubicBezTo>
                  <a:cubicBezTo>
                    <a:pt x="83" y="46"/>
                    <a:pt x="85" y="43"/>
                    <a:pt x="87" y="40"/>
                  </a:cubicBezTo>
                  <a:cubicBezTo>
                    <a:pt x="89" y="37"/>
                    <a:pt x="92" y="35"/>
                    <a:pt x="96" y="34"/>
                  </a:cubicBezTo>
                  <a:cubicBezTo>
                    <a:pt x="99" y="32"/>
                    <a:pt x="103" y="32"/>
                    <a:pt x="107" y="32"/>
                  </a:cubicBezTo>
                  <a:cubicBezTo>
                    <a:pt x="111" y="32"/>
                    <a:pt x="115" y="32"/>
                    <a:pt x="118" y="34"/>
                  </a:cubicBezTo>
                  <a:cubicBezTo>
                    <a:pt x="121" y="35"/>
                    <a:pt x="124" y="37"/>
                    <a:pt x="126" y="39"/>
                  </a:cubicBezTo>
                  <a:cubicBezTo>
                    <a:pt x="128" y="42"/>
                    <a:pt x="129" y="45"/>
                    <a:pt x="130" y="48"/>
                  </a:cubicBezTo>
                  <a:cubicBezTo>
                    <a:pt x="131" y="51"/>
                    <a:pt x="132" y="55"/>
                    <a:pt x="132" y="58"/>
                  </a:cubicBezTo>
                  <a:lnTo>
                    <a:pt x="132" y="60"/>
                  </a:lnTo>
                  <a:close/>
                  <a:moveTo>
                    <a:pt x="121" y="57"/>
                  </a:moveTo>
                  <a:cubicBezTo>
                    <a:pt x="121" y="52"/>
                    <a:pt x="120" y="47"/>
                    <a:pt x="118" y="44"/>
                  </a:cubicBezTo>
                  <a:cubicBezTo>
                    <a:pt x="115" y="41"/>
                    <a:pt x="111" y="40"/>
                    <a:pt x="106" y="40"/>
                  </a:cubicBezTo>
                  <a:cubicBezTo>
                    <a:pt x="104" y="40"/>
                    <a:pt x="101" y="40"/>
                    <a:pt x="100" y="41"/>
                  </a:cubicBezTo>
                  <a:cubicBezTo>
                    <a:pt x="98" y="42"/>
                    <a:pt x="96" y="43"/>
                    <a:pt x="95" y="45"/>
                  </a:cubicBezTo>
                  <a:cubicBezTo>
                    <a:pt x="93" y="46"/>
                    <a:pt x="92" y="48"/>
                    <a:pt x="92" y="50"/>
                  </a:cubicBezTo>
                  <a:cubicBezTo>
                    <a:pt x="91" y="53"/>
                    <a:pt x="91" y="55"/>
                    <a:pt x="90" y="57"/>
                  </a:cubicBezTo>
                  <a:lnTo>
                    <a:pt x="121" y="57"/>
                  </a:lnTo>
                  <a:close/>
                  <a:moveTo>
                    <a:pt x="177" y="87"/>
                  </a:moveTo>
                  <a:cubicBezTo>
                    <a:pt x="177" y="88"/>
                    <a:pt x="177" y="89"/>
                    <a:pt x="177" y="89"/>
                  </a:cubicBezTo>
                  <a:cubicBezTo>
                    <a:pt x="176" y="90"/>
                    <a:pt x="176" y="91"/>
                    <a:pt x="176" y="91"/>
                  </a:cubicBezTo>
                  <a:cubicBezTo>
                    <a:pt x="175" y="91"/>
                    <a:pt x="175" y="92"/>
                    <a:pt x="174" y="92"/>
                  </a:cubicBezTo>
                  <a:cubicBezTo>
                    <a:pt x="174" y="92"/>
                    <a:pt x="173" y="92"/>
                    <a:pt x="172" y="93"/>
                  </a:cubicBezTo>
                  <a:cubicBezTo>
                    <a:pt x="171" y="93"/>
                    <a:pt x="170" y="93"/>
                    <a:pt x="169" y="93"/>
                  </a:cubicBezTo>
                  <a:cubicBezTo>
                    <a:pt x="168" y="93"/>
                    <a:pt x="167" y="93"/>
                    <a:pt x="166" y="93"/>
                  </a:cubicBezTo>
                  <a:cubicBezTo>
                    <a:pt x="163" y="93"/>
                    <a:pt x="161" y="93"/>
                    <a:pt x="159" y="92"/>
                  </a:cubicBezTo>
                  <a:cubicBezTo>
                    <a:pt x="157" y="91"/>
                    <a:pt x="155" y="90"/>
                    <a:pt x="154" y="89"/>
                  </a:cubicBezTo>
                  <a:cubicBezTo>
                    <a:pt x="152" y="87"/>
                    <a:pt x="151" y="85"/>
                    <a:pt x="151" y="83"/>
                  </a:cubicBezTo>
                  <a:cubicBezTo>
                    <a:pt x="150" y="80"/>
                    <a:pt x="150" y="77"/>
                    <a:pt x="150" y="74"/>
                  </a:cubicBezTo>
                  <a:lnTo>
                    <a:pt x="150" y="41"/>
                  </a:lnTo>
                  <a:lnTo>
                    <a:pt x="142" y="41"/>
                  </a:lnTo>
                  <a:cubicBezTo>
                    <a:pt x="141" y="41"/>
                    <a:pt x="141" y="41"/>
                    <a:pt x="141" y="40"/>
                  </a:cubicBezTo>
                  <a:cubicBezTo>
                    <a:pt x="140" y="40"/>
                    <a:pt x="140" y="39"/>
                    <a:pt x="140" y="37"/>
                  </a:cubicBezTo>
                  <a:cubicBezTo>
                    <a:pt x="140" y="36"/>
                    <a:pt x="140" y="36"/>
                    <a:pt x="140" y="35"/>
                  </a:cubicBezTo>
                  <a:cubicBezTo>
                    <a:pt x="140" y="35"/>
                    <a:pt x="140" y="34"/>
                    <a:pt x="141" y="34"/>
                  </a:cubicBezTo>
                  <a:cubicBezTo>
                    <a:pt x="141" y="33"/>
                    <a:pt x="141" y="33"/>
                    <a:pt x="141" y="33"/>
                  </a:cubicBezTo>
                  <a:cubicBezTo>
                    <a:pt x="142" y="33"/>
                    <a:pt x="142" y="33"/>
                    <a:pt x="142" y="33"/>
                  </a:cubicBezTo>
                  <a:lnTo>
                    <a:pt x="150" y="33"/>
                  </a:lnTo>
                  <a:lnTo>
                    <a:pt x="150" y="19"/>
                  </a:lnTo>
                  <a:cubicBezTo>
                    <a:pt x="150" y="19"/>
                    <a:pt x="150" y="19"/>
                    <a:pt x="150" y="19"/>
                  </a:cubicBezTo>
                  <a:cubicBezTo>
                    <a:pt x="150" y="18"/>
                    <a:pt x="151" y="18"/>
                    <a:pt x="151" y="18"/>
                  </a:cubicBezTo>
                  <a:cubicBezTo>
                    <a:pt x="151" y="18"/>
                    <a:pt x="152" y="18"/>
                    <a:pt x="153" y="18"/>
                  </a:cubicBezTo>
                  <a:cubicBezTo>
                    <a:pt x="153" y="17"/>
                    <a:pt x="154" y="17"/>
                    <a:pt x="155" y="17"/>
                  </a:cubicBezTo>
                  <a:cubicBezTo>
                    <a:pt x="156" y="17"/>
                    <a:pt x="157" y="17"/>
                    <a:pt x="158" y="18"/>
                  </a:cubicBezTo>
                  <a:cubicBezTo>
                    <a:pt x="158" y="18"/>
                    <a:pt x="159" y="18"/>
                    <a:pt x="159" y="18"/>
                  </a:cubicBezTo>
                  <a:cubicBezTo>
                    <a:pt x="160" y="18"/>
                    <a:pt x="160" y="18"/>
                    <a:pt x="160" y="19"/>
                  </a:cubicBezTo>
                  <a:cubicBezTo>
                    <a:pt x="160" y="19"/>
                    <a:pt x="160" y="19"/>
                    <a:pt x="160" y="19"/>
                  </a:cubicBezTo>
                  <a:lnTo>
                    <a:pt x="160" y="33"/>
                  </a:lnTo>
                  <a:lnTo>
                    <a:pt x="175" y="33"/>
                  </a:lnTo>
                  <a:cubicBezTo>
                    <a:pt x="175" y="33"/>
                    <a:pt x="175" y="33"/>
                    <a:pt x="176" y="33"/>
                  </a:cubicBezTo>
                  <a:cubicBezTo>
                    <a:pt x="176" y="33"/>
                    <a:pt x="176" y="33"/>
                    <a:pt x="176" y="34"/>
                  </a:cubicBezTo>
                  <a:cubicBezTo>
                    <a:pt x="176" y="34"/>
                    <a:pt x="177" y="35"/>
                    <a:pt x="177" y="35"/>
                  </a:cubicBezTo>
                  <a:cubicBezTo>
                    <a:pt x="177" y="36"/>
                    <a:pt x="177" y="36"/>
                    <a:pt x="177" y="37"/>
                  </a:cubicBezTo>
                  <a:cubicBezTo>
                    <a:pt x="177" y="39"/>
                    <a:pt x="177" y="40"/>
                    <a:pt x="176" y="40"/>
                  </a:cubicBezTo>
                  <a:cubicBezTo>
                    <a:pt x="176" y="41"/>
                    <a:pt x="175" y="41"/>
                    <a:pt x="175" y="41"/>
                  </a:cubicBezTo>
                  <a:lnTo>
                    <a:pt x="160" y="41"/>
                  </a:lnTo>
                  <a:lnTo>
                    <a:pt x="160" y="73"/>
                  </a:lnTo>
                  <a:cubicBezTo>
                    <a:pt x="160" y="77"/>
                    <a:pt x="161" y="80"/>
                    <a:pt x="162" y="81"/>
                  </a:cubicBezTo>
                  <a:cubicBezTo>
                    <a:pt x="163" y="83"/>
                    <a:pt x="165" y="84"/>
                    <a:pt x="168" y="84"/>
                  </a:cubicBezTo>
                  <a:cubicBezTo>
                    <a:pt x="169" y="84"/>
                    <a:pt x="170" y="84"/>
                    <a:pt x="171" y="84"/>
                  </a:cubicBezTo>
                  <a:cubicBezTo>
                    <a:pt x="171" y="84"/>
                    <a:pt x="172" y="84"/>
                    <a:pt x="173" y="84"/>
                  </a:cubicBezTo>
                  <a:cubicBezTo>
                    <a:pt x="173" y="83"/>
                    <a:pt x="174" y="83"/>
                    <a:pt x="174" y="83"/>
                  </a:cubicBezTo>
                  <a:cubicBezTo>
                    <a:pt x="175" y="83"/>
                    <a:pt x="175" y="83"/>
                    <a:pt x="175" y="83"/>
                  </a:cubicBezTo>
                  <a:cubicBezTo>
                    <a:pt x="176" y="83"/>
                    <a:pt x="176" y="83"/>
                    <a:pt x="176" y="83"/>
                  </a:cubicBezTo>
                  <a:cubicBezTo>
                    <a:pt x="176" y="83"/>
                    <a:pt x="176" y="83"/>
                    <a:pt x="176" y="83"/>
                  </a:cubicBezTo>
                  <a:cubicBezTo>
                    <a:pt x="176" y="84"/>
                    <a:pt x="177" y="84"/>
                    <a:pt x="177" y="85"/>
                  </a:cubicBezTo>
                  <a:cubicBezTo>
                    <a:pt x="177" y="85"/>
                    <a:pt x="177" y="86"/>
                    <a:pt x="177" y="87"/>
                  </a:cubicBezTo>
                  <a:close/>
                  <a:moveTo>
                    <a:pt x="257" y="22"/>
                  </a:moveTo>
                  <a:cubicBezTo>
                    <a:pt x="257" y="23"/>
                    <a:pt x="257" y="24"/>
                    <a:pt x="257" y="24"/>
                  </a:cubicBezTo>
                  <a:cubicBezTo>
                    <a:pt x="257" y="25"/>
                    <a:pt x="257" y="26"/>
                    <a:pt x="257" y="26"/>
                  </a:cubicBezTo>
                  <a:cubicBezTo>
                    <a:pt x="257" y="26"/>
                    <a:pt x="257" y="27"/>
                    <a:pt x="256" y="27"/>
                  </a:cubicBezTo>
                  <a:cubicBezTo>
                    <a:pt x="256" y="27"/>
                    <a:pt x="256" y="27"/>
                    <a:pt x="256" y="27"/>
                  </a:cubicBezTo>
                  <a:cubicBezTo>
                    <a:pt x="255" y="27"/>
                    <a:pt x="254" y="27"/>
                    <a:pt x="253" y="26"/>
                  </a:cubicBezTo>
                  <a:cubicBezTo>
                    <a:pt x="252" y="25"/>
                    <a:pt x="250" y="24"/>
                    <a:pt x="248" y="23"/>
                  </a:cubicBezTo>
                  <a:cubicBezTo>
                    <a:pt x="246" y="22"/>
                    <a:pt x="244" y="21"/>
                    <a:pt x="241" y="21"/>
                  </a:cubicBezTo>
                  <a:cubicBezTo>
                    <a:pt x="239" y="20"/>
                    <a:pt x="235" y="19"/>
                    <a:pt x="232" y="19"/>
                  </a:cubicBezTo>
                  <a:cubicBezTo>
                    <a:pt x="227" y="19"/>
                    <a:pt x="223" y="20"/>
                    <a:pt x="220" y="22"/>
                  </a:cubicBezTo>
                  <a:cubicBezTo>
                    <a:pt x="216" y="23"/>
                    <a:pt x="213" y="26"/>
                    <a:pt x="211" y="29"/>
                  </a:cubicBezTo>
                  <a:cubicBezTo>
                    <a:pt x="208" y="31"/>
                    <a:pt x="206" y="35"/>
                    <a:pt x="205" y="39"/>
                  </a:cubicBezTo>
                  <a:cubicBezTo>
                    <a:pt x="204" y="43"/>
                    <a:pt x="203" y="47"/>
                    <a:pt x="203" y="52"/>
                  </a:cubicBezTo>
                  <a:cubicBezTo>
                    <a:pt x="203" y="57"/>
                    <a:pt x="204" y="61"/>
                    <a:pt x="205" y="65"/>
                  </a:cubicBezTo>
                  <a:cubicBezTo>
                    <a:pt x="207" y="69"/>
                    <a:pt x="209" y="73"/>
                    <a:pt x="211" y="76"/>
                  </a:cubicBezTo>
                  <a:cubicBezTo>
                    <a:pt x="214" y="78"/>
                    <a:pt x="217" y="80"/>
                    <a:pt x="220" y="82"/>
                  </a:cubicBezTo>
                  <a:cubicBezTo>
                    <a:pt x="224" y="83"/>
                    <a:pt x="228" y="84"/>
                    <a:pt x="232" y="84"/>
                  </a:cubicBezTo>
                  <a:cubicBezTo>
                    <a:pt x="234" y="84"/>
                    <a:pt x="237" y="84"/>
                    <a:pt x="239" y="83"/>
                  </a:cubicBezTo>
                  <a:cubicBezTo>
                    <a:pt x="242" y="82"/>
                    <a:pt x="244" y="82"/>
                    <a:pt x="247" y="80"/>
                  </a:cubicBezTo>
                  <a:lnTo>
                    <a:pt x="247" y="57"/>
                  </a:lnTo>
                  <a:lnTo>
                    <a:pt x="228" y="57"/>
                  </a:lnTo>
                  <a:cubicBezTo>
                    <a:pt x="227" y="57"/>
                    <a:pt x="227" y="56"/>
                    <a:pt x="226" y="56"/>
                  </a:cubicBezTo>
                  <a:cubicBezTo>
                    <a:pt x="226" y="55"/>
                    <a:pt x="226" y="54"/>
                    <a:pt x="226" y="52"/>
                  </a:cubicBezTo>
                  <a:cubicBezTo>
                    <a:pt x="226" y="52"/>
                    <a:pt x="226" y="51"/>
                    <a:pt x="226" y="50"/>
                  </a:cubicBezTo>
                  <a:cubicBezTo>
                    <a:pt x="226" y="50"/>
                    <a:pt x="226" y="49"/>
                    <a:pt x="226" y="49"/>
                  </a:cubicBezTo>
                  <a:cubicBezTo>
                    <a:pt x="226" y="49"/>
                    <a:pt x="227" y="48"/>
                    <a:pt x="227" y="48"/>
                  </a:cubicBezTo>
                  <a:cubicBezTo>
                    <a:pt x="227" y="48"/>
                    <a:pt x="227" y="48"/>
                    <a:pt x="228" y="48"/>
                  </a:cubicBezTo>
                  <a:lnTo>
                    <a:pt x="253" y="48"/>
                  </a:lnTo>
                  <a:cubicBezTo>
                    <a:pt x="254" y="48"/>
                    <a:pt x="254" y="48"/>
                    <a:pt x="255" y="48"/>
                  </a:cubicBezTo>
                  <a:cubicBezTo>
                    <a:pt x="255" y="48"/>
                    <a:pt x="256" y="49"/>
                    <a:pt x="256" y="49"/>
                  </a:cubicBezTo>
                  <a:cubicBezTo>
                    <a:pt x="256" y="49"/>
                    <a:pt x="257" y="50"/>
                    <a:pt x="257" y="50"/>
                  </a:cubicBezTo>
                  <a:cubicBezTo>
                    <a:pt x="257" y="51"/>
                    <a:pt x="257" y="52"/>
                    <a:pt x="257" y="52"/>
                  </a:cubicBezTo>
                  <a:lnTo>
                    <a:pt x="257" y="83"/>
                  </a:lnTo>
                  <a:cubicBezTo>
                    <a:pt x="257" y="84"/>
                    <a:pt x="257" y="85"/>
                    <a:pt x="257" y="86"/>
                  </a:cubicBezTo>
                  <a:cubicBezTo>
                    <a:pt x="256" y="87"/>
                    <a:pt x="256" y="87"/>
                    <a:pt x="254" y="88"/>
                  </a:cubicBezTo>
                  <a:cubicBezTo>
                    <a:pt x="253" y="89"/>
                    <a:pt x="252" y="89"/>
                    <a:pt x="250" y="90"/>
                  </a:cubicBezTo>
                  <a:cubicBezTo>
                    <a:pt x="248" y="91"/>
                    <a:pt x="246" y="91"/>
                    <a:pt x="244" y="92"/>
                  </a:cubicBezTo>
                  <a:cubicBezTo>
                    <a:pt x="242" y="92"/>
                    <a:pt x="240" y="93"/>
                    <a:pt x="238" y="93"/>
                  </a:cubicBezTo>
                  <a:cubicBezTo>
                    <a:pt x="235" y="93"/>
                    <a:pt x="233" y="93"/>
                    <a:pt x="231" y="93"/>
                  </a:cubicBezTo>
                  <a:cubicBezTo>
                    <a:pt x="225" y="93"/>
                    <a:pt x="220" y="92"/>
                    <a:pt x="215" y="90"/>
                  </a:cubicBezTo>
                  <a:cubicBezTo>
                    <a:pt x="210" y="88"/>
                    <a:pt x="206" y="86"/>
                    <a:pt x="202" y="82"/>
                  </a:cubicBezTo>
                  <a:cubicBezTo>
                    <a:pt x="199" y="79"/>
                    <a:pt x="196" y="74"/>
                    <a:pt x="194" y="69"/>
                  </a:cubicBezTo>
                  <a:cubicBezTo>
                    <a:pt x="193" y="64"/>
                    <a:pt x="192" y="59"/>
                    <a:pt x="192" y="53"/>
                  </a:cubicBezTo>
                  <a:cubicBezTo>
                    <a:pt x="192" y="46"/>
                    <a:pt x="193" y="40"/>
                    <a:pt x="195" y="35"/>
                  </a:cubicBezTo>
                  <a:cubicBezTo>
                    <a:pt x="196" y="30"/>
                    <a:pt x="199" y="25"/>
                    <a:pt x="203" y="22"/>
                  </a:cubicBezTo>
                  <a:cubicBezTo>
                    <a:pt x="206" y="18"/>
                    <a:pt x="210" y="15"/>
                    <a:pt x="215" y="13"/>
                  </a:cubicBezTo>
                  <a:cubicBezTo>
                    <a:pt x="220" y="11"/>
                    <a:pt x="226" y="10"/>
                    <a:pt x="232" y="10"/>
                  </a:cubicBezTo>
                  <a:cubicBezTo>
                    <a:pt x="235" y="10"/>
                    <a:pt x="238" y="10"/>
                    <a:pt x="241" y="11"/>
                  </a:cubicBezTo>
                  <a:cubicBezTo>
                    <a:pt x="243" y="12"/>
                    <a:pt x="246" y="12"/>
                    <a:pt x="248" y="13"/>
                  </a:cubicBezTo>
                  <a:cubicBezTo>
                    <a:pt x="250" y="14"/>
                    <a:pt x="252" y="14"/>
                    <a:pt x="253" y="15"/>
                  </a:cubicBezTo>
                  <a:cubicBezTo>
                    <a:pt x="254" y="16"/>
                    <a:pt x="255" y="17"/>
                    <a:pt x="256" y="17"/>
                  </a:cubicBezTo>
                  <a:cubicBezTo>
                    <a:pt x="257" y="18"/>
                    <a:pt x="257" y="19"/>
                    <a:pt x="257" y="19"/>
                  </a:cubicBezTo>
                  <a:cubicBezTo>
                    <a:pt x="257" y="20"/>
                    <a:pt x="257" y="21"/>
                    <a:pt x="257" y="22"/>
                  </a:cubicBezTo>
                  <a:close/>
                  <a:moveTo>
                    <a:pt x="324" y="60"/>
                  </a:moveTo>
                  <a:cubicBezTo>
                    <a:pt x="324" y="62"/>
                    <a:pt x="323" y="63"/>
                    <a:pt x="322" y="64"/>
                  </a:cubicBezTo>
                  <a:cubicBezTo>
                    <a:pt x="321" y="64"/>
                    <a:pt x="321" y="65"/>
                    <a:pt x="320" y="65"/>
                  </a:cubicBezTo>
                  <a:lnTo>
                    <a:pt x="282" y="65"/>
                  </a:lnTo>
                  <a:cubicBezTo>
                    <a:pt x="282" y="68"/>
                    <a:pt x="283" y="71"/>
                    <a:pt x="283" y="73"/>
                  </a:cubicBezTo>
                  <a:cubicBezTo>
                    <a:pt x="284" y="76"/>
                    <a:pt x="285" y="78"/>
                    <a:pt x="287" y="79"/>
                  </a:cubicBezTo>
                  <a:cubicBezTo>
                    <a:pt x="288" y="81"/>
                    <a:pt x="290" y="83"/>
                    <a:pt x="292" y="84"/>
                  </a:cubicBezTo>
                  <a:cubicBezTo>
                    <a:pt x="295" y="85"/>
                    <a:pt x="297" y="85"/>
                    <a:pt x="301" y="85"/>
                  </a:cubicBezTo>
                  <a:cubicBezTo>
                    <a:pt x="304" y="85"/>
                    <a:pt x="306" y="85"/>
                    <a:pt x="308" y="84"/>
                  </a:cubicBezTo>
                  <a:cubicBezTo>
                    <a:pt x="310" y="84"/>
                    <a:pt x="312" y="83"/>
                    <a:pt x="313" y="83"/>
                  </a:cubicBezTo>
                  <a:cubicBezTo>
                    <a:pt x="315" y="82"/>
                    <a:pt x="316" y="82"/>
                    <a:pt x="317" y="81"/>
                  </a:cubicBezTo>
                  <a:cubicBezTo>
                    <a:pt x="318" y="81"/>
                    <a:pt x="319" y="81"/>
                    <a:pt x="319" y="81"/>
                  </a:cubicBezTo>
                  <a:cubicBezTo>
                    <a:pt x="320" y="81"/>
                    <a:pt x="320" y="81"/>
                    <a:pt x="320" y="81"/>
                  </a:cubicBezTo>
                  <a:cubicBezTo>
                    <a:pt x="320" y="81"/>
                    <a:pt x="321" y="81"/>
                    <a:pt x="321" y="82"/>
                  </a:cubicBezTo>
                  <a:cubicBezTo>
                    <a:pt x="321" y="82"/>
                    <a:pt x="321" y="82"/>
                    <a:pt x="321" y="83"/>
                  </a:cubicBezTo>
                  <a:cubicBezTo>
                    <a:pt x="321" y="83"/>
                    <a:pt x="321" y="84"/>
                    <a:pt x="321" y="85"/>
                  </a:cubicBezTo>
                  <a:cubicBezTo>
                    <a:pt x="321" y="85"/>
                    <a:pt x="321" y="86"/>
                    <a:pt x="321" y="86"/>
                  </a:cubicBezTo>
                  <a:cubicBezTo>
                    <a:pt x="321" y="87"/>
                    <a:pt x="321" y="87"/>
                    <a:pt x="321" y="87"/>
                  </a:cubicBezTo>
                  <a:cubicBezTo>
                    <a:pt x="321" y="88"/>
                    <a:pt x="321" y="88"/>
                    <a:pt x="321" y="88"/>
                  </a:cubicBezTo>
                  <a:cubicBezTo>
                    <a:pt x="320" y="88"/>
                    <a:pt x="320" y="89"/>
                    <a:pt x="320" y="89"/>
                  </a:cubicBezTo>
                  <a:cubicBezTo>
                    <a:pt x="320" y="89"/>
                    <a:pt x="319" y="89"/>
                    <a:pt x="318" y="90"/>
                  </a:cubicBezTo>
                  <a:cubicBezTo>
                    <a:pt x="317" y="90"/>
                    <a:pt x="315" y="91"/>
                    <a:pt x="314" y="91"/>
                  </a:cubicBezTo>
                  <a:cubicBezTo>
                    <a:pt x="312" y="92"/>
                    <a:pt x="310" y="92"/>
                    <a:pt x="307" y="93"/>
                  </a:cubicBezTo>
                  <a:cubicBezTo>
                    <a:pt x="305" y="93"/>
                    <a:pt x="303" y="93"/>
                    <a:pt x="300" y="93"/>
                  </a:cubicBezTo>
                  <a:cubicBezTo>
                    <a:pt x="295" y="93"/>
                    <a:pt x="291" y="93"/>
                    <a:pt x="288" y="91"/>
                  </a:cubicBezTo>
                  <a:cubicBezTo>
                    <a:pt x="284" y="90"/>
                    <a:pt x="281" y="88"/>
                    <a:pt x="279" y="86"/>
                  </a:cubicBezTo>
                  <a:cubicBezTo>
                    <a:pt x="277" y="83"/>
                    <a:pt x="275" y="80"/>
                    <a:pt x="274" y="76"/>
                  </a:cubicBezTo>
                  <a:cubicBezTo>
                    <a:pt x="272" y="72"/>
                    <a:pt x="272" y="68"/>
                    <a:pt x="272" y="63"/>
                  </a:cubicBezTo>
                  <a:cubicBezTo>
                    <a:pt x="272" y="58"/>
                    <a:pt x="272" y="54"/>
                    <a:pt x="274" y="50"/>
                  </a:cubicBezTo>
                  <a:cubicBezTo>
                    <a:pt x="275" y="46"/>
                    <a:pt x="277" y="43"/>
                    <a:pt x="279" y="40"/>
                  </a:cubicBezTo>
                  <a:cubicBezTo>
                    <a:pt x="281" y="37"/>
                    <a:pt x="284" y="35"/>
                    <a:pt x="288" y="34"/>
                  </a:cubicBezTo>
                  <a:cubicBezTo>
                    <a:pt x="291" y="32"/>
                    <a:pt x="295" y="32"/>
                    <a:pt x="299" y="32"/>
                  </a:cubicBezTo>
                  <a:cubicBezTo>
                    <a:pt x="303" y="32"/>
                    <a:pt x="307" y="32"/>
                    <a:pt x="310" y="34"/>
                  </a:cubicBezTo>
                  <a:cubicBezTo>
                    <a:pt x="313" y="35"/>
                    <a:pt x="316" y="37"/>
                    <a:pt x="318" y="39"/>
                  </a:cubicBezTo>
                  <a:cubicBezTo>
                    <a:pt x="320" y="42"/>
                    <a:pt x="321" y="45"/>
                    <a:pt x="322" y="48"/>
                  </a:cubicBezTo>
                  <a:cubicBezTo>
                    <a:pt x="323" y="51"/>
                    <a:pt x="324" y="55"/>
                    <a:pt x="324" y="58"/>
                  </a:cubicBezTo>
                  <a:lnTo>
                    <a:pt x="324" y="60"/>
                  </a:lnTo>
                  <a:close/>
                  <a:moveTo>
                    <a:pt x="313" y="57"/>
                  </a:moveTo>
                  <a:cubicBezTo>
                    <a:pt x="313" y="52"/>
                    <a:pt x="312" y="47"/>
                    <a:pt x="310" y="44"/>
                  </a:cubicBezTo>
                  <a:cubicBezTo>
                    <a:pt x="307" y="41"/>
                    <a:pt x="303" y="40"/>
                    <a:pt x="298" y="40"/>
                  </a:cubicBezTo>
                  <a:cubicBezTo>
                    <a:pt x="296" y="40"/>
                    <a:pt x="293" y="40"/>
                    <a:pt x="292" y="41"/>
                  </a:cubicBezTo>
                  <a:cubicBezTo>
                    <a:pt x="290" y="42"/>
                    <a:pt x="288" y="43"/>
                    <a:pt x="287" y="45"/>
                  </a:cubicBezTo>
                  <a:cubicBezTo>
                    <a:pt x="285" y="46"/>
                    <a:pt x="284" y="48"/>
                    <a:pt x="284" y="50"/>
                  </a:cubicBezTo>
                  <a:cubicBezTo>
                    <a:pt x="283" y="53"/>
                    <a:pt x="283" y="55"/>
                    <a:pt x="282" y="57"/>
                  </a:cubicBezTo>
                  <a:lnTo>
                    <a:pt x="313" y="57"/>
                  </a:lnTo>
                  <a:close/>
                  <a:moveTo>
                    <a:pt x="388" y="91"/>
                  </a:moveTo>
                  <a:cubicBezTo>
                    <a:pt x="388" y="91"/>
                    <a:pt x="388" y="91"/>
                    <a:pt x="388" y="91"/>
                  </a:cubicBezTo>
                  <a:cubicBezTo>
                    <a:pt x="388" y="92"/>
                    <a:pt x="387" y="92"/>
                    <a:pt x="387" y="92"/>
                  </a:cubicBezTo>
                  <a:cubicBezTo>
                    <a:pt x="387" y="92"/>
                    <a:pt x="386" y="92"/>
                    <a:pt x="385" y="92"/>
                  </a:cubicBezTo>
                  <a:cubicBezTo>
                    <a:pt x="385" y="93"/>
                    <a:pt x="384" y="93"/>
                    <a:pt x="383" y="93"/>
                  </a:cubicBezTo>
                  <a:cubicBezTo>
                    <a:pt x="382" y="93"/>
                    <a:pt x="381" y="93"/>
                    <a:pt x="380" y="92"/>
                  </a:cubicBezTo>
                  <a:cubicBezTo>
                    <a:pt x="380" y="92"/>
                    <a:pt x="379" y="92"/>
                    <a:pt x="379" y="92"/>
                  </a:cubicBezTo>
                  <a:cubicBezTo>
                    <a:pt x="378" y="92"/>
                    <a:pt x="378" y="92"/>
                    <a:pt x="378" y="91"/>
                  </a:cubicBezTo>
                  <a:cubicBezTo>
                    <a:pt x="378" y="91"/>
                    <a:pt x="378" y="91"/>
                    <a:pt x="378" y="91"/>
                  </a:cubicBezTo>
                  <a:lnTo>
                    <a:pt x="378" y="58"/>
                  </a:lnTo>
                  <a:cubicBezTo>
                    <a:pt x="378" y="55"/>
                    <a:pt x="377" y="52"/>
                    <a:pt x="377" y="50"/>
                  </a:cubicBezTo>
                  <a:cubicBezTo>
                    <a:pt x="376" y="48"/>
                    <a:pt x="376" y="46"/>
                    <a:pt x="375" y="45"/>
                  </a:cubicBezTo>
                  <a:cubicBezTo>
                    <a:pt x="374" y="43"/>
                    <a:pt x="373" y="42"/>
                    <a:pt x="371" y="42"/>
                  </a:cubicBezTo>
                  <a:cubicBezTo>
                    <a:pt x="369" y="41"/>
                    <a:pt x="368" y="41"/>
                    <a:pt x="366" y="41"/>
                  </a:cubicBezTo>
                  <a:cubicBezTo>
                    <a:pt x="363" y="41"/>
                    <a:pt x="361" y="41"/>
                    <a:pt x="358" y="43"/>
                  </a:cubicBezTo>
                  <a:cubicBezTo>
                    <a:pt x="355" y="45"/>
                    <a:pt x="353" y="48"/>
                    <a:pt x="350" y="51"/>
                  </a:cubicBezTo>
                  <a:lnTo>
                    <a:pt x="350" y="91"/>
                  </a:lnTo>
                  <a:cubicBezTo>
                    <a:pt x="350" y="91"/>
                    <a:pt x="350" y="91"/>
                    <a:pt x="350" y="91"/>
                  </a:cubicBezTo>
                  <a:cubicBezTo>
                    <a:pt x="349" y="92"/>
                    <a:pt x="349" y="92"/>
                    <a:pt x="349" y="92"/>
                  </a:cubicBezTo>
                  <a:cubicBezTo>
                    <a:pt x="348" y="92"/>
                    <a:pt x="348" y="92"/>
                    <a:pt x="347" y="92"/>
                  </a:cubicBezTo>
                  <a:cubicBezTo>
                    <a:pt x="347" y="93"/>
                    <a:pt x="346" y="93"/>
                    <a:pt x="345" y="93"/>
                  </a:cubicBezTo>
                  <a:cubicBezTo>
                    <a:pt x="344" y="93"/>
                    <a:pt x="343" y="93"/>
                    <a:pt x="342" y="92"/>
                  </a:cubicBezTo>
                  <a:cubicBezTo>
                    <a:pt x="341" y="92"/>
                    <a:pt x="341" y="92"/>
                    <a:pt x="341" y="92"/>
                  </a:cubicBezTo>
                  <a:cubicBezTo>
                    <a:pt x="340" y="92"/>
                    <a:pt x="340" y="92"/>
                    <a:pt x="340" y="91"/>
                  </a:cubicBezTo>
                  <a:cubicBezTo>
                    <a:pt x="340" y="91"/>
                    <a:pt x="340" y="91"/>
                    <a:pt x="340" y="91"/>
                  </a:cubicBezTo>
                  <a:lnTo>
                    <a:pt x="340" y="34"/>
                  </a:lnTo>
                  <a:cubicBezTo>
                    <a:pt x="340" y="34"/>
                    <a:pt x="340" y="34"/>
                    <a:pt x="340" y="34"/>
                  </a:cubicBezTo>
                  <a:cubicBezTo>
                    <a:pt x="340" y="33"/>
                    <a:pt x="340" y="33"/>
                    <a:pt x="340" y="33"/>
                  </a:cubicBezTo>
                  <a:cubicBezTo>
                    <a:pt x="341" y="33"/>
                    <a:pt x="341" y="33"/>
                    <a:pt x="342" y="33"/>
                  </a:cubicBezTo>
                  <a:cubicBezTo>
                    <a:pt x="342" y="32"/>
                    <a:pt x="343" y="32"/>
                    <a:pt x="344" y="32"/>
                  </a:cubicBezTo>
                  <a:cubicBezTo>
                    <a:pt x="345" y="32"/>
                    <a:pt x="346" y="32"/>
                    <a:pt x="346" y="33"/>
                  </a:cubicBezTo>
                  <a:cubicBezTo>
                    <a:pt x="347" y="33"/>
                    <a:pt x="348" y="33"/>
                    <a:pt x="348" y="33"/>
                  </a:cubicBezTo>
                  <a:cubicBezTo>
                    <a:pt x="348" y="33"/>
                    <a:pt x="348" y="33"/>
                    <a:pt x="349" y="34"/>
                  </a:cubicBezTo>
                  <a:cubicBezTo>
                    <a:pt x="349" y="34"/>
                    <a:pt x="349" y="34"/>
                    <a:pt x="349" y="34"/>
                  </a:cubicBezTo>
                  <a:lnTo>
                    <a:pt x="349" y="42"/>
                  </a:lnTo>
                  <a:cubicBezTo>
                    <a:pt x="352" y="38"/>
                    <a:pt x="355" y="36"/>
                    <a:pt x="358" y="34"/>
                  </a:cubicBezTo>
                  <a:cubicBezTo>
                    <a:pt x="361" y="32"/>
                    <a:pt x="365" y="32"/>
                    <a:pt x="368" y="32"/>
                  </a:cubicBezTo>
                  <a:cubicBezTo>
                    <a:pt x="372" y="32"/>
                    <a:pt x="375" y="32"/>
                    <a:pt x="377" y="33"/>
                  </a:cubicBezTo>
                  <a:cubicBezTo>
                    <a:pt x="380" y="35"/>
                    <a:pt x="382" y="36"/>
                    <a:pt x="384" y="39"/>
                  </a:cubicBezTo>
                  <a:cubicBezTo>
                    <a:pt x="385" y="41"/>
                    <a:pt x="386" y="43"/>
                    <a:pt x="387" y="46"/>
                  </a:cubicBezTo>
                  <a:cubicBezTo>
                    <a:pt x="388" y="49"/>
                    <a:pt x="388" y="52"/>
                    <a:pt x="388" y="56"/>
                  </a:cubicBezTo>
                  <a:lnTo>
                    <a:pt x="388" y="91"/>
                  </a:lnTo>
                  <a:close/>
                  <a:moveTo>
                    <a:pt x="436" y="38"/>
                  </a:moveTo>
                  <a:cubicBezTo>
                    <a:pt x="436" y="39"/>
                    <a:pt x="436" y="40"/>
                    <a:pt x="436" y="40"/>
                  </a:cubicBezTo>
                  <a:cubicBezTo>
                    <a:pt x="436" y="41"/>
                    <a:pt x="436" y="42"/>
                    <a:pt x="436" y="42"/>
                  </a:cubicBezTo>
                  <a:cubicBezTo>
                    <a:pt x="436" y="42"/>
                    <a:pt x="436" y="42"/>
                    <a:pt x="436" y="43"/>
                  </a:cubicBezTo>
                  <a:cubicBezTo>
                    <a:pt x="435" y="43"/>
                    <a:pt x="435" y="43"/>
                    <a:pt x="435" y="43"/>
                  </a:cubicBezTo>
                  <a:cubicBezTo>
                    <a:pt x="435" y="43"/>
                    <a:pt x="434" y="43"/>
                    <a:pt x="434" y="43"/>
                  </a:cubicBezTo>
                  <a:cubicBezTo>
                    <a:pt x="433" y="42"/>
                    <a:pt x="433" y="42"/>
                    <a:pt x="432" y="42"/>
                  </a:cubicBezTo>
                  <a:cubicBezTo>
                    <a:pt x="431" y="42"/>
                    <a:pt x="431" y="42"/>
                    <a:pt x="430" y="42"/>
                  </a:cubicBezTo>
                  <a:cubicBezTo>
                    <a:pt x="429" y="41"/>
                    <a:pt x="428" y="41"/>
                    <a:pt x="428" y="41"/>
                  </a:cubicBezTo>
                  <a:cubicBezTo>
                    <a:pt x="426" y="41"/>
                    <a:pt x="425" y="42"/>
                    <a:pt x="424" y="42"/>
                  </a:cubicBezTo>
                  <a:cubicBezTo>
                    <a:pt x="423" y="42"/>
                    <a:pt x="422" y="43"/>
                    <a:pt x="421" y="44"/>
                  </a:cubicBezTo>
                  <a:cubicBezTo>
                    <a:pt x="420" y="45"/>
                    <a:pt x="419" y="46"/>
                    <a:pt x="418" y="48"/>
                  </a:cubicBezTo>
                  <a:cubicBezTo>
                    <a:pt x="417" y="49"/>
                    <a:pt x="415" y="51"/>
                    <a:pt x="414" y="54"/>
                  </a:cubicBezTo>
                  <a:lnTo>
                    <a:pt x="414" y="91"/>
                  </a:lnTo>
                  <a:cubicBezTo>
                    <a:pt x="414" y="91"/>
                    <a:pt x="414" y="91"/>
                    <a:pt x="414" y="91"/>
                  </a:cubicBezTo>
                  <a:cubicBezTo>
                    <a:pt x="413" y="92"/>
                    <a:pt x="413" y="92"/>
                    <a:pt x="413" y="92"/>
                  </a:cubicBezTo>
                  <a:cubicBezTo>
                    <a:pt x="412" y="92"/>
                    <a:pt x="412" y="92"/>
                    <a:pt x="411" y="92"/>
                  </a:cubicBezTo>
                  <a:cubicBezTo>
                    <a:pt x="411" y="93"/>
                    <a:pt x="410" y="93"/>
                    <a:pt x="409" y="93"/>
                  </a:cubicBezTo>
                  <a:cubicBezTo>
                    <a:pt x="408" y="93"/>
                    <a:pt x="407" y="93"/>
                    <a:pt x="406" y="92"/>
                  </a:cubicBezTo>
                  <a:cubicBezTo>
                    <a:pt x="405" y="92"/>
                    <a:pt x="405" y="92"/>
                    <a:pt x="405" y="92"/>
                  </a:cubicBezTo>
                  <a:cubicBezTo>
                    <a:pt x="404" y="92"/>
                    <a:pt x="404" y="92"/>
                    <a:pt x="404" y="91"/>
                  </a:cubicBezTo>
                  <a:cubicBezTo>
                    <a:pt x="404" y="91"/>
                    <a:pt x="404" y="91"/>
                    <a:pt x="404" y="91"/>
                  </a:cubicBezTo>
                  <a:lnTo>
                    <a:pt x="404" y="34"/>
                  </a:lnTo>
                  <a:cubicBezTo>
                    <a:pt x="404" y="34"/>
                    <a:pt x="404" y="34"/>
                    <a:pt x="404" y="34"/>
                  </a:cubicBezTo>
                  <a:cubicBezTo>
                    <a:pt x="404" y="33"/>
                    <a:pt x="404" y="33"/>
                    <a:pt x="404" y="33"/>
                  </a:cubicBezTo>
                  <a:cubicBezTo>
                    <a:pt x="405" y="33"/>
                    <a:pt x="405" y="33"/>
                    <a:pt x="406" y="33"/>
                  </a:cubicBezTo>
                  <a:cubicBezTo>
                    <a:pt x="406" y="32"/>
                    <a:pt x="407" y="32"/>
                    <a:pt x="408" y="32"/>
                  </a:cubicBezTo>
                  <a:cubicBezTo>
                    <a:pt x="409" y="32"/>
                    <a:pt x="410" y="32"/>
                    <a:pt x="410" y="33"/>
                  </a:cubicBezTo>
                  <a:cubicBezTo>
                    <a:pt x="411" y="33"/>
                    <a:pt x="412" y="33"/>
                    <a:pt x="412" y="33"/>
                  </a:cubicBezTo>
                  <a:cubicBezTo>
                    <a:pt x="412" y="33"/>
                    <a:pt x="412" y="33"/>
                    <a:pt x="413" y="34"/>
                  </a:cubicBezTo>
                  <a:cubicBezTo>
                    <a:pt x="413" y="34"/>
                    <a:pt x="413" y="34"/>
                    <a:pt x="413" y="34"/>
                  </a:cubicBezTo>
                  <a:lnTo>
                    <a:pt x="413" y="43"/>
                  </a:lnTo>
                  <a:cubicBezTo>
                    <a:pt x="414" y="40"/>
                    <a:pt x="416" y="39"/>
                    <a:pt x="417" y="37"/>
                  </a:cubicBezTo>
                  <a:cubicBezTo>
                    <a:pt x="419" y="36"/>
                    <a:pt x="420" y="35"/>
                    <a:pt x="421" y="34"/>
                  </a:cubicBezTo>
                  <a:cubicBezTo>
                    <a:pt x="422" y="33"/>
                    <a:pt x="423" y="32"/>
                    <a:pt x="425" y="32"/>
                  </a:cubicBezTo>
                  <a:cubicBezTo>
                    <a:pt x="426" y="32"/>
                    <a:pt x="427" y="32"/>
                    <a:pt x="428" y="32"/>
                  </a:cubicBezTo>
                  <a:cubicBezTo>
                    <a:pt x="429" y="32"/>
                    <a:pt x="429" y="32"/>
                    <a:pt x="430" y="32"/>
                  </a:cubicBezTo>
                  <a:cubicBezTo>
                    <a:pt x="431" y="32"/>
                    <a:pt x="431" y="32"/>
                    <a:pt x="432" y="32"/>
                  </a:cubicBezTo>
                  <a:cubicBezTo>
                    <a:pt x="433" y="32"/>
                    <a:pt x="434" y="32"/>
                    <a:pt x="434" y="33"/>
                  </a:cubicBezTo>
                  <a:cubicBezTo>
                    <a:pt x="435" y="33"/>
                    <a:pt x="435" y="33"/>
                    <a:pt x="436" y="33"/>
                  </a:cubicBezTo>
                  <a:cubicBezTo>
                    <a:pt x="436" y="33"/>
                    <a:pt x="436" y="34"/>
                    <a:pt x="436" y="34"/>
                  </a:cubicBezTo>
                  <a:cubicBezTo>
                    <a:pt x="436" y="34"/>
                    <a:pt x="436" y="34"/>
                    <a:pt x="436" y="35"/>
                  </a:cubicBezTo>
                  <a:cubicBezTo>
                    <a:pt x="436" y="35"/>
                    <a:pt x="436" y="35"/>
                    <a:pt x="436" y="36"/>
                  </a:cubicBezTo>
                  <a:cubicBezTo>
                    <a:pt x="436" y="36"/>
                    <a:pt x="436" y="37"/>
                    <a:pt x="436" y="38"/>
                  </a:cubicBezTo>
                  <a:close/>
                  <a:moveTo>
                    <a:pt x="500" y="60"/>
                  </a:moveTo>
                  <a:cubicBezTo>
                    <a:pt x="500" y="62"/>
                    <a:pt x="499" y="63"/>
                    <a:pt x="498" y="64"/>
                  </a:cubicBezTo>
                  <a:cubicBezTo>
                    <a:pt x="497" y="64"/>
                    <a:pt x="497" y="65"/>
                    <a:pt x="496" y="65"/>
                  </a:cubicBezTo>
                  <a:lnTo>
                    <a:pt x="458" y="65"/>
                  </a:lnTo>
                  <a:cubicBezTo>
                    <a:pt x="458" y="68"/>
                    <a:pt x="459" y="71"/>
                    <a:pt x="459" y="73"/>
                  </a:cubicBezTo>
                  <a:cubicBezTo>
                    <a:pt x="460" y="76"/>
                    <a:pt x="461" y="78"/>
                    <a:pt x="463" y="79"/>
                  </a:cubicBezTo>
                  <a:cubicBezTo>
                    <a:pt x="464" y="81"/>
                    <a:pt x="466" y="83"/>
                    <a:pt x="468" y="84"/>
                  </a:cubicBezTo>
                  <a:cubicBezTo>
                    <a:pt x="471" y="85"/>
                    <a:pt x="473" y="85"/>
                    <a:pt x="477" y="85"/>
                  </a:cubicBezTo>
                  <a:cubicBezTo>
                    <a:pt x="480" y="85"/>
                    <a:pt x="482" y="85"/>
                    <a:pt x="484" y="84"/>
                  </a:cubicBezTo>
                  <a:cubicBezTo>
                    <a:pt x="486" y="84"/>
                    <a:pt x="488" y="83"/>
                    <a:pt x="489" y="83"/>
                  </a:cubicBezTo>
                  <a:cubicBezTo>
                    <a:pt x="491" y="82"/>
                    <a:pt x="492" y="82"/>
                    <a:pt x="493" y="81"/>
                  </a:cubicBezTo>
                  <a:cubicBezTo>
                    <a:pt x="494" y="81"/>
                    <a:pt x="495" y="81"/>
                    <a:pt x="495" y="81"/>
                  </a:cubicBezTo>
                  <a:cubicBezTo>
                    <a:pt x="496" y="81"/>
                    <a:pt x="496" y="81"/>
                    <a:pt x="496" y="81"/>
                  </a:cubicBezTo>
                  <a:cubicBezTo>
                    <a:pt x="496" y="81"/>
                    <a:pt x="497" y="81"/>
                    <a:pt x="497" y="82"/>
                  </a:cubicBezTo>
                  <a:cubicBezTo>
                    <a:pt x="497" y="82"/>
                    <a:pt x="497" y="82"/>
                    <a:pt x="497" y="83"/>
                  </a:cubicBezTo>
                  <a:cubicBezTo>
                    <a:pt x="497" y="83"/>
                    <a:pt x="497" y="84"/>
                    <a:pt x="497" y="85"/>
                  </a:cubicBezTo>
                  <a:cubicBezTo>
                    <a:pt x="497" y="85"/>
                    <a:pt x="497" y="86"/>
                    <a:pt x="497" y="86"/>
                  </a:cubicBezTo>
                  <a:cubicBezTo>
                    <a:pt x="497" y="87"/>
                    <a:pt x="497" y="87"/>
                    <a:pt x="497" y="87"/>
                  </a:cubicBezTo>
                  <a:cubicBezTo>
                    <a:pt x="497" y="88"/>
                    <a:pt x="497" y="88"/>
                    <a:pt x="497" y="88"/>
                  </a:cubicBezTo>
                  <a:cubicBezTo>
                    <a:pt x="496" y="88"/>
                    <a:pt x="496" y="89"/>
                    <a:pt x="496" y="89"/>
                  </a:cubicBezTo>
                  <a:cubicBezTo>
                    <a:pt x="496" y="89"/>
                    <a:pt x="495" y="89"/>
                    <a:pt x="494" y="90"/>
                  </a:cubicBezTo>
                  <a:cubicBezTo>
                    <a:pt x="493" y="90"/>
                    <a:pt x="491" y="91"/>
                    <a:pt x="490" y="91"/>
                  </a:cubicBezTo>
                  <a:cubicBezTo>
                    <a:pt x="488" y="92"/>
                    <a:pt x="486" y="92"/>
                    <a:pt x="483" y="93"/>
                  </a:cubicBezTo>
                  <a:cubicBezTo>
                    <a:pt x="481" y="93"/>
                    <a:pt x="479" y="93"/>
                    <a:pt x="476" y="93"/>
                  </a:cubicBezTo>
                  <a:cubicBezTo>
                    <a:pt x="471" y="93"/>
                    <a:pt x="467" y="93"/>
                    <a:pt x="464" y="91"/>
                  </a:cubicBezTo>
                  <a:cubicBezTo>
                    <a:pt x="460" y="90"/>
                    <a:pt x="457" y="88"/>
                    <a:pt x="455" y="86"/>
                  </a:cubicBezTo>
                  <a:cubicBezTo>
                    <a:pt x="453" y="83"/>
                    <a:pt x="451" y="80"/>
                    <a:pt x="450" y="76"/>
                  </a:cubicBezTo>
                  <a:cubicBezTo>
                    <a:pt x="448" y="72"/>
                    <a:pt x="448" y="68"/>
                    <a:pt x="448" y="63"/>
                  </a:cubicBezTo>
                  <a:cubicBezTo>
                    <a:pt x="448" y="58"/>
                    <a:pt x="448" y="54"/>
                    <a:pt x="450" y="50"/>
                  </a:cubicBezTo>
                  <a:cubicBezTo>
                    <a:pt x="451" y="46"/>
                    <a:pt x="453" y="43"/>
                    <a:pt x="455" y="40"/>
                  </a:cubicBezTo>
                  <a:cubicBezTo>
                    <a:pt x="457" y="37"/>
                    <a:pt x="460" y="35"/>
                    <a:pt x="464" y="34"/>
                  </a:cubicBezTo>
                  <a:cubicBezTo>
                    <a:pt x="467" y="32"/>
                    <a:pt x="471" y="32"/>
                    <a:pt x="475" y="32"/>
                  </a:cubicBezTo>
                  <a:cubicBezTo>
                    <a:pt x="479" y="32"/>
                    <a:pt x="483" y="32"/>
                    <a:pt x="486" y="34"/>
                  </a:cubicBezTo>
                  <a:cubicBezTo>
                    <a:pt x="489" y="35"/>
                    <a:pt x="492" y="37"/>
                    <a:pt x="494" y="39"/>
                  </a:cubicBezTo>
                  <a:cubicBezTo>
                    <a:pt x="496" y="42"/>
                    <a:pt x="497" y="45"/>
                    <a:pt x="498" y="48"/>
                  </a:cubicBezTo>
                  <a:cubicBezTo>
                    <a:pt x="499" y="51"/>
                    <a:pt x="500" y="55"/>
                    <a:pt x="500" y="58"/>
                  </a:cubicBezTo>
                  <a:lnTo>
                    <a:pt x="500" y="60"/>
                  </a:lnTo>
                  <a:close/>
                  <a:moveTo>
                    <a:pt x="489" y="57"/>
                  </a:moveTo>
                  <a:cubicBezTo>
                    <a:pt x="489" y="52"/>
                    <a:pt x="488" y="47"/>
                    <a:pt x="486" y="44"/>
                  </a:cubicBezTo>
                  <a:cubicBezTo>
                    <a:pt x="483" y="41"/>
                    <a:pt x="479" y="40"/>
                    <a:pt x="474" y="40"/>
                  </a:cubicBezTo>
                  <a:cubicBezTo>
                    <a:pt x="472" y="40"/>
                    <a:pt x="469" y="40"/>
                    <a:pt x="468" y="41"/>
                  </a:cubicBezTo>
                  <a:cubicBezTo>
                    <a:pt x="466" y="42"/>
                    <a:pt x="464" y="43"/>
                    <a:pt x="463" y="45"/>
                  </a:cubicBezTo>
                  <a:cubicBezTo>
                    <a:pt x="461" y="46"/>
                    <a:pt x="460" y="48"/>
                    <a:pt x="460" y="50"/>
                  </a:cubicBezTo>
                  <a:cubicBezTo>
                    <a:pt x="459" y="53"/>
                    <a:pt x="459" y="55"/>
                    <a:pt x="458" y="57"/>
                  </a:cubicBezTo>
                  <a:lnTo>
                    <a:pt x="489" y="57"/>
                  </a:lnTo>
                  <a:close/>
                  <a:moveTo>
                    <a:pt x="551" y="75"/>
                  </a:moveTo>
                  <a:cubicBezTo>
                    <a:pt x="551" y="78"/>
                    <a:pt x="550" y="81"/>
                    <a:pt x="549" y="83"/>
                  </a:cubicBezTo>
                  <a:cubicBezTo>
                    <a:pt x="548" y="85"/>
                    <a:pt x="547" y="87"/>
                    <a:pt x="545" y="89"/>
                  </a:cubicBezTo>
                  <a:cubicBezTo>
                    <a:pt x="543" y="90"/>
                    <a:pt x="540" y="91"/>
                    <a:pt x="538" y="92"/>
                  </a:cubicBezTo>
                  <a:cubicBezTo>
                    <a:pt x="535" y="93"/>
                    <a:pt x="532" y="93"/>
                    <a:pt x="529" y="93"/>
                  </a:cubicBezTo>
                  <a:cubicBezTo>
                    <a:pt x="527" y="93"/>
                    <a:pt x="525" y="93"/>
                    <a:pt x="523" y="93"/>
                  </a:cubicBezTo>
                  <a:cubicBezTo>
                    <a:pt x="521" y="93"/>
                    <a:pt x="520" y="92"/>
                    <a:pt x="518" y="92"/>
                  </a:cubicBezTo>
                  <a:cubicBezTo>
                    <a:pt x="517" y="91"/>
                    <a:pt x="516" y="91"/>
                    <a:pt x="515" y="90"/>
                  </a:cubicBezTo>
                  <a:cubicBezTo>
                    <a:pt x="514" y="90"/>
                    <a:pt x="513" y="89"/>
                    <a:pt x="512" y="89"/>
                  </a:cubicBezTo>
                  <a:cubicBezTo>
                    <a:pt x="512" y="88"/>
                    <a:pt x="512" y="88"/>
                    <a:pt x="511" y="87"/>
                  </a:cubicBezTo>
                  <a:cubicBezTo>
                    <a:pt x="511" y="86"/>
                    <a:pt x="511" y="85"/>
                    <a:pt x="511" y="84"/>
                  </a:cubicBezTo>
                  <a:cubicBezTo>
                    <a:pt x="511" y="83"/>
                    <a:pt x="511" y="83"/>
                    <a:pt x="511" y="82"/>
                  </a:cubicBezTo>
                  <a:cubicBezTo>
                    <a:pt x="511" y="81"/>
                    <a:pt x="511" y="81"/>
                    <a:pt x="511" y="81"/>
                  </a:cubicBezTo>
                  <a:cubicBezTo>
                    <a:pt x="512" y="80"/>
                    <a:pt x="512" y="80"/>
                    <a:pt x="512" y="80"/>
                  </a:cubicBezTo>
                  <a:cubicBezTo>
                    <a:pt x="512" y="80"/>
                    <a:pt x="512" y="80"/>
                    <a:pt x="513" y="80"/>
                  </a:cubicBezTo>
                  <a:cubicBezTo>
                    <a:pt x="513" y="80"/>
                    <a:pt x="514" y="80"/>
                    <a:pt x="515" y="81"/>
                  </a:cubicBezTo>
                  <a:cubicBezTo>
                    <a:pt x="516" y="81"/>
                    <a:pt x="517" y="82"/>
                    <a:pt x="518" y="82"/>
                  </a:cubicBezTo>
                  <a:cubicBezTo>
                    <a:pt x="519" y="83"/>
                    <a:pt x="521" y="84"/>
                    <a:pt x="523" y="84"/>
                  </a:cubicBezTo>
                  <a:cubicBezTo>
                    <a:pt x="525" y="85"/>
                    <a:pt x="527" y="85"/>
                    <a:pt x="529" y="85"/>
                  </a:cubicBezTo>
                  <a:cubicBezTo>
                    <a:pt x="531" y="85"/>
                    <a:pt x="532" y="85"/>
                    <a:pt x="534" y="85"/>
                  </a:cubicBezTo>
                  <a:cubicBezTo>
                    <a:pt x="535" y="84"/>
                    <a:pt x="536" y="84"/>
                    <a:pt x="537" y="83"/>
                  </a:cubicBezTo>
                  <a:cubicBezTo>
                    <a:pt x="538" y="82"/>
                    <a:pt x="539" y="81"/>
                    <a:pt x="540" y="80"/>
                  </a:cubicBezTo>
                  <a:cubicBezTo>
                    <a:pt x="540" y="79"/>
                    <a:pt x="541" y="78"/>
                    <a:pt x="541" y="76"/>
                  </a:cubicBezTo>
                  <a:cubicBezTo>
                    <a:pt x="541" y="75"/>
                    <a:pt x="540" y="73"/>
                    <a:pt x="539" y="72"/>
                  </a:cubicBezTo>
                  <a:cubicBezTo>
                    <a:pt x="539" y="71"/>
                    <a:pt x="538" y="70"/>
                    <a:pt x="536" y="69"/>
                  </a:cubicBezTo>
                  <a:cubicBezTo>
                    <a:pt x="535" y="68"/>
                    <a:pt x="533" y="68"/>
                    <a:pt x="532" y="67"/>
                  </a:cubicBezTo>
                  <a:cubicBezTo>
                    <a:pt x="530" y="66"/>
                    <a:pt x="528" y="66"/>
                    <a:pt x="527" y="65"/>
                  </a:cubicBezTo>
                  <a:cubicBezTo>
                    <a:pt x="525" y="64"/>
                    <a:pt x="523" y="64"/>
                    <a:pt x="521" y="63"/>
                  </a:cubicBezTo>
                  <a:cubicBezTo>
                    <a:pt x="520" y="62"/>
                    <a:pt x="518" y="61"/>
                    <a:pt x="517" y="59"/>
                  </a:cubicBezTo>
                  <a:cubicBezTo>
                    <a:pt x="516" y="58"/>
                    <a:pt x="514" y="57"/>
                    <a:pt x="514" y="55"/>
                  </a:cubicBezTo>
                  <a:cubicBezTo>
                    <a:pt x="513" y="53"/>
                    <a:pt x="512" y="51"/>
                    <a:pt x="512" y="48"/>
                  </a:cubicBezTo>
                  <a:cubicBezTo>
                    <a:pt x="512" y="46"/>
                    <a:pt x="513" y="44"/>
                    <a:pt x="514" y="42"/>
                  </a:cubicBezTo>
                  <a:cubicBezTo>
                    <a:pt x="515" y="40"/>
                    <a:pt x="516" y="38"/>
                    <a:pt x="518" y="37"/>
                  </a:cubicBezTo>
                  <a:cubicBezTo>
                    <a:pt x="519" y="35"/>
                    <a:pt x="521" y="34"/>
                    <a:pt x="524" y="33"/>
                  </a:cubicBezTo>
                  <a:cubicBezTo>
                    <a:pt x="526" y="32"/>
                    <a:pt x="529" y="32"/>
                    <a:pt x="533" y="32"/>
                  </a:cubicBezTo>
                  <a:cubicBezTo>
                    <a:pt x="534" y="32"/>
                    <a:pt x="536" y="32"/>
                    <a:pt x="537" y="32"/>
                  </a:cubicBezTo>
                  <a:cubicBezTo>
                    <a:pt x="539" y="32"/>
                    <a:pt x="540" y="33"/>
                    <a:pt x="541" y="33"/>
                  </a:cubicBezTo>
                  <a:cubicBezTo>
                    <a:pt x="543" y="33"/>
                    <a:pt x="544" y="34"/>
                    <a:pt x="545" y="34"/>
                  </a:cubicBezTo>
                  <a:cubicBezTo>
                    <a:pt x="545" y="35"/>
                    <a:pt x="546" y="35"/>
                    <a:pt x="546" y="35"/>
                  </a:cubicBezTo>
                  <a:cubicBezTo>
                    <a:pt x="547" y="36"/>
                    <a:pt x="547" y="36"/>
                    <a:pt x="547" y="36"/>
                  </a:cubicBezTo>
                  <a:cubicBezTo>
                    <a:pt x="548" y="36"/>
                    <a:pt x="548" y="37"/>
                    <a:pt x="548" y="37"/>
                  </a:cubicBezTo>
                  <a:cubicBezTo>
                    <a:pt x="548" y="37"/>
                    <a:pt x="548" y="38"/>
                    <a:pt x="548" y="38"/>
                  </a:cubicBezTo>
                  <a:cubicBezTo>
                    <a:pt x="548" y="39"/>
                    <a:pt x="548" y="39"/>
                    <a:pt x="548" y="40"/>
                  </a:cubicBezTo>
                  <a:cubicBezTo>
                    <a:pt x="548" y="41"/>
                    <a:pt x="548" y="41"/>
                    <a:pt x="548" y="42"/>
                  </a:cubicBezTo>
                  <a:cubicBezTo>
                    <a:pt x="548" y="42"/>
                    <a:pt x="548" y="43"/>
                    <a:pt x="548" y="43"/>
                  </a:cubicBezTo>
                  <a:cubicBezTo>
                    <a:pt x="547" y="43"/>
                    <a:pt x="547" y="44"/>
                    <a:pt x="547" y="44"/>
                  </a:cubicBezTo>
                  <a:cubicBezTo>
                    <a:pt x="547" y="44"/>
                    <a:pt x="547" y="44"/>
                    <a:pt x="546" y="44"/>
                  </a:cubicBezTo>
                  <a:cubicBezTo>
                    <a:pt x="546" y="44"/>
                    <a:pt x="545" y="44"/>
                    <a:pt x="545" y="43"/>
                  </a:cubicBezTo>
                  <a:cubicBezTo>
                    <a:pt x="544" y="43"/>
                    <a:pt x="543" y="42"/>
                    <a:pt x="542" y="42"/>
                  </a:cubicBezTo>
                  <a:cubicBezTo>
                    <a:pt x="541" y="41"/>
                    <a:pt x="540" y="41"/>
                    <a:pt x="538" y="40"/>
                  </a:cubicBezTo>
                  <a:cubicBezTo>
                    <a:pt x="536" y="40"/>
                    <a:pt x="535" y="40"/>
                    <a:pt x="533" y="40"/>
                  </a:cubicBezTo>
                  <a:cubicBezTo>
                    <a:pt x="531" y="40"/>
                    <a:pt x="529" y="40"/>
                    <a:pt x="528" y="40"/>
                  </a:cubicBezTo>
                  <a:cubicBezTo>
                    <a:pt x="527" y="41"/>
                    <a:pt x="526" y="41"/>
                    <a:pt x="525" y="42"/>
                  </a:cubicBezTo>
                  <a:cubicBezTo>
                    <a:pt x="524" y="43"/>
                    <a:pt x="523" y="43"/>
                    <a:pt x="523" y="44"/>
                  </a:cubicBezTo>
                  <a:cubicBezTo>
                    <a:pt x="522" y="45"/>
                    <a:pt x="522" y="47"/>
                    <a:pt x="522" y="48"/>
                  </a:cubicBezTo>
                  <a:cubicBezTo>
                    <a:pt x="522" y="49"/>
                    <a:pt x="523" y="51"/>
                    <a:pt x="524" y="52"/>
                  </a:cubicBezTo>
                  <a:cubicBezTo>
                    <a:pt x="524" y="53"/>
                    <a:pt x="525" y="54"/>
                    <a:pt x="527" y="55"/>
                  </a:cubicBezTo>
                  <a:cubicBezTo>
                    <a:pt x="528" y="56"/>
                    <a:pt x="530" y="56"/>
                    <a:pt x="531" y="57"/>
                  </a:cubicBezTo>
                  <a:cubicBezTo>
                    <a:pt x="533" y="58"/>
                    <a:pt x="535" y="58"/>
                    <a:pt x="537" y="59"/>
                  </a:cubicBezTo>
                  <a:cubicBezTo>
                    <a:pt x="538" y="60"/>
                    <a:pt x="540" y="61"/>
                    <a:pt x="542" y="61"/>
                  </a:cubicBezTo>
                  <a:cubicBezTo>
                    <a:pt x="544" y="62"/>
                    <a:pt x="545" y="63"/>
                    <a:pt x="546" y="65"/>
                  </a:cubicBezTo>
                  <a:cubicBezTo>
                    <a:pt x="548" y="66"/>
                    <a:pt x="549" y="67"/>
                    <a:pt x="550" y="69"/>
                  </a:cubicBezTo>
                  <a:cubicBezTo>
                    <a:pt x="550" y="71"/>
                    <a:pt x="551" y="73"/>
                    <a:pt x="551" y="75"/>
                  </a:cubicBezTo>
                  <a:close/>
                  <a:moveTo>
                    <a:pt x="564" y="107"/>
                  </a:moveTo>
                  <a:cubicBezTo>
                    <a:pt x="564" y="108"/>
                    <a:pt x="564" y="108"/>
                    <a:pt x="564" y="109"/>
                  </a:cubicBezTo>
                  <a:cubicBezTo>
                    <a:pt x="564" y="109"/>
                    <a:pt x="563" y="109"/>
                    <a:pt x="563" y="109"/>
                  </a:cubicBezTo>
                  <a:cubicBezTo>
                    <a:pt x="562" y="109"/>
                    <a:pt x="562" y="110"/>
                    <a:pt x="561" y="110"/>
                  </a:cubicBezTo>
                  <a:cubicBezTo>
                    <a:pt x="561" y="110"/>
                    <a:pt x="560" y="110"/>
                    <a:pt x="559" y="110"/>
                  </a:cubicBezTo>
                  <a:cubicBezTo>
                    <a:pt x="558" y="110"/>
                    <a:pt x="557" y="110"/>
                    <a:pt x="556" y="110"/>
                  </a:cubicBezTo>
                  <a:cubicBezTo>
                    <a:pt x="556" y="109"/>
                    <a:pt x="555" y="109"/>
                    <a:pt x="555" y="109"/>
                  </a:cubicBezTo>
                  <a:cubicBezTo>
                    <a:pt x="554" y="109"/>
                    <a:pt x="554" y="108"/>
                    <a:pt x="554" y="108"/>
                  </a:cubicBezTo>
                  <a:cubicBezTo>
                    <a:pt x="554" y="108"/>
                    <a:pt x="554" y="107"/>
                    <a:pt x="554" y="107"/>
                  </a:cubicBezTo>
                  <a:lnTo>
                    <a:pt x="592" y="3"/>
                  </a:lnTo>
                  <a:cubicBezTo>
                    <a:pt x="592" y="2"/>
                    <a:pt x="593" y="2"/>
                    <a:pt x="593" y="2"/>
                  </a:cubicBezTo>
                  <a:cubicBezTo>
                    <a:pt x="593" y="1"/>
                    <a:pt x="593" y="1"/>
                    <a:pt x="594" y="1"/>
                  </a:cubicBezTo>
                  <a:cubicBezTo>
                    <a:pt x="594" y="1"/>
                    <a:pt x="595" y="0"/>
                    <a:pt x="595" y="0"/>
                  </a:cubicBezTo>
                  <a:cubicBezTo>
                    <a:pt x="596" y="0"/>
                    <a:pt x="597" y="0"/>
                    <a:pt x="598" y="0"/>
                  </a:cubicBezTo>
                  <a:cubicBezTo>
                    <a:pt x="599" y="0"/>
                    <a:pt x="600" y="0"/>
                    <a:pt x="600" y="1"/>
                  </a:cubicBezTo>
                  <a:cubicBezTo>
                    <a:pt x="601" y="1"/>
                    <a:pt x="601" y="1"/>
                    <a:pt x="602" y="1"/>
                  </a:cubicBezTo>
                  <a:cubicBezTo>
                    <a:pt x="602" y="1"/>
                    <a:pt x="602" y="2"/>
                    <a:pt x="602" y="2"/>
                  </a:cubicBezTo>
                  <a:cubicBezTo>
                    <a:pt x="603" y="3"/>
                    <a:pt x="602" y="3"/>
                    <a:pt x="602" y="4"/>
                  </a:cubicBezTo>
                  <a:lnTo>
                    <a:pt x="564" y="107"/>
                  </a:lnTo>
                  <a:close/>
                  <a:moveTo>
                    <a:pt x="673" y="88"/>
                  </a:moveTo>
                  <a:cubicBezTo>
                    <a:pt x="674" y="89"/>
                    <a:pt x="674" y="90"/>
                    <a:pt x="674" y="91"/>
                  </a:cubicBezTo>
                  <a:cubicBezTo>
                    <a:pt x="674" y="91"/>
                    <a:pt x="674" y="92"/>
                    <a:pt x="673" y="92"/>
                  </a:cubicBezTo>
                  <a:cubicBezTo>
                    <a:pt x="673" y="92"/>
                    <a:pt x="672" y="92"/>
                    <a:pt x="672" y="92"/>
                  </a:cubicBezTo>
                  <a:cubicBezTo>
                    <a:pt x="671" y="93"/>
                    <a:pt x="670" y="93"/>
                    <a:pt x="669" y="93"/>
                  </a:cubicBezTo>
                  <a:cubicBezTo>
                    <a:pt x="667" y="93"/>
                    <a:pt x="666" y="93"/>
                    <a:pt x="665" y="92"/>
                  </a:cubicBezTo>
                  <a:cubicBezTo>
                    <a:pt x="665" y="92"/>
                    <a:pt x="664" y="92"/>
                    <a:pt x="664" y="92"/>
                  </a:cubicBezTo>
                  <a:cubicBezTo>
                    <a:pt x="663" y="92"/>
                    <a:pt x="663" y="92"/>
                    <a:pt x="663" y="92"/>
                  </a:cubicBezTo>
                  <a:cubicBezTo>
                    <a:pt x="663" y="91"/>
                    <a:pt x="663" y="91"/>
                    <a:pt x="662" y="91"/>
                  </a:cubicBezTo>
                  <a:lnTo>
                    <a:pt x="655" y="71"/>
                  </a:lnTo>
                  <a:lnTo>
                    <a:pt x="622" y="71"/>
                  </a:lnTo>
                  <a:lnTo>
                    <a:pt x="615" y="90"/>
                  </a:lnTo>
                  <a:cubicBezTo>
                    <a:pt x="615" y="91"/>
                    <a:pt x="615" y="91"/>
                    <a:pt x="615" y="91"/>
                  </a:cubicBezTo>
                  <a:cubicBezTo>
                    <a:pt x="614" y="92"/>
                    <a:pt x="614" y="92"/>
                    <a:pt x="614" y="92"/>
                  </a:cubicBezTo>
                  <a:cubicBezTo>
                    <a:pt x="613" y="92"/>
                    <a:pt x="613" y="92"/>
                    <a:pt x="612" y="92"/>
                  </a:cubicBezTo>
                  <a:cubicBezTo>
                    <a:pt x="611" y="93"/>
                    <a:pt x="610" y="93"/>
                    <a:pt x="609" y="93"/>
                  </a:cubicBezTo>
                  <a:cubicBezTo>
                    <a:pt x="608" y="93"/>
                    <a:pt x="607" y="93"/>
                    <a:pt x="606" y="92"/>
                  </a:cubicBezTo>
                  <a:cubicBezTo>
                    <a:pt x="605" y="92"/>
                    <a:pt x="605" y="92"/>
                    <a:pt x="605" y="92"/>
                  </a:cubicBezTo>
                  <a:cubicBezTo>
                    <a:pt x="604" y="92"/>
                    <a:pt x="604" y="91"/>
                    <a:pt x="604" y="91"/>
                  </a:cubicBezTo>
                  <a:cubicBezTo>
                    <a:pt x="604" y="90"/>
                    <a:pt x="604" y="89"/>
                    <a:pt x="605" y="88"/>
                  </a:cubicBezTo>
                  <a:lnTo>
                    <a:pt x="632" y="13"/>
                  </a:lnTo>
                  <a:cubicBezTo>
                    <a:pt x="632" y="13"/>
                    <a:pt x="632" y="12"/>
                    <a:pt x="632" y="12"/>
                  </a:cubicBezTo>
                  <a:cubicBezTo>
                    <a:pt x="633" y="12"/>
                    <a:pt x="633" y="12"/>
                    <a:pt x="634" y="11"/>
                  </a:cubicBezTo>
                  <a:cubicBezTo>
                    <a:pt x="634" y="11"/>
                    <a:pt x="635" y="11"/>
                    <a:pt x="636" y="11"/>
                  </a:cubicBezTo>
                  <a:cubicBezTo>
                    <a:pt x="636" y="11"/>
                    <a:pt x="638" y="11"/>
                    <a:pt x="639" y="11"/>
                  </a:cubicBezTo>
                  <a:cubicBezTo>
                    <a:pt x="640" y="11"/>
                    <a:pt x="641" y="11"/>
                    <a:pt x="642" y="11"/>
                  </a:cubicBezTo>
                  <a:cubicBezTo>
                    <a:pt x="643" y="11"/>
                    <a:pt x="644" y="11"/>
                    <a:pt x="644" y="11"/>
                  </a:cubicBezTo>
                  <a:cubicBezTo>
                    <a:pt x="645" y="12"/>
                    <a:pt x="645" y="12"/>
                    <a:pt x="645" y="12"/>
                  </a:cubicBezTo>
                  <a:cubicBezTo>
                    <a:pt x="646" y="12"/>
                    <a:pt x="646" y="13"/>
                    <a:pt x="646" y="13"/>
                  </a:cubicBezTo>
                  <a:lnTo>
                    <a:pt x="673" y="88"/>
                  </a:lnTo>
                  <a:close/>
                  <a:moveTo>
                    <a:pt x="638" y="22"/>
                  </a:moveTo>
                  <a:lnTo>
                    <a:pt x="638" y="22"/>
                  </a:lnTo>
                  <a:lnTo>
                    <a:pt x="624" y="62"/>
                  </a:lnTo>
                  <a:lnTo>
                    <a:pt x="653" y="62"/>
                  </a:lnTo>
                  <a:lnTo>
                    <a:pt x="638" y="22"/>
                  </a:lnTo>
                  <a:close/>
                  <a:moveTo>
                    <a:pt x="724" y="38"/>
                  </a:moveTo>
                  <a:cubicBezTo>
                    <a:pt x="724" y="39"/>
                    <a:pt x="724" y="40"/>
                    <a:pt x="724" y="40"/>
                  </a:cubicBezTo>
                  <a:cubicBezTo>
                    <a:pt x="724" y="41"/>
                    <a:pt x="724" y="42"/>
                    <a:pt x="724" y="42"/>
                  </a:cubicBezTo>
                  <a:cubicBezTo>
                    <a:pt x="724" y="42"/>
                    <a:pt x="724" y="42"/>
                    <a:pt x="724" y="43"/>
                  </a:cubicBezTo>
                  <a:cubicBezTo>
                    <a:pt x="723" y="43"/>
                    <a:pt x="723" y="43"/>
                    <a:pt x="723" y="43"/>
                  </a:cubicBezTo>
                  <a:cubicBezTo>
                    <a:pt x="723" y="43"/>
                    <a:pt x="722" y="43"/>
                    <a:pt x="722" y="43"/>
                  </a:cubicBezTo>
                  <a:cubicBezTo>
                    <a:pt x="721" y="42"/>
                    <a:pt x="721" y="42"/>
                    <a:pt x="720" y="42"/>
                  </a:cubicBezTo>
                  <a:cubicBezTo>
                    <a:pt x="719" y="42"/>
                    <a:pt x="719" y="42"/>
                    <a:pt x="718" y="42"/>
                  </a:cubicBezTo>
                  <a:cubicBezTo>
                    <a:pt x="717" y="41"/>
                    <a:pt x="716" y="41"/>
                    <a:pt x="716" y="41"/>
                  </a:cubicBezTo>
                  <a:cubicBezTo>
                    <a:pt x="714" y="41"/>
                    <a:pt x="713" y="42"/>
                    <a:pt x="712" y="42"/>
                  </a:cubicBezTo>
                  <a:cubicBezTo>
                    <a:pt x="711" y="42"/>
                    <a:pt x="710" y="43"/>
                    <a:pt x="709" y="44"/>
                  </a:cubicBezTo>
                  <a:cubicBezTo>
                    <a:pt x="708" y="45"/>
                    <a:pt x="707" y="46"/>
                    <a:pt x="706" y="48"/>
                  </a:cubicBezTo>
                  <a:cubicBezTo>
                    <a:pt x="705" y="49"/>
                    <a:pt x="703" y="51"/>
                    <a:pt x="702" y="54"/>
                  </a:cubicBezTo>
                  <a:lnTo>
                    <a:pt x="702" y="91"/>
                  </a:lnTo>
                  <a:cubicBezTo>
                    <a:pt x="702" y="91"/>
                    <a:pt x="702" y="91"/>
                    <a:pt x="702" y="91"/>
                  </a:cubicBezTo>
                  <a:cubicBezTo>
                    <a:pt x="701" y="92"/>
                    <a:pt x="701" y="92"/>
                    <a:pt x="701" y="92"/>
                  </a:cubicBezTo>
                  <a:cubicBezTo>
                    <a:pt x="700" y="92"/>
                    <a:pt x="700" y="92"/>
                    <a:pt x="699" y="92"/>
                  </a:cubicBezTo>
                  <a:cubicBezTo>
                    <a:pt x="699" y="93"/>
                    <a:pt x="698" y="93"/>
                    <a:pt x="697" y="93"/>
                  </a:cubicBezTo>
                  <a:cubicBezTo>
                    <a:pt x="696" y="93"/>
                    <a:pt x="695" y="93"/>
                    <a:pt x="694" y="92"/>
                  </a:cubicBezTo>
                  <a:cubicBezTo>
                    <a:pt x="693" y="92"/>
                    <a:pt x="693" y="92"/>
                    <a:pt x="693" y="92"/>
                  </a:cubicBezTo>
                  <a:cubicBezTo>
                    <a:pt x="692" y="92"/>
                    <a:pt x="692" y="92"/>
                    <a:pt x="692" y="91"/>
                  </a:cubicBezTo>
                  <a:cubicBezTo>
                    <a:pt x="692" y="91"/>
                    <a:pt x="692" y="91"/>
                    <a:pt x="692" y="91"/>
                  </a:cubicBezTo>
                  <a:lnTo>
                    <a:pt x="692" y="34"/>
                  </a:lnTo>
                  <a:cubicBezTo>
                    <a:pt x="692" y="34"/>
                    <a:pt x="692" y="34"/>
                    <a:pt x="692" y="34"/>
                  </a:cubicBezTo>
                  <a:cubicBezTo>
                    <a:pt x="692" y="33"/>
                    <a:pt x="692" y="33"/>
                    <a:pt x="692" y="33"/>
                  </a:cubicBezTo>
                  <a:cubicBezTo>
                    <a:pt x="693" y="33"/>
                    <a:pt x="693" y="33"/>
                    <a:pt x="694" y="33"/>
                  </a:cubicBezTo>
                  <a:cubicBezTo>
                    <a:pt x="694" y="32"/>
                    <a:pt x="695" y="32"/>
                    <a:pt x="696" y="32"/>
                  </a:cubicBezTo>
                  <a:cubicBezTo>
                    <a:pt x="697" y="32"/>
                    <a:pt x="698" y="32"/>
                    <a:pt x="698" y="33"/>
                  </a:cubicBezTo>
                  <a:cubicBezTo>
                    <a:pt x="699" y="33"/>
                    <a:pt x="700" y="33"/>
                    <a:pt x="700" y="33"/>
                  </a:cubicBezTo>
                  <a:cubicBezTo>
                    <a:pt x="700" y="33"/>
                    <a:pt x="700" y="33"/>
                    <a:pt x="701" y="34"/>
                  </a:cubicBezTo>
                  <a:cubicBezTo>
                    <a:pt x="701" y="34"/>
                    <a:pt x="701" y="34"/>
                    <a:pt x="701" y="34"/>
                  </a:cubicBezTo>
                  <a:lnTo>
                    <a:pt x="701" y="43"/>
                  </a:lnTo>
                  <a:cubicBezTo>
                    <a:pt x="702" y="40"/>
                    <a:pt x="704" y="39"/>
                    <a:pt x="705" y="37"/>
                  </a:cubicBezTo>
                  <a:cubicBezTo>
                    <a:pt x="707" y="36"/>
                    <a:pt x="708" y="35"/>
                    <a:pt x="709" y="34"/>
                  </a:cubicBezTo>
                  <a:cubicBezTo>
                    <a:pt x="710" y="33"/>
                    <a:pt x="711" y="32"/>
                    <a:pt x="713" y="32"/>
                  </a:cubicBezTo>
                  <a:cubicBezTo>
                    <a:pt x="714" y="32"/>
                    <a:pt x="715" y="32"/>
                    <a:pt x="716" y="32"/>
                  </a:cubicBezTo>
                  <a:cubicBezTo>
                    <a:pt x="717" y="32"/>
                    <a:pt x="717" y="32"/>
                    <a:pt x="718" y="32"/>
                  </a:cubicBezTo>
                  <a:cubicBezTo>
                    <a:pt x="719" y="32"/>
                    <a:pt x="719" y="32"/>
                    <a:pt x="720" y="32"/>
                  </a:cubicBezTo>
                  <a:cubicBezTo>
                    <a:pt x="721" y="32"/>
                    <a:pt x="722" y="32"/>
                    <a:pt x="722" y="33"/>
                  </a:cubicBezTo>
                  <a:cubicBezTo>
                    <a:pt x="723" y="33"/>
                    <a:pt x="723" y="33"/>
                    <a:pt x="724" y="33"/>
                  </a:cubicBezTo>
                  <a:cubicBezTo>
                    <a:pt x="724" y="33"/>
                    <a:pt x="724" y="34"/>
                    <a:pt x="724" y="34"/>
                  </a:cubicBezTo>
                  <a:cubicBezTo>
                    <a:pt x="724" y="34"/>
                    <a:pt x="724" y="34"/>
                    <a:pt x="724" y="35"/>
                  </a:cubicBezTo>
                  <a:cubicBezTo>
                    <a:pt x="724" y="35"/>
                    <a:pt x="724" y="35"/>
                    <a:pt x="724" y="36"/>
                  </a:cubicBezTo>
                  <a:cubicBezTo>
                    <a:pt x="724" y="36"/>
                    <a:pt x="724" y="37"/>
                    <a:pt x="724" y="38"/>
                  </a:cubicBezTo>
                  <a:close/>
                  <a:moveTo>
                    <a:pt x="753" y="87"/>
                  </a:moveTo>
                  <a:cubicBezTo>
                    <a:pt x="753" y="88"/>
                    <a:pt x="753" y="89"/>
                    <a:pt x="753" y="89"/>
                  </a:cubicBezTo>
                  <a:cubicBezTo>
                    <a:pt x="752" y="90"/>
                    <a:pt x="752" y="91"/>
                    <a:pt x="752" y="91"/>
                  </a:cubicBezTo>
                  <a:cubicBezTo>
                    <a:pt x="751" y="91"/>
                    <a:pt x="751" y="92"/>
                    <a:pt x="750" y="92"/>
                  </a:cubicBezTo>
                  <a:cubicBezTo>
                    <a:pt x="750" y="92"/>
                    <a:pt x="749" y="92"/>
                    <a:pt x="748" y="93"/>
                  </a:cubicBezTo>
                  <a:cubicBezTo>
                    <a:pt x="747" y="93"/>
                    <a:pt x="746" y="93"/>
                    <a:pt x="745" y="93"/>
                  </a:cubicBezTo>
                  <a:cubicBezTo>
                    <a:pt x="744" y="93"/>
                    <a:pt x="743" y="93"/>
                    <a:pt x="742" y="93"/>
                  </a:cubicBezTo>
                  <a:cubicBezTo>
                    <a:pt x="739" y="93"/>
                    <a:pt x="737" y="93"/>
                    <a:pt x="735" y="92"/>
                  </a:cubicBezTo>
                  <a:cubicBezTo>
                    <a:pt x="733" y="91"/>
                    <a:pt x="731" y="90"/>
                    <a:pt x="730" y="89"/>
                  </a:cubicBezTo>
                  <a:cubicBezTo>
                    <a:pt x="728" y="87"/>
                    <a:pt x="727" y="85"/>
                    <a:pt x="727" y="83"/>
                  </a:cubicBezTo>
                  <a:cubicBezTo>
                    <a:pt x="726" y="80"/>
                    <a:pt x="726" y="77"/>
                    <a:pt x="726" y="74"/>
                  </a:cubicBezTo>
                  <a:lnTo>
                    <a:pt x="726" y="41"/>
                  </a:lnTo>
                  <a:lnTo>
                    <a:pt x="718" y="41"/>
                  </a:lnTo>
                  <a:cubicBezTo>
                    <a:pt x="717" y="41"/>
                    <a:pt x="717" y="41"/>
                    <a:pt x="717" y="40"/>
                  </a:cubicBezTo>
                  <a:cubicBezTo>
                    <a:pt x="716" y="40"/>
                    <a:pt x="716" y="39"/>
                    <a:pt x="716" y="37"/>
                  </a:cubicBezTo>
                  <a:cubicBezTo>
                    <a:pt x="716" y="36"/>
                    <a:pt x="716" y="36"/>
                    <a:pt x="716" y="35"/>
                  </a:cubicBezTo>
                  <a:cubicBezTo>
                    <a:pt x="716" y="35"/>
                    <a:pt x="716" y="34"/>
                    <a:pt x="717" y="34"/>
                  </a:cubicBezTo>
                  <a:cubicBezTo>
                    <a:pt x="717" y="33"/>
                    <a:pt x="717" y="33"/>
                    <a:pt x="717" y="33"/>
                  </a:cubicBezTo>
                  <a:cubicBezTo>
                    <a:pt x="718" y="33"/>
                    <a:pt x="718" y="33"/>
                    <a:pt x="718" y="33"/>
                  </a:cubicBezTo>
                  <a:lnTo>
                    <a:pt x="726" y="33"/>
                  </a:lnTo>
                  <a:lnTo>
                    <a:pt x="726" y="19"/>
                  </a:lnTo>
                  <a:cubicBezTo>
                    <a:pt x="726" y="19"/>
                    <a:pt x="726" y="19"/>
                    <a:pt x="726" y="19"/>
                  </a:cubicBezTo>
                  <a:cubicBezTo>
                    <a:pt x="726" y="18"/>
                    <a:pt x="727" y="18"/>
                    <a:pt x="727" y="18"/>
                  </a:cubicBezTo>
                  <a:cubicBezTo>
                    <a:pt x="727" y="18"/>
                    <a:pt x="728" y="18"/>
                    <a:pt x="729" y="18"/>
                  </a:cubicBezTo>
                  <a:cubicBezTo>
                    <a:pt x="729" y="17"/>
                    <a:pt x="730" y="17"/>
                    <a:pt x="731" y="17"/>
                  </a:cubicBezTo>
                  <a:cubicBezTo>
                    <a:pt x="732" y="17"/>
                    <a:pt x="733" y="17"/>
                    <a:pt x="734" y="18"/>
                  </a:cubicBezTo>
                  <a:cubicBezTo>
                    <a:pt x="734" y="18"/>
                    <a:pt x="735" y="18"/>
                    <a:pt x="735" y="18"/>
                  </a:cubicBezTo>
                  <a:cubicBezTo>
                    <a:pt x="736" y="18"/>
                    <a:pt x="736" y="18"/>
                    <a:pt x="736" y="19"/>
                  </a:cubicBezTo>
                  <a:cubicBezTo>
                    <a:pt x="736" y="19"/>
                    <a:pt x="736" y="19"/>
                    <a:pt x="736" y="19"/>
                  </a:cubicBezTo>
                  <a:lnTo>
                    <a:pt x="736" y="33"/>
                  </a:lnTo>
                  <a:lnTo>
                    <a:pt x="751" y="33"/>
                  </a:lnTo>
                  <a:cubicBezTo>
                    <a:pt x="751" y="33"/>
                    <a:pt x="751" y="33"/>
                    <a:pt x="752" y="33"/>
                  </a:cubicBezTo>
                  <a:cubicBezTo>
                    <a:pt x="752" y="33"/>
                    <a:pt x="752" y="33"/>
                    <a:pt x="752" y="34"/>
                  </a:cubicBezTo>
                  <a:cubicBezTo>
                    <a:pt x="752" y="34"/>
                    <a:pt x="753" y="35"/>
                    <a:pt x="753" y="35"/>
                  </a:cubicBezTo>
                  <a:cubicBezTo>
                    <a:pt x="753" y="36"/>
                    <a:pt x="753" y="36"/>
                    <a:pt x="753" y="37"/>
                  </a:cubicBezTo>
                  <a:cubicBezTo>
                    <a:pt x="753" y="39"/>
                    <a:pt x="753" y="40"/>
                    <a:pt x="752" y="40"/>
                  </a:cubicBezTo>
                  <a:cubicBezTo>
                    <a:pt x="752" y="41"/>
                    <a:pt x="751" y="41"/>
                    <a:pt x="751" y="41"/>
                  </a:cubicBezTo>
                  <a:lnTo>
                    <a:pt x="736" y="41"/>
                  </a:lnTo>
                  <a:lnTo>
                    <a:pt x="736" y="73"/>
                  </a:lnTo>
                  <a:cubicBezTo>
                    <a:pt x="736" y="77"/>
                    <a:pt x="737" y="80"/>
                    <a:pt x="738" y="81"/>
                  </a:cubicBezTo>
                  <a:cubicBezTo>
                    <a:pt x="739" y="83"/>
                    <a:pt x="741" y="84"/>
                    <a:pt x="744" y="84"/>
                  </a:cubicBezTo>
                  <a:cubicBezTo>
                    <a:pt x="745" y="84"/>
                    <a:pt x="746" y="84"/>
                    <a:pt x="747" y="84"/>
                  </a:cubicBezTo>
                  <a:cubicBezTo>
                    <a:pt x="747" y="84"/>
                    <a:pt x="748" y="84"/>
                    <a:pt x="749" y="84"/>
                  </a:cubicBezTo>
                  <a:cubicBezTo>
                    <a:pt x="749" y="83"/>
                    <a:pt x="750" y="83"/>
                    <a:pt x="750" y="83"/>
                  </a:cubicBezTo>
                  <a:cubicBezTo>
                    <a:pt x="751" y="83"/>
                    <a:pt x="751" y="83"/>
                    <a:pt x="751" y="83"/>
                  </a:cubicBezTo>
                  <a:cubicBezTo>
                    <a:pt x="752" y="83"/>
                    <a:pt x="752" y="83"/>
                    <a:pt x="752" y="83"/>
                  </a:cubicBezTo>
                  <a:cubicBezTo>
                    <a:pt x="752" y="83"/>
                    <a:pt x="752" y="83"/>
                    <a:pt x="752" y="83"/>
                  </a:cubicBezTo>
                  <a:cubicBezTo>
                    <a:pt x="752" y="84"/>
                    <a:pt x="753" y="84"/>
                    <a:pt x="753" y="85"/>
                  </a:cubicBezTo>
                  <a:cubicBezTo>
                    <a:pt x="753" y="85"/>
                    <a:pt x="753" y="86"/>
                    <a:pt x="753" y="87"/>
                  </a:cubicBezTo>
                  <a:close/>
                  <a:moveTo>
                    <a:pt x="782" y="91"/>
                  </a:moveTo>
                  <a:cubicBezTo>
                    <a:pt x="782" y="91"/>
                    <a:pt x="782" y="91"/>
                    <a:pt x="782" y="91"/>
                  </a:cubicBezTo>
                  <a:cubicBezTo>
                    <a:pt x="781" y="92"/>
                    <a:pt x="781" y="92"/>
                    <a:pt x="781" y="92"/>
                  </a:cubicBezTo>
                  <a:cubicBezTo>
                    <a:pt x="780" y="92"/>
                    <a:pt x="780" y="92"/>
                    <a:pt x="779" y="92"/>
                  </a:cubicBezTo>
                  <a:cubicBezTo>
                    <a:pt x="779" y="93"/>
                    <a:pt x="778" y="93"/>
                    <a:pt x="777" y="93"/>
                  </a:cubicBezTo>
                  <a:cubicBezTo>
                    <a:pt x="776" y="93"/>
                    <a:pt x="775" y="93"/>
                    <a:pt x="774" y="92"/>
                  </a:cubicBezTo>
                  <a:cubicBezTo>
                    <a:pt x="773" y="92"/>
                    <a:pt x="773" y="92"/>
                    <a:pt x="773" y="92"/>
                  </a:cubicBezTo>
                  <a:cubicBezTo>
                    <a:pt x="772" y="92"/>
                    <a:pt x="772" y="92"/>
                    <a:pt x="772" y="91"/>
                  </a:cubicBezTo>
                  <a:cubicBezTo>
                    <a:pt x="772" y="91"/>
                    <a:pt x="772" y="91"/>
                    <a:pt x="772" y="91"/>
                  </a:cubicBezTo>
                  <a:lnTo>
                    <a:pt x="772" y="34"/>
                  </a:lnTo>
                  <a:cubicBezTo>
                    <a:pt x="772" y="34"/>
                    <a:pt x="772" y="34"/>
                    <a:pt x="772" y="34"/>
                  </a:cubicBezTo>
                  <a:cubicBezTo>
                    <a:pt x="772" y="33"/>
                    <a:pt x="772" y="33"/>
                    <a:pt x="773" y="33"/>
                  </a:cubicBezTo>
                  <a:cubicBezTo>
                    <a:pt x="773" y="33"/>
                    <a:pt x="773" y="33"/>
                    <a:pt x="774" y="33"/>
                  </a:cubicBezTo>
                  <a:cubicBezTo>
                    <a:pt x="775" y="33"/>
                    <a:pt x="776" y="32"/>
                    <a:pt x="777" y="32"/>
                  </a:cubicBezTo>
                  <a:cubicBezTo>
                    <a:pt x="778" y="32"/>
                    <a:pt x="779" y="33"/>
                    <a:pt x="779" y="33"/>
                  </a:cubicBezTo>
                  <a:cubicBezTo>
                    <a:pt x="780" y="33"/>
                    <a:pt x="780" y="33"/>
                    <a:pt x="781" y="33"/>
                  </a:cubicBezTo>
                  <a:cubicBezTo>
                    <a:pt x="781" y="33"/>
                    <a:pt x="781" y="33"/>
                    <a:pt x="782" y="34"/>
                  </a:cubicBezTo>
                  <a:cubicBezTo>
                    <a:pt x="782" y="34"/>
                    <a:pt x="782" y="34"/>
                    <a:pt x="782" y="34"/>
                  </a:cubicBezTo>
                  <a:lnTo>
                    <a:pt x="782" y="91"/>
                  </a:lnTo>
                  <a:close/>
                  <a:moveTo>
                    <a:pt x="783" y="15"/>
                  </a:moveTo>
                  <a:cubicBezTo>
                    <a:pt x="783" y="18"/>
                    <a:pt x="783" y="19"/>
                    <a:pt x="782" y="20"/>
                  </a:cubicBezTo>
                  <a:cubicBezTo>
                    <a:pt x="781" y="21"/>
                    <a:pt x="779" y="22"/>
                    <a:pt x="777" y="22"/>
                  </a:cubicBezTo>
                  <a:cubicBezTo>
                    <a:pt x="774" y="22"/>
                    <a:pt x="773" y="21"/>
                    <a:pt x="772" y="20"/>
                  </a:cubicBezTo>
                  <a:cubicBezTo>
                    <a:pt x="771" y="20"/>
                    <a:pt x="770" y="18"/>
                    <a:pt x="770" y="16"/>
                  </a:cubicBezTo>
                  <a:cubicBezTo>
                    <a:pt x="770" y="13"/>
                    <a:pt x="771" y="11"/>
                    <a:pt x="772" y="11"/>
                  </a:cubicBezTo>
                  <a:cubicBezTo>
                    <a:pt x="773" y="10"/>
                    <a:pt x="774" y="9"/>
                    <a:pt x="777" y="9"/>
                  </a:cubicBezTo>
                  <a:cubicBezTo>
                    <a:pt x="779" y="9"/>
                    <a:pt x="781" y="10"/>
                    <a:pt x="782" y="11"/>
                  </a:cubicBezTo>
                  <a:cubicBezTo>
                    <a:pt x="783" y="11"/>
                    <a:pt x="783" y="13"/>
                    <a:pt x="783" y="15"/>
                  </a:cubicBezTo>
                  <a:close/>
                  <a:moveTo>
                    <a:pt x="839" y="75"/>
                  </a:moveTo>
                  <a:cubicBezTo>
                    <a:pt x="839" y="78"/>
                    <a:pt x="838" y="81"/>
                    <a:pt x="837" y="83"/>
                  </a:cubicBezTo>
                  <a:cubicBezTo>
                    <a:pt x="836" y="85"/>
                    <a:pt x="835" y="87"/>
                    <a:pt x="833" y="89"/>
                  </a:cubicBezTo>
                  <a:cubicBezTo>
                    <a:pt x="831" y="90"/>
                    <a:pt x="828" y="91"/>
                    <a:pt x="826" y="92"/>
                  </a:cubicBezTo>
                  <a:cubicBezTo>
                    <a:pt x="823" y="93"/>
                    <a:pt x="820" y="93"/>
                    <a:pt x="817" y="93"/>
                  </a:cubicBezTo>
                  <a:cubicBezTo>
                    <a:pt x="815" y="93"/>
                    <a:pt x="813" y="93"/>
                    <a:pt x="811" y="93"/>
                  </a:cubicBezTo>
                  <a:cubicBezTo>
                    <a:pt x="809" y="93"/>
                    <a:pt x="808" y="92"/>
                    <a:pt x="806" y="92"/>
                  </a:cubicBezTo>
                  <a:cubicBezTo>
                    <a:pt x="805" y="91"/>
                    <a:pt x="804" y="91"/>
                    <a:pt x="803" y="90"/>
                  </a:cubicBezTo>
                  <a:cubicBezTo>
                    <a:pt x="802" y="90"/>
                    <a:pt x="801" y="89"/>
                    <a:pt x="800" y="89"/>
                  </a:cubicBezTo>
                  <a:cubicBezTo>
                    <a:pt x="800" y="88"/>
                    <a:pt x="800" y="88"/>
                    <a:pt x="799" y="87"/>
                  </a:cubicBezTo>
                  <a:cubicBezTo>
                    <a:pt x="799" y="86"/>
                    <a:pt x="799" y="85"/>
                    <a:pt x="799" y="84"/>
                  </a:cubicBezTo>
                  <a:cubicBezTo>
                    <a:pt x="799" y="83"/>
                    <a:pt x="799" y="83"/>
                    <a:pt x="799" y="82"/>
                  </a:cubicBezTo>
                  <a:cubicBezTo>
                    <a:pt x="799" y="81"/>
                    <a:pt x="799" y="81"/>
                    <a:pt x="799" y="81"/>
                  </a:cubicBezTo>
                  <a:cubicBezTo>
                    <a:pt x="800" y="80"/>
                    <a:pt x="800" y="80"/>
                    <a:pt x="800" y="80"/>
                  </a:cubicBezTo>
                  <a:cubicBezTo>
                    <a:pt x="800" y="80"/>
                    <a:pt x="800" y="80"/>
                    <a:pt x="801" y="80"/>
                  </a:cubicBezTo>
                  <a:cubicBezTo>
                    <a:pt x="801" y="80"/>
                    <a:pt x="802" y="80"/>
                    <a:pt x="803" y="81"/>
                  </a:cubicBezTo>
                  <a:cubicBezTo>
                    <a:pt x="804" y="81"/>
                    <a:pt x="805" y="82"/>
                    <a:pt x="806" y="82"/>
                  </a:cubicBezTo>
                  <a:cubicBezTo>
                    <a:pt x="807" y="83"/>
                    <a:pt x="809" y="84"/>
                    <a:pt x="811" y="84"/>
                  </a:cubicBezTo>
                  <a:cubicBezTo>
                    <a:pt x="813" y="85"/>
                    <a:pt x="815" y="85"/>
                    <a:pt x="817" y="85"/>
                  </a:cubicBezTo>
                  <a:cubicBezTo>
                    <a:pt x="819" y="85"/>
                    <a:pt x="820" y="85"/>
                    <a:pt x="822" y="85"/>
                  </a:cubicBezTo>
                  <a:cubicBezTo>
                    <a:pt x="823" y="84"/>
                    <a:pt x="824" y="84"/>
                    <a:pt x="825" y="83"/>
                  </a:cubicBezTo>
                  <a:cubicBezTo>
                    <a:pt x="826" y="82"/>
                    <a:pt x="827" y="81"/>
                    <a:pt x="828" y="80"/>
                  </a:cubicBezTo>
                  <a:cubicBezTo>
                    <a:pt x="828" y="79"/>
                    <a:pt x="829" y="78"/>
                    <a:pt x="829" y="76"/>
                  </a:cubicBezTo>
                  <a:cubicBezTo>
                    <a:pt x="829" y="75"/>
                    <a:pt x="828" y="73"/>
                    <a:pt x="827" y="72"/>
                  </a:cubicBezTo>
                  <a:cubicBezTo>
                    <a:pt x="827" y="71"/>
                    <a:pt x="826" y="70"/>
                    <a:pt x="824" y="69"/>
                  </a:cubicBezTo>
                  <a:cubicBezTo>
                    <a:pt x="823" y="68"/>
                    <a:pt x="821" y="68"/>
                    <a:pt x="820" y="67"/>
                  </a:cubicBezTo>
                  <a:cubicBezTo>
                    <a:pt x="818" y="66"/>
                    <a:pt x="816" y="66"/>
                    <a:pt x="815" y="65"/>
                  </a:cubicBezTo>
                  <a:cubicBezTo>
                    <a:pt x="813" y="64"/>
                    <a:pt x="811" y="64"/>
                    <a:pt x="809" y="63"/>
                  </a:cubicBezTo>
                  <a:cubicBezTo>
                    <a:pt x="808" y="62"/>
                    <a:pt x="806" y="61"/>
                    <a:pt x="805" y="59"/>
                  </a:cubicBezTo>
                  <a:cubicBezTo>
                    <a:pt x="804" y="58"/>
                    <a:pt x="802" y="57"/>
                    <a:pt x="802" y="55"/>
                  </a:cubicBezTo>
                  <a:cubicBezTo>
                    <a:pt x="801" y="53"/>
                    <a:pt x="800" y="51"/>
                    <a:pt x="800" y="48"/>
                  </a:cubicBezTo>
                  <a:cubicBezTo>
                    <a:pt x="800" y="46"/>
                    <a:pt x="801" y="44"/>
                    <a:pt x="802" y="42"/>
                  </a:cubicBezTo>
                  <a:cubicBezTo>
                    <a:pt x="803" y="40"/>
                    <a:pt x="804" y="38"/>
                    <a:pt x="806" y="37"/>
                  </a:cubicBezTo>
                  <a:cubicBezTo>
                    <a:pt x="807" y="35"/>
                    <a:pt x="809" y="34"/>
                    <a:pt x="812" y="33"/>
                  </a:cubicBezTo>
                  <a:cubicBezTo>
                    <a:pt x="814" y="32"/>
                    <a:pt x="817" y="32"/>
                    <a:pt x="821" y="32"/>
                  </a:cubicBezTo>
                  <a:cubicBezTo>
                    <a:pt x="822" y="32"/>
                    <a:pt x="824" y="32"/>
                    <a:pt x="825" y="32"/>
                  </a:cubicBezTo>
                  <a:cubicBezTo>
                    <a:pt x="827" y="32"/>
                    <a:pt x="828" y="33"/>
                    <a:pt x="829" y="33"/>
                  </a:cubicBezTo>
                  <a:cubicBezTo>
                    <a:pt x="831" y="33"/>
                    <a:pt x="832" y="34"/>
                    <a:pt x="833" y="34"/>
                  </a:cubicBezTo>
                  <a:cubicBezTo>
                    <a:pt x="833" y="35"/>
                    <a:pt x="834" y="35"/>
                    <a:pt x="834" y="35"/>
                  </a:cubicBezTo>
                  <a:cubicBezTo>
                    <a:pt x="835" y="36"/>
                    <a:pt x="835" y="36"/>
                    <a:pt x="835" y="36"/>
                  </a:cubicBezTo>
                  <a:cubicBezTo>
                    <a:pt x="836" y="36"/>
                    <a:pt x="836" y="37"/>
                    <a:pt x="836" y="37"/>
                  </a:cubicBezTo>
                  <a:cubicBezTo>
                    <a:pt x="836" y="37"/>
                    <a:pt x="836" y="38"/>
                    <a:pt x="836" y="38"/>
                  </a:cubicBezTo>
                  <a:cubicBezTo>
                    <a:pt x="836" y="39"/>
                    <a:pt x="836" y="39"/>
                    <a:pt x="836" y="40"/>
                  </a:cubicBezTo>
                  <a:cubicBezTo>
                    <a:pt x="836" y="41"/>
                    <a:pt x="836" y="41"/>
                    <a:pt x="836" y="42"/>
                  </a:cubicBezTo>
                  <a:cubicBezTo>
                    <a:pt x="836" y="42"/>
                    <a:pt x="836" y="43"/>
                    <a:pt x="836" y="43"/>
                  </a:cubicBezTo>
                  <a:cubicBezTo>
                    <a:pt x="835" y="43"/>
                    <a:pt x="835" y="44"/>
                    <a:pt x="835" y="44"/>
                  </a:cubicBezTo>
                  <a:cubicBezTo>
                    <a:pt x="835" y="44"/>
                    <a:pt x="835" y="44"/>
                    <a:pt x="834" y="44"/>
                  </a:cubicBezTo>
                  <a:cubicBezTo>
                    <a:pt x="834" y="44"/>
                    <a:pt x="833" y="44"/>
                    <a:pt x="833" y="43"/>
                  </a:cubicBezTo>
                  <a:cubicBezTo>
                    <a:pt x="832" y="43"/>
                    <a:pt x="831" y="42"/>
                    <a:pt x="830" y="42"/>
                  </a:cubicBezTo>
                  <a:cubicBezTo>
                    <a:pt x="829" y="41"/>
                    <a:pt x="828" y="41"/>
                    <a:pt x="826" y="40"/>
                  </a:cubicBezTo>
                  <a:cubicBezTo>
                    <a:pt x="824" y="40"/>
                    <a:pt x="823" y="40"/>
                    <a:pt x="821" y="40"/>
                  </a:cubicBezTo>
                  <a:cubicBezTo>
                    <a:pt x="819" y="40"/>
                    <a:pt x="817" y="40"/>
                    <a:pt x="816" y="40"/>
                  </a:cubicBezTo>
                  <a:cubicBezTo>
                    <a:pt x="815" y="41"/>
                    <a:pt x="814" y="41"/>
                    <a:pt x="813" y="42"/>
                  </a:cubicBezTo>
                  <a:cubicBezTo>
                    <a:pt x="812" y="43"/>
                    <a:pt x="811" y="43"/>
                    <a:pt x="811" y="44"/>
                  </a:cubicBezTo>
                  <a:cubicBezTo>
                    <a:pt x="810" y="45"/>
                    <a:pt x="810" y="47"/>
                    <a:pt x="810" y="48"/>
                  </a:cubicBezTo>
                  <a:cubicBezTo>
                    <a:pt x="810" y="49"/>
                    <a:pt x="811" y="51"/>
                    <a:pt x="812" y="52"/>
                  </a:cubicBezTo>
                  <a:cubicBezTo>
                    <a:pt x="812" y="53"/>
                    <a:pt x="813" y="54"/>
                    <a:pt x="815" y="55"/>
                  </a:cubicBezTo>
                  <a:cubicBezTo>
                    <a:pt x="816" y="56"/>
                    <a:pt x="818" y="56"/>
                    <a:pt x="819" y="57"/>
                  </a:cubicBezTo>
                  <a:cubicBezTo>
                    <a:pt x="821" y="58"/>
                    <a:pt x="823" y="58"/>
                    <a:pt x="825" y="59"/>
                  </a:cubicBezTo>
                  <a:cubicBezTo>
                    <a:pt x="826" y="60"/>
                    <a:pt x="828" y="61"/>
                    <a:pt x="830" y="61"/>
                  </a:cubicBezTo>
                  <a:cubicBezTo>
                    <a:pt x="832" y="62"/>
                    <a:pt x="833" y="63"/>
                    <a:pt x="834" y="65"/>
                  </a:cubicBezTo>
                  <a:cubicBezTo>
                    <a:pt x="836" y="66"/>
                    <a:pt x="837" y="67"/>
                    <a:pt x="838" y="69"/>
                  </a:cubicBezTo>
                  <a:cubicBezTo>
                    <a:pt x="838" y="71"/>
                    <a:pt x="839" y="73"/>
                    <a:pt x="839" y="75"/>
                  </a:cubicBezTo>
                  <a:close/>
                  <a:moveTo>
                    <a:pt x="881" y="87"/>
                  </a:moveTo>
                  <a:cubicBezTo>
                    <a:pt x="881" y="88"/>
                    <a:pt x="881" y="89"/>
                    <a:pt x="881" y="89"/>
                  </a:cubicBezTo>
                  <a:cubicBezTo>
                    <a:pt x="880" y="90"/>
                    <a:pt x="880" y="91"/>
                    <a:pt x="880" y="91"/>
                  </a:cubicBezTo>
                  <a:cubicBezTo>
                    <a:pt x="879" y="91"/>
                    <a:pt x="879" y="92"/>
                    <a:pt x="878" y="92"/>
                  </a:cubicBezTo>
                  <a:cubicBezTo>
                    <a:pt x="878" y="92"/>
                    <a:pt x="877" y="92"/>
                    <a:pt x="876" y="93"/>
                  </a:cubicBezTo>
                  <a:cubicBezTo>
                    <a:pt x="875" y="93"/>
                    <a:pt x="874" y="93"/>
                    <a:pt x="873" y="93"/>
                  </a:cubicBezTo>
                  <a:cubicBezTo>
                    <a:pt x="872" y="93"/>
                    <a:pt x="871" y="93"/>
                    <a:pt x="870" y="93"/>
                  </a:cubicBezTo>
                  <a:cubicBezTo>
                    <a:pt x="867" y="93"/>
                    <a:pt x="865" y="93"/>
                    <a:pt x="863" y="92"/>
                  </a:cubicBezTo>
                  <a:cubicBezTo>
                    <a:pt x="861" y="91"/>
                    <a:pt x="859" y="90"/>
                    <a:pt x="858" y="89"/>
                  </a:cubicBezTo>
                  <a:cubicBezTo>
                    <a:pt x="856" y="87"/>
                    <a:pt x="855" y="85"/>
                    <a:pt x="855" y="83"/>
                  </a:cubicBezTo>
                  <a:cubicBezTo>
                    <a:pt x="854" y="80"/>
                    <a:pt x="854" y="77"/>
                    <a:pt x="854" y="74"/>
                  </a:cubicBezTo>
                  <a:lnTo>
                    <a:pt x="854" y="41"/>
                  </a:lnTo>
                  <a:lnTo>
                    <a:pt x="846" y="41"/>
                  </a:lnTo>
                  <a:cubicBezTo>
                    <a:pt x="845" y="41"/>
                    <a:pt x="845" y="41"/>
                    <a:pt x="845" y="40"/>
                  </a:cubicBezTo>
                  <a:cubicBezTo>
                    <a:pt x="844" y="40"/>
                    <a:pt x="844" y="39"/>
                    <a:pt x="844" y="37"/>
                  </a:cubicBezTo>
                  <a:cubicBezTo>
                    <a:pt x="844" y="36"/>
                    <a:pt x="844" y="36"/>
                    <a:pt x="844" y="35"/>
                  </a:cubicBezTo>
                  <a:cubicBezTo>
                    <a:pt x="844" y="35"/>
                    <a:pt x="844" y="34"/>
                    <a:pt x="845" y="34"/>
                  </a:cubicBezTo>
                  <a:cubicBezTo>
                    <a:pt x="845" y="33"/>
                    <a:pt x="845" y="33"/>
                    <a:pt x="845" y="33"/>
                  </a:cubicBezTo>
                  <a:cubicBezTo>
                    <a:pt x="846" y="33"/>
                    <a:pt x="846" y="33"/>
                    <a:pt x="846" y="33"/>
                  </a:cubicBezTo>
                  <a:lnTo>
                    <a:pt x="854" y="33"/>
                  </a:lnTo>
                  <a:lnTo>
                    <a:pt x="854" y="19"/>
                  </a:lnTo>
                  <a:cubicBezTo>
                    <a:pt x="854" y="19"/>
                    <a:pt x="854" y="19"/>
                    <a:pt x="854" y="19"/>
                  </a:cubicBezTo>
                  <a:cubicBezTo>
                    <a:pt x="854" y="18"/>
                    <a:pt x="855" y="18"/>
                    <a:pt x="855" y="18"/>
                  </a:cubicBezTo>
                  <a:cubicBezTo>
                    <a:pt x="855" y="18"/>
                    <a:pt x="856" y="18"/>
                    <a:pt x="857" y="18"/>
                  </a:cubicBezTo>
                  <a:cubicBezTo>
                    <a:pt x="857" y="17"/>
                    <a:pt x="858" y="17"/>
                    <a:pt x="859" y="17"/>
                  </a:cubicBezTo>
                  <a:cubicBezTo>
                    <a:pt x="860" y="17"/>
                    <a:pt x="861" y="17"/>
                    <a:pt x="862" y="18"/>
                  </a:cubicBezTo>
                  <a:cubicBezTo>
                    <a:pt x="862" y="18"/>
                    <a:pt x="863" y="18"/>
                    <a:pt x="863" y="18"/>
                  </a:cubicBezTo>
                  <a:cubicBezTo>
                    <a:pt x="864" y="18"/>
                    <a:pt x="864" y="18"/>
                    <a:pt x="864" y="19"/>
                  </a:cubicBezTo>
                  <a:cubicBezTo>
                    <a:pt x="864" y="19"/>
                    <a:pt x="864" y="19"/>
                    <a:pt x="864" y="19"/>
                  </a:cubicBezTo>
                  <a:lnTo>
                    <a:pt x="864" y="33"/>
                  </a:lnTo>
                  <a:lnTo>
                    <a:pt x="879" y="33"/>
                  </a:lnTo>
                  <a:cubicBezTo>
                    <a:pt x="879" y="33"/>
                    <a:pt x="879" y="33"/>
                    <a:pt x="880" y="33"/>
                  </a:cubicBezTo>
                  <a:cubicBezTo>
                    <a:pt x="880" y="33"/>
                    <a:pt x="880" y="33"/>
                    <a:pt x="880" y="34"/>
                  </a:cubicBezTo>
                  <a:cubicBezTo>
                    <a:pt x="880" y="34"/>
                    <a:pt x="881" y="35"/>
                    <a:pt x="881" y="35"/>
                  </a:cubicBezTo>
                  <a:cubicBezTo>
                    <a:pt x="881" y="36"/>
                    <a:pt x="881" y="36"/>
                    <a:pt x="881" y="37"/>
                  </a:cubicBezTo>
                  <a:cubicBezTo>
                    <a:pt x="881" y="39"/>
                    <a:pt x="881" y="40"/>
                    <a:pt x="880" y="40"/>
                  </a:cubicBezTo>
                  <a:cubicBezTo>
                    <a:pt x="880" y="41"/>
                    <a:pt x="879" y="41"/>
                    <a:pt x="879" y="41"/>
                  </a:cubicBezTo>
                  <a:lnTo>
                    <a:pt x="864" y="41"/>
                  </a:lnTo>
                  <a:lnTo>
                    <a:pt x="864" y="73"/>
                  </a:lnTo>
                  <a:cubicBezTo>
                    <a:pt x="864" y="77"/>
                    <a:pt x="865" y="80"/>
                    <a:pt x="866" y="81"/>
                  </a:cubicBezTo>
                  <a:cubicBezTo>
                    <a:pt x="867" y="83"/>
                    <a:pt x="869" y="84"/>
                    <a:pt x="872" y="84"/>
                  </a:cubicBezTo>
                  <a:cubicBezTo>
                    <a:pt x="873" y="84"/>
                    <a:pt x="874" y="84"/>
                    <a:pt x="875" y="84"/>
                  </a:cubicBezTo>
                  <a:cubicBezTo>
                    <a:pt x="875" y="84"/>
                    <a:pt x="876" y="84"/>
                    <a:pt x="877" y="84"/>
                  </a:cubicBezTo>
                  <a:cubicBezTo>
                    <a:pt x="877" y="83"/>
                    <a:pt x="878" y="83"/>
                    <a:pt x="878" y="83"/>
                  </a:cubicBezTo>
                  <a:cubicBezTo>
                    <a:pt x="879" y="83"/>
                    <a:pt x="879" y="83"/>
                    <a:pt x="879" y="83"/>
                  </a:cubicBezTo>
                  <a:cubicBezTo>
                    <a:pt x="880" y="83"/>
                    <a:pt x="880" y="83"/>
                    <a:pt x="880" y="83"/>
                  </a:cubicBezTo>
                  <a:cubicBezTo>
                    <a:pt x="880" y="83"/>
                    <a:pt x="880" y="83"/>
                    <a:pt x="880" y="83"/>
                  </a:cubicBezTo>
                  <a:cubicBezTo>
                    <a:pt x="880" y="84"/>
                    <a:pt x="881" y="84"/>
                    <a:pt x="881" y="85"/>
                  </a:cubicBezTo>
                  <a:cubicBezTo>
                    <a:pt x="881" y="85"/>
                    <a:pt x="881" y="86"/>
                    <a:pt x="881" y="87"/>
                  </a:cubicBezTo>
                  <a:close/>
                  <a:moveTo>
                    <a:pt x="935" y="75"/>
                  </a:moveTo>
                  <a:cubicBezTo>
                    <a:pt x="935" y="78"/>
                    <a:pt x="934" y="81"/>
                    <a:pt x="933" y="83"/>
                  </a:cubicBezTo>
                  <a:cubicBezTo>
                    <a:pt x="932" y="85"/>
                    <a:pt x="931" y="87"/>
                    <a:pt x="929" y="89"/>
                  </a:cubicBezTo>
                  <a:cubicBezTo>
                    <a:pt x="927" y="90"/>
                    <a:pt x="924" y="91"/>
                    <a:pt x="922" y="92"/>
                  </a:cubicBezTo>
                  <a:cubicBezTo>
                    <a:pt x="919" y="93"/>
                    <a:pt x="916" y="93"/>
                    <a:pt x="913" y="93"/>
                  </a:cubicBezTo>
                  <a:cubicBezTo>
                    <a:pt x="911" y="93"/>
                    <a:pt x="909" y="93"/>
                    <a:pt x="907" y="93"/>
                  </a:cubicBezTo>
                  <a:cubicBezTo>
                    <a:pt x="905" y="93"/>
                    <a:pt x="904" y="92"/>
                    <a:pt x="902" y="92"/>
                  </a:cubicBezTo>
                  <a:cubicBezTo>
                    <a:pt x="901" y="91"/>
                    <a:pt x="900" y="91"/>
                    <a:pt x="899" y="90"/>
                  </a:cubicBezTo>
                  <a:cubicBezTo>
                    <a:pt x="898" y="90"/>
                    <a:pt x="897" y="89"/>
                    <a:pt x="896" y="89"/>
                  </a:cubicBezTo>
                  <a:cubicBezTo>
                    <a:pt x="896" y="88"/>
                    <a:pt x="896" y="88"/>
                    <a:pt x="895" y="87"/>
                  </a:cubicBezTo>
                  <a:cubicBezTo>
                    <a:pt x="895" y="86"/>
                    <a:pt x="895" y="85"/>
                    <a:pt x="895" y="84"/>
                  </a:cubicBezTo>
                  <a:cubicBezTo>
                    <a:pt x="895" y="83"/>
                    <a:pt x="895" y="83"/>
                    <a:pt x="895" y="82"/>
                  </a:cubicBezTo>
                  <a:cubicBezTo>
                    <a:pt x="895" y="81"/>
                    <a:pt x="895" y="81"/>
                    <a:pt x="895" y="81"/>
                  </a:cubicBezTo>
                  <a:cubicBezTo>
                    <a:pt x="896" y="80"/>
                    <a:pt x="896" y="80"/>
                    <a:pt x="896" y="80"/>
                  </a:cubicBezTo>
                  <a:cubicBezTo>
                    <a:pt x="896" y="80"/>
                    <a:pt x="896" y="80"/>
                    <a:pt x="897" y="80"/>
                  </a:cubicBezTo>
                  <a:cubicBezTo>
                    <a:pt x="897" y="80"/>
                    <a:pt x="898" y="80"/>
                    <a:pt x="899" y="81"/>
                  </a:cubicBezTo>
                  <a:cubicBezTo>
                    <a:pt x="900" y="81"/>
                    <a:pt x="901" y="82"/>
                    <a:pt x="902" y="82"/>
                  </a:cubicBezTo>
                  <a:cubicBezTo>
                    <a:pt x="903" y="83"/>
                    <a:pt x="905" y="84"/>
                    <a:pt x="907" y="84"/>
                  </a:cubicBezTo>
                  <a:cubicBezTo>
                    <a:pt x="909" y="85"/>
                    <a:pt x="911" y="85"/>
                    <a:pt x="913" y="85"/>
                  </a:cubicBezTo>
                  <a:cubicBezTo>
                    <a:pt x="915" y="85"/>
                    <a:pt x="916" y="85"/>
                    <a:pt x="918" y="85"/>
                  </a:cubicBezTo>
                  <a:cubicBezTo>
                    <a:pt x="919" y="84"/>
                    <a:pt x="920" y="84"/>
                    <a:pt x="921" y="83"/>
                  </a:cubicBezTo>
                  <a:cubicBezTo>
                    <a:pt x="922" y="82"/>
                    <a:pt x="923" y="81"/>
                    <a:pt x="924" y="80"/>
                  </a:cubicBezTo>
                  <a:cubicBezTo>
                    <a:pt x="924" y="79"/>
                    <a:pt x="925" y="78"/>
                    <a:pt x="925" y="76"/>
                  </a:cubicBezTo>
                  <a:cubicBezTo>
                    <a:pt x="925" y="75"/>
                    <a:pt x="924" y="73"/>
                    <a:pt x="923" y="72"/>
                  </a:cubicBezTo>
                  <a:cubicBezTo>
                    <a:pt x="923" y="71"/>
                    <a:pt x="922" y="70"/>
                    <a:pt x="920" y="69"/>
                  </a:cubicBezTo>
                  <a:cubicBezTo>
                    <a:pt x="919" y="68"/>
                    <a:pt x="917" y="68"/>
                    <a:pt x="916" y="67"/>
                  </a:cubicBezTo>
                  <a:cubicBezTo>
                    <a:pt x="914" y="66"/>
                    <a:pt x="912" y="66"/>
                    <a:pt x="911" y="65"/>
                  </a:cubicBezTo>
                  <a:cubicBezTo>
                    <a:pt x="909" y="64"/>
                    <a:pt x="907" y="64"/>
                    <a:pt x="905" y="63"/>
                  </a:cubicBezTo>
                  <a:cubicBezTo>
                    <a:pt x="904" y="62"/>
                    <a:pt x="902" y="61"/>
                    <a:pt x="901" y="59"/>
                  </a:cubicBezTo>
                  <a:cubicBezTo>
                    <a:pt x="900" y="58"/>
                    <a:pt x="898" y="57"/>
                    <a:pt x="898" y="55"/>
                  </a:cubicBezTo>
                  <a:cubicBezTo>
                    <a:pt x="897" y="53"/>
                    <a:pt x="896" y="51"/>
                    <a:pt x="896" y="48"/>
                  </a:cubicBezTo>
                  <a:cubicBezTo>
                    <a:pt x="896" y="46"/>
                    <a:pt x="897" y="44"/>
                    <a:pt x="898" y="42"/>
                  </a:cubicBezTo>
                  <a:cubicBezTo>
                    <a:pt x="899" y="40"/>
                    <a:pt x="900" y="38"/>
                    <a:pt x="902" y="37"/>
                  </a:cubicBezTo>
                  <a:cubicBezTo>
                    <a:pt x="903" y="35"/>
                    <a:pt x="905" y="34"/>
                    <a:pt x="908" y="33"/>
                  </a:cubicBezTo>
                  <a:cubicBezTo>
                    <a:pt x="910" y="32"/>
                    <a:pt x="913" y="32"/>
                    <a:pt x="917" y="32"/>
                  </a:cubicBezTo>
                  <a:cubicBezTo>
                    <a:pt x="918" y="32"/>
                    <a:pt x="920" y="32"/>
                    <a:pt x="921" y="32"/>
                  </a:cubicBezTo>
                  <a:cubicBezTo>
                    <a:pt x="923" y="32"/>
                    <a:pt x="924" y="33"/>
                    <a:pt x="925" y="33"/>
                  </a:cubicBezTo>
                  <a:cubicBezTo>
                    <a:pt x="927" y="33"/>
                    <a:pt x="928" y="34"/>
                    <a:pt x="929" y="34"/>
                  </a:cubicBezTo>
                  <a:cubicBezTo>
                    <a:pt x="929" y="35"/>
                    <a:pt x="930" y="35"/>
                    <a:pt x="930" y="35"/>
                  </a:cubicBezTo>
                  <a:cubicBezTo>
                    <a:pt x="931" y="36"/>
                    <a:pt x="931" y="36"/>
                    <a:pt x="931" y="36"/>
                  </a:cubicBezTo>
                  <a:cubicBezTo>
                    <a:pt x="932" y="36"/>
                    <a:pt x="932" y="37"/>
                    <a:pt x="932" y="37"/>
                  </a:cubicBezTo>
                  <a:cubicBezTo>
                    <a:pt x="932" y="37"/>
                    <a:pt x="932" y="38"/>
                    <a:pt x="932" y="38"/>
                  </a:cubicBezTo>
                  <a:cubicBezTo>
                    <a:pt x="932" y="39"/>
                    <a:pt x="932" y="39"/>
                    <a:pt x="932" y="40"/>
                  </a:cubicBezTo>
                  <a:cubicBezTo>
                    <a:pt x="932" y="41"/>
                    <a:pt x="932" y="41"/>
                    <a:pt x="932" y="42"/>
                  </a:cubicBezTo>
                  <a:cubicBezTo>
                    <a:pt x="932" y="42"/>
                    <a:pt x="932" y="43"/>
                    <a:pt x="932" y="43"/>
                  </a:cubicBezTo>
                  <a:cubicBezTo>
                    <a:pt x="931" y="43"/>
                    <a:pt x="931" y="44"/>
                    <a:pt x="931" y="44"/>
                  </a:cubicBezTo>
                  <a:cubicBezTo>
                    <a:pt x="931" y="44"/>
                    <a:pt x="931" y="44"/>
                    <a:pt x="930" y="44"/>
                  </a:cubicBezTo>
                  <a:cubicBezTo>
                    <a:pt x="930" y="44"/>
                    <a:pt x="929" y="44"/>
                    <a:pt x="929" y="43"/>
                  </a:cubicBezTo>
                  <a:cubicBezTo>
                    <a:pt x="928" y="43"/>
                    <a:pt x="927" y="42"/>
                    <a:pt x="926" y="42"/>
                  </a:cubicBezTo>
                  <a:cubicBezTo>
                    <a:pt x="925" y="41"/>
                    <a:pt x="924" y="41"/>
                    <a:pt x="922" y="40"/>
                  </a:cubicBezTo>
                  <a:cubicBezTo>
                    <a:pt x="920" y="40"/>
                    <a:pt x="919" y="40"/>
                    <a:pt x="917" y="40"/>
                  </a:cubicBezTo>
                  <a:cubicBezTo>
                    <a:pt x="915" y="40"/>
                    <a:pt x="913" y="40"/>
                    <a:pt x="912" y="40"/>
                  </a:cubicBezTo>
                  <a:cubicBezTo>
                    <a:pt x="911" y="41"/>
                    <a:pt x="910" y="41"/>
                    <a:pt x="909" y="42"/>
                  </a:cubicBezTo>
                  <a:cubicBezTo>
                    <a:pt x="908" y="43"/>
                    <a:pt x="907" y="43"/>
                    <a:pt x="907" y="44"/>
                  </a:cubicBezTo>
                  <a:cubicBezTo>
                    <a:pt x="906" y="45"/>
                    <a:pt x="906" y="47"/>
                    <a:pt x="906" y="48"/>
                  </a:cubicBezTo>
                  <a:cubicBezTo>
                    <a:pt x="906" y="49"/>
                    <a:pt x="907" y="51"/>
                    <a:pt x="908" y="52"/>
                  </a:cubicBezTo>
                  <a:cubicBezTo>
                    <a:pt x="908" y="53"/>
                    <a:pt x="909" y="54"/>
                    <a:pt x="911" y="55"/>
                  </a:cubicBezTo>
                  <a:cubicBezTo>
                    <a:pt x="912" y="56"/>
                    <a:pt x="914" y="56"/>
                    <a:pt x="915" y="57"/>
                  </a:cubicBezTo>
                  <a:cubicBezTo>
                    <a:pt x="917" y="58"/>
                    <a:pt x="919" y="58"/>
                    <a:pt x="921" y="59"/>
                  </a:cubicBezTo>
                  <a:cubicBezTo>
                    <a:pt x="922" y="60"/>
                    <a:pt x="924" y="61"/>
                    <a:pt x="926" y="61"/>
                  </a:cubicBezTo>
                  <a:cubicBezTo>
                    <a:pt x="928" y="62"/>
                    <a:pt x="929" y="63"/>
                    <a:pt x="930" y="65"/>
                  </a:cubicBezTo>
                  <a:cubicBezTo>
                    <a:pt x="932" y="66"/>
                    <a:pt x="933" y="67"/>
                    <a:pt x="934" y="69"/>
                  </a:cubicBezTo>
                  <a:cubicBezTo>
                    <a:pt x="934" y="71"/>
                    <a:pt x="935" y="73"/>
                    <a:pt x="935" y="75"/>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13" name="Freeform 135">
              <a:extLst>
                <a:ext uri="{FF2B5EF4-FFF2-40B4-BE49-F238E27FC236}">
                  <a16:creationId xmlns:a16="http://schemas.microsoft.com/office/drawing/2014/main" id="{0CA2764D-C179-4B37-BBD7-594F58E37A95}"/>
                </a:ext>
              </a:extLst>
            </p:cNvPr>
            <p:cNvSpPr>
              <a:spLocks noEditPoints="1"/>
            </p:cNvSpPr>
            <p:nvPr/>
          </p:nvSpPr>
          <p:spPr bwMode="auto">
            <a:xfrm>
              <a:off x="2933" y="2266"/>
              <a:ext cx="921" cy="131"/>
            </a:xfrm>
            <a:custGeom>
              <a:avLst/>
              <a:gdLst>
                <a:gd name="T0" fmla="*/ 1 w 2059"/>
                <a:gd name="T1" fmla="*/ 5 h 293"/>
                <a:gd name="T2" fmla="*/ 92 w 2059"/>
                <a:gd name="T3" fmla="*/ 46 h 293"/>
                <a:gd name="T4" fmla="*/ 114 w 2059"/>
                <a:gd name="T5" fmla="*/ 53 h 293"/>
                <a:gd name="T6" fmla="*/ 122 w 2059"/>
                <a:gd name="T7" fmla="*/ 63 h 293"/>
                <a:gd name="T8" fmla="*/ 204 w 2059"/>
                <a:gd name="T9" fmla="*/ 91 h 293"/>
                <a:gd name="T10" fmla="*/ 167 w 2059"/>
                <a:gd name="T11" fmla="*/ 79 h 293"/>
                <a:gd name="T12" fmla="*/ 262 w 2059"/>
                <a:gd name="T13" fmla="*/ 117 h 293"/>
                <a:gd name="T14" fmla="*/ 227 w 2059"/>
                <a:gd name="T15" fmla="*/ 101 h 293"/>
                <a:gd name="T16" fmla="*/ 283 w 2059"/>
                <a:gd name="T17" fmla="*/ 128 h 293"/>
                <a:gd name="T18" fmla="*/ 376 w 2059"/>
                <a:gd name="T19" fmla="*/ 156 h 293"/>
                <a:gd name="T20" fmla="*/ 339 w 2059"/>
                <a:gd name="T21" fmla="*/ 145 h 293"/>
                <a:gd name="T22" fmla="*/ 434 w 2059"/>
                <a:gd name="T23" fmla="*/ 178 h 293"/>
                <a:gd name="T24" fmla="*/ 494 w 2059"/>
                <a:gd name="T25" fmla="*/ 191 h 293"/>
                <a:gd name="T26" fmla="*/ 459 w 2059"/>
                <a:gd name="T27" fmla="*/ 181 h 293"/>
                <a:gd name="T28" fmla="*/ 517 w 2059"/>
                <a:gd name="T29" fmla="*/ 202 h 293"/>
                <a:gd name="T30" fmla="*/ 615 w 2059"/>
                <a:gd name="T31" fmla="*/ 224 h 293"/>
                <a:gd name="T32" fmla="*/ 638 w 2059"/>
                <a:gd name="T33" fmla="*/ 227 h 293"/>
                <a:gd name="T34" fmla="*/ 635 w 2059"/>
                <a:gd name="T35" fmla="*/ 229 h 293"/>
                <a:gd name="T36" fmla="*/ 732 w 2059"/>
                <a:gd name="T37" fmla="*/ 251 h 293"/>
                <a:gd name="T38" fmla="*/ 793 w 2059"/>
                <a:gd name="T39" fmla="*/ 256 h 293"/>
                <a:gd name="T40" fmla="*/ 758 w 2059"/>
                <a:gd name="T41" fmla="*/ 251 h 293"/>
                <a:gd name="T42" fmla="*/ 818 w 2059"/>
                <a:gd name="T43" fmla="*/ 264 h 293"/>
                <a:gd name="T44" fmla="*/ 915 w 2059"/>
                <a:gd name="T45" fmla="*/ 272 h 293"/>
                <a:gd name="T46" fmla="*/ 877 w 2059"/>
                <a:gd name="T47" fmla="*/ 270 h 293"/>
                <a:gd name="T48" fmla="*/ 976 w 2059"/>
                <a:gd name="T49" fmla="*/ 283 h 293"/>
                <a:gd name="T50" fmla="*/ 1015 w 2059"/>
                <a:gd name="T51" fmla="*/ 282 h 293"/>
                <a:gd name="T52" fmla="*/ 1001 w 2059"/>
                <a:gd name="T53" fmla="*/ 286 h 293"/>
                <a:gd name="T54" fmla="*/ 1101 w 2059"/>
                <a:gd name="T55" fmla="*/ 288 h 293"/>
                <a:gd name="T56" fmla="*/ 1124 w 2059"/>
                <a:gd name="T57" fmla="*/ 287 h 293"/>
                <a:gd name="T58" fmla="*/ 1145 w 2059"/>
                <a:gd name="T59" fmla="*/ 293 h 293"/>
                <a:gd name="T60" fmla="*/ 1221 w 2059"/>
                <a:gd name="T61" fmla="*/ 288 h 293"/>
                <a:gd name="T62" fmla="*/ 1186 w 2059"/>
                <a:gd name="T63" fmla="*/ 288 h 293"/>
                <a:gd name="T64" fmla="*/ 1283 w 2059"/>
                <a:gd name="T65" fmla="*/ 293 h 293"/>
                <a:gd name="T66" fmla="*/ 1308 w 2059"/>
                <a:gd name="T67" fmla="*/ 286 h 293"/>
                <a:gd name="T68" fmla="*/ 1306 w 2059"/>
                <a:gd name="T69" fmla="*/ 289 h 293"/>
                <a:gd name="T70" fmla="*/ 1406 w 2059"/>
                <a:gd name="T71" fmla="*/ 286 h 293"/>
                <a:gd name="T72" fmla="*/ 1466 w 2059"/>
                <a:gd name="T73" fmla="*/ 275 h 293"/>
                <a:gd name="T74" fmla="*/ 1431 w 2059"/>
                <a:gd name="T75" fmla="*/ 279 h 293"/>
                <a:gd name="T76" fmla="*/ 1492 w 2059"/>
                <a:gd name="T77" fmla="*/ 278 h 293"/>
                <a:gd name="T78" fmla="*/ 1591 w 2059"/>
                <a:gd name="T79" fmla="*/ 263 h 293"/>
                <a:gd name="T80" fmla="*/ 1614 w 2059"/>
                <a:gd name="T81" fmla="*/ 257 h 293"/>
                <a:gd name="T82" fmla="*/ 1611 w 2059"/>
                <a:gd name="T83" fmla="*/ 260 h 293"/>
                <a:gd name="T84" fmla="*/ 1710 w 2059"/>
                <a:gd name="T85" fmla="*/ 246 h 293"/>
                <a:gd name="T86" fmla="*/ 1769 w 2059"/>
                <a:gd name="T87" fmla="*/ 228 h 293"/>
                <a:gd name="T88" fmla="*/ 1734 w 2059"/>
                <a:gd name="T89" fmla="*/ 235 h 293"/>
                <a:gd name="T90" fmla="*/ 1830 w 2059"/>
                <a:gd name="T91" fmla="*/ 219 h 293"/>
                <a:gd name="T92" fmla="*/ 1854 w 2059"/>
                <a:gd name="T93" fmla="*/ 208 h 293"/>
                <a:gd name="T94" fmla="*/ 1852 w 2059"/>
                <a:gd name="T95" fmla="*/ 211 h 293"/>
                <a:gd name="T96" fmla="*/ 1951 w 2059"/>
                <a:gd name="T97" fmla="*/ 185 h 293"/>
                <a:gd name="T98" fmla="*/ 1913 w 2059"/>
                <a:gd name="T99" fmla="*/ 193 h 293"/>
                <a:gd name="T100" fmla="*/ 1974 w 2059"/>
                <a:gd name="T101" fmla="*/ 180 h 293"/>
                <a:gd name="T102" fmla="*/ 2059 w 2059"/>
                <a:gd name="T103" fmla="*/ 15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59" h="293">
                  <a:moveTo>
                    <a:pt x="4" y="0"/>
                  </a:moveTo>
                  <a:lnTo>
                    <a:pt x="36" y="16"/>
                  </a:lnTo>
                  <a:cubicBezTo>
                    <a:pt x="37" y="16"/>
                    <a:pt x="38" y="18"/>
                    <a:pt x="37" y="19"/>
                  </a:cubicBezTo>
                  <a:cubicBezTo>
                    <a:pt x="36" y="20"/>
                    <a:pt x="35" y="21"/>
                    <a:pt x="34" y="20"/>
                  </a:cubicBezTo>
                  <a:lnTo>
                    <a:pt x="1" y="5"/>
                  </a:lnTo>
                  <a:cubicBezTo>
                    <a:pt x="0" y="4"/>
                    <a:pt x="0" y="3"/>
                    <a:pt x="0" y="1"/>
                  </a:cubicBezTo>
                  <a:cubicBezTo>
                    <a:pt x="1" y="0"/>
                    <a:pt x="2" y="0"/>
                    <a:pt x="4" y="0"/>
                  </a:cubicBezTo>
                  <a:close/>
                  <a:moveTo>
                    <a:pt x="59" y="27"/>
                  </a:moveTo>
                  <a:lnTo>
                    <a:pt x="91" y="42"/>
                  </a:lnTo>
                  <a:cubicBezTo>
                    <a:pt x="93" y="43"/>
                    <a:pt x="93" y="44"/>
                    <a:pt x="92" y="46"/>
                  </a:cubicBezTo>
                  <a:cubicBezTo>
                    <a:pt x="92" y="47"/>
                    <a:pt x="90" y="47"/>
                    <a:pt x="89" y="47"/>
                  </a:cubicBezTo>
                  <a:lnTo>
                    <a:pt x="57" y="31"/>
                  </a:lnTo>
                  <a:cubicBezTo>
                    <a:pt x="55" y="31"/>
                    <a:pt x="55" y="29"/>
                    <a:pt x="56" y="28"/>
                  </a:cubicBezTo>
                  <a:cubicBezTo>
                    <a:pt x="56" y="27"/>
                    <a:pt x="58" y="26"/>
                    <a:pt x="59" y="27"/>
                  </a:cubicBezTo>
                  <a:close/>
                  <a:moveTo>
                    <a:pt x="114" y="53"/>
                  </a:moveTo>
                  <a:lnTo>
                    <a:pt x="125" y="58"/>
                  </a:lnTo>
                  <a:lnTo>
                    <a:pt x="147" y="68"/>
                  </a:lnTo>
                  <a:cubicBezTo>
                    <a:pt x="148" y="68"/>
                    <a:pt x="149" y="70"/>
                    <a:pt x="148" y="71"/>
                  </a:cubicBezTo>
                  <a:cubicBezTo>
                    <a:pt x="148" y="72"/>
                    <a:pt x="146" y="73"/>
                    <a:pt x="145" y="72"/>
                  </a:cubicBezTo>
                  <a:lnTo>
                    <a:pt x="122" y="63"/>
                  </a:lnTo>
                  <a:lnTo>
                    <a:pt x="112" y="58"/>
                  </a:lnTo>
                  <a:cubicBezTo>
                    <a:pt x="111" y="57"/>
                    <a:pt x="110" y="56"/>
                    <a:pt x="111" y="54"/>
                  </a:cubicBezTo>
                  <a:cubicBezTo>
                    <a:pt x="112" y="53"/>
                    <a:pt x="113" y="53"/>
                    <a:pt x="114" y="53"/>
                  </a:cubicBezTo>
                  <a:close/>
                  <a:moveTo>
                    <a:pt x="171" y="77"/>
                  </a:moveTo>
                  <a:lnTo>
                    <a:pt x="204" y="91"/>
                  </a:lnTo>
                  <a:cubicBezTo>
                    <a:pt x="205" y="92"/>
                    <a:pt x="206" y="93"/>
                    <a:pt x="205" y="95"/>
                  </a:cubicBezTo>
                  <a:cubicBezTo>
                    <a:pt x="205" y="96"/>
                    <a:pt x="203" y="97"/>
                    <a:pt x="202" y="96"/>
                  </a:cubicBezTo>
                  <a:lnTo>
                    <a:pt x="202" y="96"/>
                  </a:lnTo>
                  <a:lnTo>
                    <a:pt x="169" y="82"/>
                  </a:lnTo>
                  <a:cubicBezTo>
                    <a:pt x="167" y="82"/>
                    <a:pt x="167" y="80"/>
                    <a:pt x="167" y="79"/>
                  </a:cubicBezTo>
                  <a:cubicBezTo>
                    <a:pt x="168" y="78"/>
                    <a:pt x="169" y="77"/>
                    <a:pt x="171" y="77"/>
                  </a:cubicBezTo>
                  <a:close/>
                  <a:moveTo>
                    <a:pt x="227" y="101"/>
                  </a:moveTo>
                  <a:lnTo>
                    <a:pt x="246" y="109"/>
                  </a:lnTo>
                  <a:lnTo>
                    <a:pt x="261" y="114"/>
                  </a:lnTo>
                  <a:cubicBezTo>
                    <a:pt x="262" y="115"/>
                    <a:pt x="263" y="116"/>
                    <a:pt x="262" y="117"/>
                  </a:cubicBezTo>
                  <a:cubicBezTo>
                    <a:pt x="262" y="119"/>
                    <a:pt x="260" y="119"/>
                    <a:pt x="259" y="119"/>
                  </a:cubicBezTo>
                  <a:lnTo>
                    <a:pt x="244" y="114"/>
                  </a:lnTo>
                  <a:lnTo>
                    <a:pt x="225" y="106"/>
                  </a:lnTo>
                  <a:cubicBezTo>
                    <a:pt x="224" y="105"/>
                    <a:pt x="223" y="104"/>
                    <a:pt x="224" y="103"/>
                  </a:cubicBezTo>
                  <a:cubicBezTo>
                    <a:pt x="225" y="101"/>
                    <a:pt x="226" y="101"/>
                    <a:pt x="227" y="101"/>
                  </a:cubicBezTo>
                  <a:close/>
                  <a:moveTo>
                    <a:pt x="285" y="123"/>
                  </a:moveTo>
                  <a:lnTo>
                    <a:pt x="318" y="135"/>
                  </a:lnTo>
                  <a:cubicBezTo>
                    <a:pt x="320" y="135"/>
                    <a:pt x="320" y="137"/>
                    <a:pt x="320" y="138"/>
                  </a:cubicBezTo>
                  <a:cubicBezTo>
                    <a:pt x="319" y="140"/>
                    <a:pt x="318" y="140"/>
                    <a:pt x="317" y="140"/>
                  </a:cubicBezTo>
                  <a:lnTo>
                    <a:pt x="283" y="128"/>
                  </a:lnTo>
                  <a:cubicBezTo>
                    <a:pt x="282" y="127"/>
                    <a:pt x="281" y="126"/>
                    <a:pt x="281" y="124"/>
                  </a:cubicBezTo>
                  <a:cubicBezTo>
                    <a:pt x="282" y="123"/>
                    <a:pt x="283" y="122"/>
                    <a:pt x="285" y="123"/>
                  </a:cubicBezTo>
                  <a:close/>
                  <a:moveTo>
                    <a:pt x="342" y="144"/>
                  </a:moveTo>
                  <a:lnTo>
                    <a:pt x="371" y="154"/>
                  </a:lnTo>
                  <a:lnTo>
                    <a:pt x="376" y="156"/>
                  </a:lnTo>
                  <a:cubicBezTo>
                    <a:pt x="378" y="156"/>
                    <a:pt x="378" y="157"/>
                    <a:pt x="378" y="159"/>
                  </a:cubicBezTo>
                  <a:cubicBezTo>
                    <a:pt x="377" y="160"/>
                    <a:pt x="376" y="161"/>
                    <a:pt x="375" y="160"/>
                  </a:cubicBezTo>
                  <a:lnTo>
                    <a:pt x="370" y="159"/>
                  </a:lnTo>
                  <a:lnTo>
                    <a:pt x="341" y="148"/>
                  </a:lnTo>
                  <a:cubicBezTo>
                    <a:pt x="339" y="148"/>
                    <a:pt x="339" y="147"/>
                    <a:pt x="339" y="145"/>
                  </a:cubicBezTo>
                  <a:cubicBezTo>
                    <a:pt x="340" y="144"/>
                    <a:pt x="341" y="143"/>
                    <a:pt x="342" y="144"/>
                  </a:cubicBezTo>
                  <a:close/>
                  <a:moveTo>
                    <a:pt x="401" y="163"/>
                  </a:moveTo>
                  <a:lnTo>
                    <a:pt x="435" y="173"/>
                  </a:lnTo>
                  <a:cubicBezTo>
                    <a:pt x="436" y="174"/>
                    <a:pt x="437" y="175"/>
                    <a:pt x="437" y="176"/>
                  </a:cubicBezTo>
                  <a:cubicBezTo>
                    <a:pt x="436" y="178"/>
                    <a:pt x="435" y="179"/>
                    <a:pt x="434" y="178"/>
                  </a:cubicBezTo>
                  <a:lnTo>
                    <a:pt x="399" y="168"/>
                  </a:lnTo>
                  <a:cubicBezTo>
                    <a:pt x="398" y="167"/>
                    <a:pt x="397" y="166"/>
                    <a:pt x="397" y="165"/>
                  </a:cubicBezTo>
                  <a:cubicBezTo>
                    <a:pt x="398" y="163"/>
                    <a:pt x="399" y="162"/>
                    <a:pt x="401" y="163"/>
                  </a:cubicBezTo>
                  <a:close/>
                  <a:moveTo>
                    <a:pt x="459" y="181"/>
                  </a:moveTo>
                  <a:lnTo>
                    <a:pt x="494" y="191"/>
                  </a:lnTo>
                  <a:cubicBezTo>
                    <a:pt x="495" y="191"/>
                    <a:pt x="496" y="193"/>
                    <a:pt x="496" y="194"/>
                  </a:cubicBezTo>
                  <a:cubicBezTo>
                    <a:pt x="495" y="196"/>
                    <a:pt x="494" y="196"/>
                    <a:pt x="492" y="196"/>
                  </a:cubicBezTo>
                  <a:lnTo>
                    <a:pt x="458" y="186"/>
                  </a:lnTo>
                  <a:cubicBezTo>
                    <a:pt x="457" y="185"/>
                    <a:pt x="456" y="184"/>
                    <a:pt x="456" y="182"/>
                  </a:cubicBezTo>
                  <a:cubicBezTo>
                    <a:pt x="457" y="181"/>
                    <a:pt x="458" y="180"/>
                    <a:pt x="459" y="181"/>
                  </a:cubicBezTo>
                  <a:close/>
                  <a:moveTo>
                    <a:pt x="518" y="197"/>
                  </a:moveTo>
                  <a:lnTo>
                    <a:pt x="553" y="206"/>
                  </a:lnTo>
                  <a:cubicBezTo>
                    <a:pt x="555" y="206"/>
                    <a:pt x="555" y="208"/>
                    <a:pt x="555" y="209"/>
                  </a:cubicBezTo>
                  <a:cubicBezTo>
                    <a:pt x="555" y="210"/>
                    <a:pt x="553" y="211"/>
                    <a:pt x="552" y="211"/>
                  </a:cubicBezTo>
                  <a:lnTo>
                    <a:pt x="517" y="202"/>
                  </a:lnTo>
                  <a:cubicBezTo>
                    <a:pt x="516" y="202"/>
                    <a:pt x="515" y="201"/>
                    <a:pt x="515" y="199"/>
                  </a:cubicBezTo>
                  <a:cubicBezTo>
                    <a:pt x="516" y="198"/>
                    <a:pt x="517" y="197"/>
                    <a:pt x="518" y="197"/>
                  </a:cubicBezTo>
                  <a:close/>
                  <a:moveTo>
                    <a:pt x="578" y="212"/>
                  </a:moveTo>
                  <a:lnTo>
                    <a:pt x="613" y="221"/>
                  </a:lnTo>
                  <a:cubicBezTo>
                    <a:pt x="614" y="221"/>
                    <a:pt x="615" y="223"/>
                    <a:pt x="615" y="224"/>
                  </a:cubicBezTo>
                  <a:cubicBezTo>
                    <a:pt x="614" y="225"/>
                    <a:pt x="613" y="226"/>
                    <a:pt x="612" y="226"/>
                  </a:cubicBezTo>
                  <a:lnTo>
                    <a:pt x="577" y="217"/>
                  </a:lnTo>
                  <a:cubicBezTo>
                    <a:pt x="575" y="217"/>
                    <a:pt x="575" y="215"/>
                    <a:pt x="575" y="214"/>
                  </a:cubicBezTo>
                  <a:cubicBezTo>
                    <a:pt x="575" y="213"/>
                    <a:pt x="577" y="212"/>
                    <a:pt x="578" y="212"/>
                  </a:cubicBezTo>
                  <a:close/>
                  <a:moveTo>
                    <a:pt x="638" y="227"/>
                  </a:moveTo>
                  <a:lnTo>
                    <a:pt x="673" y="234"/>
                  </a:lnTo>
                  <a:cubicBezTo>
                    <a:pt x="674" y="234"/>
                    <a:pt x="675" y="235"/>
                    <a:pt x="675" y="237"/>
                  </a:cubicBezTo>
                  <a:cubicBezTo>
                    <a:pt x="675" y="238"/>
                    <a:pt x="673" y="239"/>
                    <a:pt x="672" y="239"/>
                  </a:cubicBezTo>
                  <a:lnTo>
                    <a:pt x="637" y="232"/>
                  </a:lnTo>
                  <a:cubicBezTo>
                    <a:pt x="635" y="231"/>
                    <a:pt x="634" y="230"/>
                    <a:pt x="635" y="229"/>
                  </a:cubicBezTo>
                  <a:cubicBezTo>
                    <a:pt x="635" y="227"/>
                    <a:pt x="636" y="226"/>
                    <a:pt x="638" y="227"/>
                  </a:cubicBezTo>
                  <a:close/>
                  <a:moveTo>
                    <a:pt x="698" y="239"/>
                  </a:moveTo>
                  <a:lnTo>
                    <a:pt x="733" y="246"/>
                  </a:lnTo>
                  <a:cubicBezTo>
                    <a:pt x="734" y="246"/>
                    <a:pt x="735" y="247"/>
                    <a:pt x="735" y="249"/>
                  </a:cubicBezTo>
                  <a:cubicBezTo>
                    <a:pt x="735" y="250"/>
                    <a:pt x="733" y="251"/>
                    <a:pt x="732" y="251"/>
                  </a:cubicBezTo>
                  <a:lnTo>
                    <a:pt x="697" y="244"/>
                  </a:lnTo>
                  <a:cubicBezTo>
                    <a:pt x="696" y="243"/>
                    <a:pt x="695" y="242"/>
                    <a:pt x="695" y="241"/>
                  </a:cubicBezTo>
                  <a:cubicBezTo>
                    <a:pt x="695" y="239"/>
                    <a:pt x="697" y="238"/>
                    <a:pt x="698" y="239"/>
                  </a:cubicBezTo>
                  <a:close/>
                  <a:moveTo>
                    <a:pt x="758" y="251"/>
                  </a:moveTo>
                  <a:lnTo>
                    <a:pt x="793" y="256"/>
                  </a:lnTo>
                  <a:cubicBezTo>
                    <a:pt x="795" y="256"/>
                    <a:pt x="796" y="257"/>
                    <a:pt x="796" y="259"/>
                  </a:cubicBezTo>
                  <a:cubicBezTo>
                    <a:pt x="795" y="260"/>
                    <a:pt x="794" y="261"/>
                    <a:pt x="793" y="261"/>
                  </a:cubicBezTo>
                  <a:lnTo>
                    <a:pt x="757" y="256"/>
                  </a:lnTo>
                  <a:cubicBezTo>
                    <a:pt x="756" y="255"/>
                    <a:pt x="755" y="254"/>
                    <a:pt x="755" y="253"/>
                  </a:cubicBezTo>
                  <a:cubicBezTo>
                    <a:pt x="755" y="251"/>
                    <a:pt x="757" y="250"/>
                    <a:pt x="758" y="251"/>
                  </a:cubicBezTo>
                  <a:close/>
                  <a:moveTo>
                    <a:pt x="819" y="259"/>
                  </a:moveTo>
                  <a:lnTo>
                    <a:pt x="854" y="265"/>
                  </a:lnTo>
                  <a:cubicBezTo>
                    <a:pt x="856" y="265"/>
                    <a:pt x="857" y="266"/>
                    <a:pt x="856" y="268"/>
                  </a:cubicBezTo>
                  <a:cubicBezTo>
                    <a:pt x="856" y="269"/>
                    <a:pt x="855" y="270"/>
                    <a:pt x="854" y="270"/>
                  </a:cubicBezTo>
                  <a:lnTo>
                    <a:pt x="818" y="264"/>
                  </a:lnTo>
                  <a:cubicBezTo>
                    <a:pt x="817" y="264"/>
                    <a:pt x="816" y="263"/>
                    <a:pt x="816" y="262"/>
                  </a:cubicBezTo>
                  <a:cubicBezTo>
                    <a:pt x="816" y="260"/>
                    <a:pt x="817" y="259"/>
                    <a:pt x="819" y="259"/>
                  </a:cubicBezTo>
                  <a:close/>
                  <a:moveTo>
                    <a:pt x="880" y="268"/>
                  </a:moveTo>
                  <a:lnTo>
                    <a:pt x="884" y="269"/>
                  </a:lnTo>
                  <a:lnTo>
                    <a:pt x="915" y="272"/>
                  </a:lnTo>
                  <a:cubicBezTo>
                    <a:pt x="917" y="272"/>
                    <a:pt x="918" y="273"/>
                    <a:pt x="917" y="275"/>
                  </a:cubicBezTo>
                  <a:cubicBezTo>
                    <a:pt x="917" y="276"/>
                    <a:pt x="916" y="277"/>
                    <a:pt x="915" y="277"/>
                  </a:cubicBezTo>
                  <a:lnTo>
                    <a:pt x="883" y="274"/>
                  </a:lnTo>
                  <a:lnTo>
                    <a:pt x="879" y="273"/>
                  </a:lnTo>
                  <a:cubicBezTo>
                    <a:pt x="877" y="273"/>
                    <a:pt x="876" y="272"/>
                    <a:pt x="877" y="270"/>
                  </a:cubicBezTo>
                  <a:cubicBezTo>
                    <a:pt x="877" y="269"/>
                    <a:pt x="878" y="268"/>
                    <a:pt x="880" y="268"/>
                  </a:cubicBezTo>
                  <a:close/>
                  <a:moveTo>
                    <a:pt x="941" y="275"/>
                  </a:moveTo>
                  <a:lnTo>
                    <a:pt x="976" y="278"/>
                  </a:lnTo>
                  <a:cubicBezTo>
                    <a:pt x="978" y="278"/>
                    <a:pt x="979" y="279"/>
                    <a:pt x="979" y="281"/>
                  </a:cubicBezTo>
                  <a:cubicBezTo>
                    <a:pt x="978" y="282"/>
                    <a:pt x="977" y="283"/>
                    <a:pt x="976" y="283"/>
                  </a:cubicBezTo>
                  <a:lnTo>
                    <a:pt x="940" y="280"/>
                  </a:lnTo>
                  <a:cubicBezTo>
                    <a:pt x="939" y="280"/>
                    <a:pt x="938" y="278"/>
                    <a:pt x="938" y="277"/>
                  </a:cubicBezTo>
                  <a:cubicBezTo>
                    <a:pt x="938" y="275"/>
                    <a:pt x="939" y="274"/>
                    <a:pt x="941" y="275"/>
                  </a:cubicBezTo>
                  <a:close/>
                  <a:moveTo>
                    <a:pt x="1002" y="281"/>
                  </a:moveTo>
                  <a:lnTo>
                    <a:pt x="1015" y="282"/>
                  </a:lnTo>
                  <a:lnTo>
                    <a:pt x="1037" y="283"/>
                  </a:lnTo>
                  <a:cubicBezTo>
                    <a:pt x="1039" y="283"/>
                    <a:pt x="1040" y="284"/>
                    <a:pt x="1040" y="286"/>
                  </a:cubicBezTo>
                  <a:cubicBezTo>
                    <a:pt x="1040" y="287"/>
                    <a:pt x="1039" y="288"/>
                    <a:pt x="1037" y="288"/>
                  </a:cubicBezTo>
                  <a:lnTo>
                    <a:pt x="1014" y="287"/>
                  </a:lnTo>
                  <a:lnTo>
                    <a:pt x="1001" y="286"/>
                  </a:lnTo>
                  <a:cubicBezTo>
                    <a:pt x="1000" y="286"/>
                    <a:pt x="999" y="284"/>
                    <a:pt x="999" y="283"/>
                  </a:cubicBezTo>
                  <a:cubicBezTo>
                    <a:pt x="999" y="282"/>
                    <a:pt x="1000" y="280"/>
                    <a:pt x="1002" y="281"/>
                  </a:cubicBezTo>
                  <a:close/>
                  <a:moveTo>
                    <a:pt x="1063" y="284"/>
                  </a:moveTo>
                  <a:lnTo>
                    <a:pt x="1099" y="286"/>
                  </a:lnTo>
                  <a:cubicBezTo>
                    <a:pt x="1100" y="286"/>
                    <a:pt x="1101" y="287"/>
                    <a:pt x="1101" y="288"/>
                  </a:cubicBezTo>
                  <a:cubicBezTo>
                    <a:pt x="1101" y="290"/>
                    <a:pt x="1100" y="291"/>
                    <a:pt x="1098" y="291"/>
                  </a:cubicBezTo>
                  <a:lnTo>
                    <a:pt x="1063" y="289"/>
                  </a:lnTo>
                  <a:cubicBezTo>
                    <a:pt x="1061" y="289"/>
                    <a:pt x="1060" y="288"/>
                    <a:pt x="1060" y="287"/>
                  </a:cubicBezTo>
                  <a:cubicBezTo>
                    <a:pt x="1060" y="285"/>
                    <a:pt x="1062" y="284"/>
                    <a:pt x="1063" y="284"/>
                  </a:cubicBezTo>
                  <a:close/>
                  <a:moveTo>
                    <a:pt x="1124" y="287"/>
                  </a:moveTo>
                  <a:lnTo>
                    <a:pt x="1146" y="288"/>
                  </a:lnTo>
                  <a:lnTo>
                    <a:pt x="1160" y="288"/>
                  </a:lnTo>
                  <a:cubicBezTo>
                    <a:pt x="1161" y="288"/>
                    <a:pt x="1163" y="289"/>
                    <a:pt x="1163" y="290"/>
                  </a:cubicBezTo>
                  <a:cubicBezTo>
                    <a:pt x="1163" y="292"/>
                    <a:pt x="1161" y="293"/>
                    <a:pt x="1160" y="293"/>
                  </a:cubicBezTo>
                  <a:lnTo>
                    <a:pt x="1145" y="293"/>
                  </a:lnTo>
                  <a:lnTo>
                    <a:pt x="1124" y="292"/>
                  </a:lnTo>
                  <a:cubicBezTo>
                    <a:pt x="1123" y="292"/>
                    <a:pt x="1122" y="291"/>
                    <a:pt x="1122" y="289"/>
                  </a:cubicBezTo>
                  <a:cubicBezTo>
                    <a:pt x="1122" y="288"/>
                    <a:pt x="1123" y="287"/>
                    <a:pt x="1124" y="287"/>
                  </a:cubicBezTo>
                  <a:close/>
                  <a:moveTo>
                    <a:pt x="1186" y="288"/>
                  </a:moveTo>
                  <a:lnTo>
                    <a:pt x="1221" y="288"/>
                  </a:lnTo>
                  <a:cubicBezTo>
                    <a:pt x="1223" y="288"/>
                    <a:pt x="1224" y="289"/>
                    <a:pt x="1224" y="290"/>
                  </a:cubicBezTo>
                  <a:cubicBezTo>
                    <a:pt x="1224" y="292"/>
                    <a:pt x="1223" y="293"/>
                    <a:pt x="1221" y="293"/>
                  </a:cubicBezTo>
                  <a:lnTo>
                    <a:pt x="1186" y="293"/>
                  </a:lnTo>
                  <a:cubicBezTo>
                    <a:pt x="1184" y="293"/>
                    <a:pt x="1183" y="292"/>
                    <a:pt x="1183" y="290"/>
                  </a:cubicBezTo>
                  <a:cubicBezTo>
                    <a:pt x="1183" y="289"/>
                    <a:pt x="1184" y="288"/>
                    <a:pt x="1186" y="288"/>
                  </a:cubicBezTo>
                  <a:close/>
                  <a:moveTo>
                    <a:pt x="1247" y="288"/>
                  </a:moveTo>
                  <a:lnTo>
                    <a:pt x="1277" y="288"/>
                  </a:lnTo>
                  <a:lnTo>
                    <a:pt x="1283" y="288"/>
                  </a:lnTo>
                  <a:cubicBezTo>
                    <a:pt x="1284" y="288"/>
                    <a:pt x="1285" y="289"/>
                    <a:pt x="1285" y="290"/>
                  </a:cubicBezTo>
                  <a:cubicBezTo>
                    <a:pt x="1285" y="291"/>
                    <a:pt x="1284" y="293"/>
                    <a:pt x="1283" y="293"/>
                  </a:cubicBezTo>
                  <a:lnTo>
                    <a:pt x="1277" y="293"/>
                  </a:lnTo>
                  <a:lnTo>
                    <a:pt x="1247" y="293"/>
                  </a:lnTo>
                  <a:cubicBezTo>
                    <a:pt x="1246" y="293"/>
                    <a:pt x="1244" y="292"/>
                    <a:pt x="1244" y="290"/>
                  </a:cubicBezTo>
                  <a:cubicBezTo>
                    <a:pt x="1244" y="289"/>
                    <a:pt x="1246" y="288"/>
                    <a:pt x="1247" y="288"/>
                  </a:cubicBezTo>
                  <a:close/>
                  <a:moveTo>
                    <a:pt x="1308" y="286"/>
                  </a:moveTo>
                  <a:lnTo>
                    <a:pt x="1344" y="284"/>
                  </a:lnTo>
                  <a:cubicBezTo>
                    <a:pt x="1345" y="284"/>
                    <a:pt x="1347" y="285"/>
                    <a:pt x="1347" y="287"/>
                  </a:cubicBezTo>
                  <a:cubicBezTo>
                    <a:pt x="1347" y="288"/>
                    <a:pt x="1346" y="289"/>
                    <a:pt x="1344" y="289"/>
                  </a:cubicBezTo>
                  <a:lnTo>
                    <a:pt x="1309" y="291"/>
                  </a:lnTo>
                  <a:cubicBezTo>
                    <a:pt x="1307" y="291"/>
                    <a:pt x="1306" y="290"/>
                    <a:pt x="1306" y="289"/>
                  </a:cubicBezTo>
                  <a:cubicBezTo>
                    <a:pt x="1306" y="288"/>
                    <a:pt x="1307" y="286"/>
                    <a:pt x="1308" y="286"/>
                  </a:cubicBezTo>
                  <a:close/>
                  <a:moveTo>
                    <a:pt x="1370" y="283"/>
                  </a:moveTo>
                  <a:lnTo>
                    <a:pt x="1405" y="281"/>
                  </a:lnTo>
                  <a:cubicBezTo>
                    <a:pt x="1407" y="281"/>
                    <a:pt x="1408" y="282"/>
                    <a:pt x="1408" y="283"/>
                  </a:cubicBezTo>
                  <a:cubicBezTo>
                    <a:pt x="1408" y="285"/>
                    <a:pt x="1407" y="286"/>
                    <a:pt x="1406" y="286"/>
                  </a:cubicBezTo>
                  <a:lnTo>
                    <a:pt x="1370" y="288"/>
                  </a:lnTo>
                  <a:cubicBezTo>
                    <a:pt x="1368" y="288"/>
                    <a:pt x="1367" y="287"/>
                    <a:pt x="1367" y="286"/>
                  </a:cubicBezTo>
                  <a:cubicBezTo>
                    <a:pt x="1367" y="284"/>
                    <a:pt x="1368" y="283"/>
                    <a:pt x="1370" y="283"/>
                  </a:cubicBezTo>
                  <a:close/>
                  <a:moveTo>
                    <a:pt x="1431" y="279"/>
                  </a:moveTo>
                  <a:lnTo>
                    <a:pt x="1466" y="275"/>
                  </a:lnTo>
                  <a:cubicBezTo>
                    <a:pt x="1468" y="275"/>
                    <a:pt x="1469" y="276"/>
                    <a:pt x="1469" y="277"/>
                  </a:cubicBezTo>
                  <a:cubicBezTo>
                    <a:pt x="1469" y="279"/>
                    <a:pt x="1468" y="280"/>
                    <a:pt x="1467" y="280"/>
                  </a:cubicBezTo>
                  <a:lnTo>
                    <a:pt x="1431" y="284"/>
                  </a:lnTo>
                  <a:cubicBezTo>
                    <a:pt x="1430" y="284"/>
                    <a:pt x="1429" y="283"/>
                    <a:pt x="1428" y="281"/>
                  </a:cubicBezTo>
                  <a:cubicBezTo>
                    <a:pt x="1428" y="280"/>
                    <a:pt x="1429" y="279"/>
                    <a:pt x="1431" y="279"/>
                  </a:cubicBezTo>
                  <a:close/>
                  <a:moveTo>
                    <a:pt x="1492" y="273"/>
                  </a:moveTo>
                  <a:lnTo>
                    <a:pt x="1528" y="269"/>
                  </a:lnTo>
                  <a:cubicBezTo>
                    <a:pt x="1529" y="269"/>
                    <a:pt x="1530" y="270"/>
                    <a:pt x="1530" y="271"/>
                  </a:cubicBezTo>
                  <a:cubicBezTo>
                    <a:pt x="1530" y="273"/>
                    <a:pt x="1529" y="274"/>
                    <a:pt x="1528" y="274"/>
                  </a:cubicBezTo>
                  <a:lnTo>
                    <a:pt x="1492" y="278"/>
                  </a:lnTo>
                  <a:cubicBezTo>
                    <a:pt x="1491" y="278"/>
                    <a:pt x="1490" y="277"/>
                    <a:pt x="1490" y="275"/>
                  </a:cubicBezTo>
                  <a:cubicBezTo>
                    <a:pt x="1489" y="274"/>
                    <a:pt x="1490" y="273"/>
                    <a:pt x="1492" y="273"/>
                  </a:cubicBezTo>
                  <a:close/>
                  <a:moveTo>
                    <a:pt x="1553" y="266"/>
                  </a:moveTo>
                  <a:lnTo>
                    <a:pt x="1588" y="261"/>
                  </a:lnTo>
                  <a:cubicBezTo>
                    <a:pt x="1590" y="261"/>
                    <a:pt x="1591" y="262"/>
                    <a:pt x="1591" y="263"/>
                  </a:cubicBezTo>
                  <a:cubicBezTo>
                    <a:pt x="1591" y="264"/>
                    <a:pt x="1590" y="266"/>
                    <a:pt x="1589" y="266"/>
                  </a:cubicBezTo>
                  <a:lnTo>
                    <a:pt x="1554" y="271"/>
                  </a:lnTo>
                  <a:cubicBezTo>
                    <a:pt x="1552" y="271"/>
                    <a:pt x="1551" y="270"/>
                    <a:pt x="1551" y="269"/>
                  </a:cubicBezTo>
                  <a:cubicBezTo>
                    <a:pt x="1550" y="267"/>
                    <a:pt x="1551" y="266"/>
                    <a:pt x="1553" y="266"/>
                  </a:cubicBezTo>
                  <a:close/>
                  <a:moveTo>
                    <a:pt x="1614" y="257"/>
                  </a:moveTo>
                  <a:lnTo>
                    <a:pt x="1649" y="252"/>
                  </a:lnTo>
                  <a:cubicBezTo>
                    <a:pt x="1651" y="252"/>
                    <a:pt x="1652" y="253"/>
                    <a:pt x="1652" y="254"/>
                  </a:cubicBezTo>
                  <a:cubicBezTo>
                    <a:pt x="1652" y="256"/>
                    <a:pt x="1651" y="257"/>
                    <a:pt x="1650" y="257"/>
                  </a:cubicBezTo>
                  <a:lnTo>
                    <a:pt x="1614" y="262"/>
                  </a:lnTo>
                  <a:cubicBezTo>
                    <a:pt x="1613" y="262"/>
                    <a:pt x="1612" y="261"/>
                    <a:pt x="1611" y="260"/>
                  </a:cubicBezTo>
                  <a:cubicBezTo>
                    <a:pt x="1611" y="259"/>
                    <a:pt x="1612" y="257"/>
                    <a:pt x="1614" y="257"/>
                  </a:cubicBezTo>
                  <a:close/>
                  <a:moveTo>
                    <a:pt x="1674" y="248"/>
                  </a:moveTo>
                  <a:lnTo>
                    <a:pt x="1709" y="241"/>
                  </a:lnTo>
                  <a:cubicBezTo>
                    <a:pt x="1711" y="240"/>
                    <a:pt x="1712" y="241"/>
                    <a:pt x="1712" y="243"/>
                  </a:cubicBezTo>
                  <a:cubicBezTo>
                    <a:pt x="1713" y="244"/>
                    <a:pt x="1712" y="245"/>
                    <a:pt x="1710" y="246"/>
                  </a:cubicBezTo>
                  <a:lnTo>
                    <a:pt x="1675" y="253"/>
                  </a:lnTo>
                  <a:cubicBezTo>
                    <a:pt x="1674" y="253"/>
                    <a:pt x="1673" y="252"/>
                    <a:pt x="1672" y="251"/>
                  </a:cubicBezTo>
                  <a:cubicBezTo>
                    <a:pt x="1672" y="250"/>
                    <a:pt x="1673" y="248"/>
                    <a:pt x="1674" y="248"/>
                  </a:cubicBezTo>
                  <a:close/>
                  <a:moveTo>
                    <a:pt x="1734" y="235"/>
                  </a:moveTo>
                  <a:lnTo>
                    <a:pt x="1769" y="228"/>
                  </a:lnTo>
                  <a:cubicBezTo>
                    <a:pt x="1771" y="228"/>
                    <a:pt x="1772" y="229"/>
                    <a:pt x="1772" y="230"/>
                  </a:cubicBezTo>
                  <a:cubicBezTo>
                    <a:pt x="1773" y="232"/>
                    <a:pt x="1772" y="233"/>
                    <a:pt x="1770" y="233"/>
                  </a:cubicBezTo>
                  <a:lnTo>
                    <a:pt x="1735" y="240"/>
                  </a:lnTo>
                  <a:cubicBezTo>
                    <a:pt x="1734" y="241"/>
                    <a:pt x="1733" y="240"/>
                    <a:pt x="1732" y="239"/>
                  </a:cubicBezTo>
                  <a:cubicBezTo>
                    <a:pt x="1732" y="237"/>
                    <a:pt x="1733" y="236"/>
                    <a:pt x="1734" y="235"/>
                  </a:cubicBezTo>
                  <a:close/>
                  <a:moveTo>
                    <a:pt x="1794" y="223"/>
                  </a:moveTo>
                  <a:lnTo>
                    <a:pt x="1799" y="222"/>
                  </a:lnTo>
                  <a:lnTo>
                    <a:pt x="1829" y="214"/>
                  </a:lnTo>
                  <a:cubicBezTo>
                    <a:pt x="1831" y="214"/>
                    <a:pt x="1832" y="215"/>
                    <a:pt x="1832" y="216"/>
                  </a:cubicBezTo>
                  <a:cubicBezTo>
                    <a:pt x="1833" y="217"/>
                    <a:pt x="1832" y="219"/>
                    <a:pt x="1830" y="219"/>
                  </a:cubicBezTo>
                  <a:lnTo>
                    <a:pt x="1800" y="227"/>
                  </a:lnTo>
                  <a:lnTo>
                    <a:pt x="1796" y="228"/>
                  </a:lnTo>
                  <a:cubicBezTo>
                    <a:pt x="1794" y="228"/>
                    <a:pt x="1793" y="227"/>
                    <a:pt x="1793" y="226"/>
                  </a:cubicBezTo>
                  <a:cubicBezTo>
                    <a:pt x="1792" y="225"/>
                    <a:pt x="1793" y="223"/>
                    <a:pt x="1794" y="223"/>
                  </a:cubicBezTo>
                  <a:close/>
                  <a:moveTo>
                    <a:pt x="1854" y="208"/>
                  </a:moveTo>
                  <a:lnTo>
                    <a:pt x="1889" y="199"/>
                  </a:lnTo>
                  <a:cubicBezTo>
                    <a:pt x="1890" y="199"/>
                    <a:pt x="1891" y="199"/>
                    <a:pt x="1892" y="201"/>
                  </a:cubicBezTo>
                  <a:cubicBezTo>
                    <a:pt x="1892" y="202"/>
                    <a:pt x="1891" y="204"/>
                    <a:pt x="1890" y="204"/>
                  </a:cubicBezTo>
                  <a:lnTo>
                    <a:pt x="1855" y="213"/>
                  </a:lnTo>
                  <a:cubicBezTo>
                    <a:pt x="1854" y="213"/>
                    <a:pt x="1852" y="212"/>
                    <a:pt x="1852" y="211"/>
                  </a:cubicBezTo>
                  <a:cubicBezTo>
                    <a:pt x="1852" y="210"/>
                    <a:pt x="1853" y="208"/>
                    <a:pt x="1854" y="208"/>
                  </a:cubicBezTo>
                  <a:close/>
                  <a:moveTo>
                    <a:pt x="1913" y="193"/>
                  </a:moveTo>
                  <a:lnTo>
                    <a:pt x="1928" y="189"/>
                  </a:lnTo>
                  <a:lnTo>
                    <a:pt x="1948" y="183"/>
                  </a:lnTo>
                  <a:cubicBezTo>
                    <a:pt x="1949" y="182"/>
                    <a:pt x="1951" y="183"/>
                    <a:pt x="1951" y="185"/>
                  </a:cubicBezTo>
                  <a:cubicBezTo>
                    <a:pt x="1951" y="186"/>
                    <a:pt x="1951" y="187"/>
                    <a:pt x="1949" y="188"/>
                  </a:cubicBezTo>
                  <a:lnTo>
                    <a:pt x="1929" y="194"/>
                  </a:lnTo>
                  <a:lnTo>
                    <a:pt x="1915" y="198"/>
                  </a:lnTo>
                  <a:cubicBezTo>
                    <a:pt x="1913" y="198"/>
                    <a:pt x="1912" y="197"/>
                    <a:pt x="1912" y="196"/>
                  </a:cubicBezTo>
                  <a:cubicBezTo>
                    <a:pt x="1911" y="194"/>
                    <a:pt x="1912" y="193"/>
                    <a:pt x="1913" y="193"/>
                  </a:cubicBezTo>
                  <a:close/>
                  <a:moveTo>
                    <a:pt x="1972" y="175"/>
                  </a:moveTo>
                  <a:lnTo>
                    <a:pt x="2007" y="165"/>
                  </a:lnTo>
                  <a:cubicBezTo>
                    <a:pt x="2008" y="165"/>
                    <a:pt x="2009" y="165"/>
                    <a:pt x="2010" y="167"/>
                  </a:cubicBezTo>
                  <a:cubicBezTo>
                    <a:pt x="2010" y="168"/>
                    <a:pt x="2009" y="169"/>
                    <a:pt x="2008" y="170"/>
                  </a:cubicBezTo>
                  <a:lnTo>
                    <a:pt x="1974" y="180"/>
                  </a:lnTo>
                  <a:cubicBezTo>
                    <a:pt x="1972" y="181"/>
                    <a:pt x="1971" y="180"/>
                    <a:pt x="1971" y="179"/>
                  </a:cubicBezTo>
                  <a:cubicBezTo>
                    <a:pt x="1970" y="177"/>
                    <a:pt x="1971" y="176"/>
                    <a:pt x="1972" y="175"/>
                  </a:cubicBezTo>
                  <a:close/>
                  <a:moveTo>
                    <a:pt x="2031" y="158"/>
                  </a:moveTo>
                  <a:lnTo>
                    <a:pt x="2056" y="150"/>
                  </a:lnTo>
                  <a:cubicBezTo>
                    <a:pt x="2057" y="150"/>
                    <a:pt x="2059" y="150"/>
                    <a:pt x="2059" y="152"/>
                  </a:cubicBezTo>
                  <a:cubicBezTo>
                    <a:pt x="2059" y="153"/>
                    <a:pt x="2059" y="155"/>
                    <a:pt x="2057" y="155"/>
                  </a:cubicBezTo>
                  <a:lnTo>
                    <a:pt x="2033" y="162"/>
                  </a:lnTo>
                  <a:cubicBezTo>
                    <a:pt x="2031" y="163"/>
                    <a:pt x="2030" y="162"/>
                    <a:pt x="2029" y="161"/>
                  </a:cubicBezTo>
                  <a:cubicBezTo>
                    <a:pt x="2029" y="159"/>
                    <a:pt x="2030" y="158"/>
                    <a:pt x="2031" y="158"/>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14" name="Freeform 136">
              <a:extLst>
                <a:ext uri="{FF2B5EF4-FFF2-40B4-BE49-F238E27FC236}">
                  <a16:creationId xmlns:a16="http://schemas.microsoft.com/office/drawing/2014/main" id="{19B3CCAB-96B1-4891-ADCF-D52E658BEE8E}"/>
                </a:ext>
              </a:extLst>
            </p:cNvPr>
            <p:cNvSpPr>
              <a:spLocks/>
            </p:cNvSpPr>
            <p:nvPr/>
          </p:nvSpPr>
          <p:spPr bwMode="auto">
            <a:xfrm>
              <a:off x="3837" y="2311"/>
              <a:ext cx="59" cy="50"/>
            </a:xfrm>
            <a:custGeom>
              <a:avLst/>
              <a:gdLst>
                <a:gd name="T0" fmla="*/ 0 w 59"/>
                <a:gd name="T1" fmla="*/ 0 h 50"/>
                <a:gd name="T2" fmla="*/ 59 w 59"/>
                <a:gd name="T3" fmla="*/ 8 h 50"/>
                <a:gd name="T4" fmla="*/ 18 w 59"/>
                <a:gd name="T5" fmla="*/ 50 h 50"/>
                <a:gd name="T6" fmla="*/ 0 w 59"/>
                <a:gd name="T7" fmla="*/ 0 h 50"/>
              </a:gdLst>
              <a:ahLst/>
              <a:cxnLst>
                <a:cxn ang="0">
                  <a:pos x="T0" y="T1"/>
                </a:cxn>
                <a:cxn ang="0">
                  <a:pos x="T2" y="T3"/>
                </a:cxn>
                <a:cxn ang="0">
                  <a:pos x="T4" y="T5"/>
                </a:cxn>
                <a:cxn ang="0">
                  <a:pos x="T6" y="T7"/>
                </a:cxn>
              </a:cxnLst>
              <a:rect l="0" t="0" r="r" b="b"/>
              <a:pathLst>
                <a:path w="59" h="50">
                  <a:moveTo>
                    <a:pt x="0" y="0"/>
                  </a:moveTo>
                  <a:lnTo>
                    <a:pt x="59" y="8"/>
                  </a:lnTo>
                  <a:lnTo>
                    <a:pt x="18" y="50"/>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15" name="Rectangle 137">
              <a:extLst>
                <a:ext uri="{FF2B5EF4-FFF2-40B4-BE49-F238E27FC236}">
                  <a16:creationId xmlns:a16="http://schemas.microsoft.com/office/drawing/2014/main" id="{15473569-5BB6-4C08-B042-2CDB0FC27DC4}"/>
                </a:ext>
              </a:extLst>
            </p:cNvPr>
            <p:cNvSpPr>
              <a:spLocks noChangeArrowheads="1"/>
            </p:cNvSpPr>
            <p:nvPr/>
          </p:nvSpPr>
          <p:spPr bwMode="auto">
            <a:xfrm>
              <a:off x="3299" y="2361"/>
              <a:ext cx="220" cy="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16" name="Freeform 138">
              <a:extLst>
                <a:ext uri="{FF2B5EF4-FFF2-40B4-BE49-F238E27FC236}">
                  <a16:creationId xmlns:a16="http://schemas.microsoft.com/office/drawing/2014/main" id="{640D37BF-596C-406B-86E0-7F8011FFC8DD}"/>
                </a:ext>
              </a:extLst>
            </p:cNvPr>
            <p:cNvSpPr>
              <a:spLocks noEditPoints="1"/>
            </p:cNvSpPr>
            <p:nvPr/>
          </p:nvSpPr>
          <p:spPr bwMode="auto">
            <a:xfrm>
              <a:off x="3302" y="2373"/>
              <a:ext cx="217" cy="40"/>
            </a:xfrm>
            <a:custGeom>
              <a:avLst/>
              <a:gdLst>
                <a:gd name="T0" fmla="*/ 61 w 485"/>
                <a:gd name="T1" fmla="*/ 20 h 88"/>
                <a:gd name="T2" fmla="*/ 13 w 485"/>
                <a:gd name="T3" fmla="*/ 33 h 88"/>
                <a:gd name="T4" fmla="*/ 48 w 485"/>
                <a:gd name="T5" fmla="*/ 78 h 88"/>
                <a:gd name="T6" fmla="*/ 34 w 485"/>
                <a:gd name="T7" fmla="*/ 45 h 88"/>
                <a:gd name="T8" fmla="*/ 64 w 485"/>
                <a:gd name="T9" fmla="*/ 44 h 88"/>
                <a:gd name="T10" fmla="*/ 58 w 485"/>
                <a:gd name="T11" fmla="*/ 85 h 88"/>
                <a:gd name="T12" fmla="*/ 2 w 485"/>
                <a:gd name="T13" fmla="*/ 64 h 88"/>
                <a:gd name="T14" fmla="*/ 49 w 485"/>
                <a:gd name="T15" fmla="*/ 6 h 88"/>
                <a:gd name="T16" fmla="*/ 132 w 485"/>
                <a:gd name="T17" fmla="*/ 55 h 88"/>
                <a:gd name="T18" fmla="*/ 100 w 485"/>
                <a:gd name="T19" fmla="*/ 78 h 88"/>
                <a:gd name="T20" fmla="*/ 128 w 485"/>
                <a:gd name="T21" fmla="*/ 76 h 88"/>
                <a:gd name="T22" fmla="*/ 129 w 485"/>
                <a:gd name="T23" fmla="*/ 83 h 88"/>
                <a:gd name="T24" fmla="*/ 96 w 485"/>
                <a:gd name="T25" fmla="*/ 86 h 88"/>
                <a:gd name="T26" fmla="*/ 96 w 485"/>
                <a:gd name="T27" fmla="*/ 28 h 88"/>
                <a:gd name="T28" fmla="*/ 132 w 485"/>
                <a:gd name="T29" fmla="*/ 55 h 88"/>
                <a:gd name="T30" fmla="*/ 92 w 485"/>
                <a:gd name="T31" fmla="*/ 45 h 88"/>
                <a:gd name="T32" fmla="*/ 174 w 485"/>
                <a:gd name="T33" fmla="*/ 87 h 88"/>
                <a:gd name="T34" fmla="*/ 151 w 485"/>
                <a:gd name="T35" fmla="*/ 77 h 88"/>
                <a:gd name="T36" fmla="*/ 140 w 485"/>
                <a:gd name="T37" fmla="*/ 30 h 88"/>
                <a:gd name="T38" fmla="*/ 150 w 485"/>
                <a:gd name="T39" fmla="*/ 13 h 88"/>
                <a:gd name="T40" fmla="*/ 160 w 485"/>
                <a:gd name="T41" fmla="*/ 13 h 88"/>
                <a:gd name="T42" fmla="*/ 177 w 485"/>
                <a:gd name="T43" fmla="*/ 30 h 88"/>
                <a:gd name="T44" fmla="*/ 162 w 485"/>
                <a:gd name="T45" fmla="*/ 76 h 88"/>
                <a:gd name="T46" fmla="*/ 176 w 485"/>
                <a:gd name="T47" fmla="*/ 77 h 88"/>
                <a:gd name="T48" fmla="*/ 255 w 485"/>
                <a:gd name="T49" fmla="*/ 77 h 88"/>
                <a:gd name="T50" fmla="*/ 192 w 485"/>
                <a:gd name="T51" fmla="*/ 47 h 88"/>
                <a:gd name="T52" fmla="*/ 256 w 485"/>
                <a:gd name="T53" fmla="*/ 15 h 88"/>
                <a:gd name="T54" fmla="*/ 240 w 485"/>
                <a:gd name="T55" fmla="*/ 16 h 88"/>
                <a:gd name="T56" fmla="*/ 205 w 485"/>
                <a:gd name="T57" fmla="*/ 59 h 88"/>
                <a:gd name="T58" fmla="*/ 252 w 485"/>
                <a:gd name="T59" fmla="*/ 59 h 88"/>
                <a:gd name="T60" fmla="*/ 307 w 485"/>
                <a:gd name="T61" fmla="*/ 38 h 88"/>
                <a:gd name="T62" fmla="*/ 293 w 485"/>
                <a:gd name="T63" fmla="*/ 39 h 88"/>
                <a:gd name="T64" fmla="*/ 283 w 485"/>
                <a:gd name="T65" fmla="*/ 87 h 88"/>
                <a:gd name="T66" fmla="*/ 276 w 485"/>
                <a:gd name="T67" fmla="*/ 29 h 88"/>
                <a:gd name="T68" fmla="*/ 284 w 485"/>
                <a:gd name="T69" fmla="*/ 28 h 88"/>
                <a:gd name="T70" fmla="*/ 297 w 485"/>
                <a:gd name="T71" fmla="*/ 27 h 88"/>
                <a:gd name="T72" fmla="*/ 308 w 485"/>
                <a:gd name="T73" fmla="*/ 28 h 88"/>
                <a:gd name="T74" fmla="*/ 371 w 485"/>
                <a:gd name="T75" fmla="*/ 87 h 88"/>
                <a:gd name="T76" fmla="*/ 363 w 485"/>
                <a:gd name="T77" fmla="*/ 85 h 88"/>
                <a:gd name="T78" fmla="*/ 321 w 485"/>
                <a:gd name="T79" fmla="*/ 69 h 88"/>
                <a:gd name="T80" fmla="*/ 353 w 485"/>
                <a:gd name="T81" fmla="*/ 28 h 88"/>
                <a:gd name="T82" fmla="*/ 367 w 485"/>
                <a:gd name="T83" fmla="*/ 0 h 88"/>
                <a:gd name="T84" fmla="*/ 361 w 485"/>
                <a:gd name="T85" fmla="*/ 46 h 88"/>
                <a:gd name="T86" fmla="*/ 331 w 485"/>
                <a:gd name="T87" fmla="*/ 57 h 88"/>
                <a:gd name="T88" fmla="*/ 353 w 485"/>
                <a:gd name="T89" fmla="*/ 77 h 88"/>
                <a:gd name="T90" fmla="*/ 432 w 485"/>
                <a:gd name="T91" fmla="*/ 59 h 88"/>
                <a:gd name="T92" fmla="*/ 420 w 485"/>
                <a:gd name="T93" fmla="*/ 79 h 88"/>
                <a:gd name="T94" fmla="*/ 433 w 485"/>
                <a:gd name="T95" fmla="*/ 77 h 88"/>
                <a:gd name="T96" fmla="*/ 430 w 485"/>
                <a:gd name="T97" fmla="*/ 85 h 88"/>
                <a:gd name="T98" fmla="*/ 386 w 485"/>
                <a:gd name="T99" fmla="*/ 71 h 88"/>
                <a:gd name="T100" fmla="*/ 422 w 485"/>
                <a:gd name="T101" fmla="*/ 28 h 88"/>
                <a:gd name="T102" fmla="*/ 422 w 485"/>
                <a:gd name="T103" fmla="*/ 39 h 88"/>
                <a:gd name="T104" fmla="*/ 425 w 485"/>
                <a:gd name="T105" fmla="*/ 52 h 88"/>
                <a:gd name="T106" fmla="*/ 482 w 485"/>
                <a:gd name="T107" fmla="*/ 37 h 88"/>
                <a:gd name="T108" fmla="*/ 466 w 485"/>
                <a:gd name="T109" fmla="*/ 42 h 88"/>
                <a:gd name="T110" fmla="*/ 457 w 485"/>
                <a:gd name="T111" fmla="*/ 87 h 88"/>
                <a:gd name="T112" fmla="*/ 452 w 485"/>
                <a:gd name="T113" fmla="*/ 28 h 88"/>
                <a:gd name="T114" fmla="*/ 461 w 485"/>
                <a:gd name="T115" fmla="*/ 28 h 88"/>
                <a:gd name="T116" fmla="*/ 476 w 485"/>
                <a:gd name="T117" fmla="*/ 26 h 88"/>
                <a:gd name="T118" fmla="*/ 484 w 485"/>
                <a:gd name="T119"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5" h="88">
                  <a:moveTo>
                    <a:pt x="66" y="17"/>
                  </a:moveTo>
                  <a:cubicBezTo>
                    <a:pt x="66" y="18"/>
                    <a:pt x="66" y="18"/>
                    <a:pt x="65" y="19"/>
                  </a:cubicBezTo>
                  <a:cubicBezTo>
                    <a:pt x="65" y="20"/>
                    <a:pt x="65" y="20"/>
                    <a:pt x="65" y="21"/>
                  </a:cubicBezTo>
                  <a:cubicBezTo>
                    <a:pt x="65" y="21"/>
                    <a:pt x="65" y="21"/>
                    <a:pt x="64" y="21"/>
                  </a:cubicBezTo>
                  <a:cubicBezTo>
                    <a:pt x="64" y="22"/>
                    <a:pt x="64" y="22"/>
                    <a:pt x="64" y="22"/>
                  </a:cubicBezTo>
                  <a:cubicBezTo>
                    <a:pt x="63" y="22"/>
                    <a:pt x="62" y="21"/>
                    <a:pt x="61" y="20"/>
                  </a:cubicBezTo>
                  <a:cubicBezTo>
                    <a:pt x="60" y="20"/>
                    <a:pt x="58" y="19"/>
                    <a:pt x="56" y="18"/>
                  </a:cubicBezTo>
                  <a:cubicBezTo>
                    <a:pt x="55" y="17"/>
                    <a:pt x="52" y="16"/>
                    <a:pt x="49" y="15"/>
                  </a:cubicBezTo>
                  <a:cubicBezTo>
                    <a:pt x="47" y="14"/>
                    <a:pt x="43" y="14"/>
                    <a:pt x="40" y="14"/>
                  </a:cubicBezTo>
                  <a:cubicBezTo>
                    <a:pt x="35" y="14"/>
                    <a:pt x="31" y="15"/>
                    <a:pt x="28" y="16"/>
                  </a:cubicBezTo>
                  <a:cubicBezTo>
                    <a:pt x="24" y="18"/>
                    <a:pt x="21" y="20"/>
                    <a:pt x="19" y="23"/>
                  </a:cubicBezTo>
                  <a:cubicBezTo>
                    <a:pt x="16" y="26"/>
                    <a:pt x="14" y="29"/>
                    <a:pt x="13" y="33"/>
                  </a:cubicBezTo>
                  <a:cubicBezTo>
                    <a:pt x="12" y="37"/>
                    <a:pt x="11" y="42"/>
                    <a:pt x="11" y="46"/>
                  </a:cubicBezTo>
                  <a:cubicBezTo>
                    <a:pt x="11" y="51"/>
                    <a:pt x="12" y="56"/>
                    <a:pt x="13" y="60"/>
                  </a:cubicBezTo>
                  <a:cubicBezTo>
                    <a:pt x="15" y="64"/>
                    <a:pt x="17" y="67"/>
                    <a:pt x="19" y="70"/>
                  </a:cubicBezTo>
                  <a:cubicBezTo>
                    <a:pt x="22" y="73"/>
                    <a:pt x="25" y="75"/>
                    <a:pt x="28" y="76"/>
                  </a:cubicBezTo>
                  <a:cubicBezTo>
                    <a:pt x="32" y="78"/>
                    <a:pt x="36" y="79"/>
                    <a:pt x="40" y="79"/>
                  </a:cubicBezTo>
                  <a:cubicBezTo>
                    <a:pt x="42" y="79"/>
                    <a:pt x="45" y="78"/>
                    <a:pt x="48" y="78"/>
                  </a:cubicBezTo>
                  <a:cubicBezTo>
                    <a:pt x="50" y="77"/>
                    <a:pt x="52" y="76"/>
                    <a:pt x="55" y="75"/>
                  </a:cubicBezTo>
                  <a:lnTo>
                    <a:pt x="55" y="51"/>
                  </a:lnTo>
                  <a:lnTo>
                    <a:pt x="36" y="51"/>
                  </a:lnTo>
                  <a:cubicBezTo>
                    <a:pt x="35" y="51"/>
                    <a:pt x="35" y="51"/>
                    <a:pt x="34" y="50"/>
                  </a:cubicBezTo>
                  <a:cubicBezTo>
                    <a:pt x="34" y="50"/>
                    <a:pt x="34" y="49"/>
                    <a:pt x="34" y="47"/>
                  </a:cubicBezTo>
                  <a:cubicBezTo>
                    <a:pt x="34" y="46"/>
                    <a:pt x="34" y="46"/>
                    <a:pt x="34" y="45"/>
                  </a:cubicBezTo>
                  <a:cubicBezTo>
                    <a:pt x="34" y="44"/>
                    <a:pt x="34" y="44"/>
                    <a:pt x="34" y="44"/>
                  </a:cubicBezTo>
                  <a:cubicBezTo>
                    <a:pt x="35" y="43"/>
                    <a:pt x="35" y="43"/>
                    <a:pt x="35" y="43"/>
                  </a:cubicBezTo>
                  <a:cubicBezTo>
                    <a:pt x="35" y="43"/>
                    <a:pt x="36" y="43"/>
                    <a:pt x="36" y="43"/>
                  </a:cubicBezTo>
                  <a:lnTo>
                    <a:pt x="62" y="43"/>
                  </a:lnTo>
                  <a:cubicBezTo>
                    <a:pt x="62" y="43"/>
                    <a:pt x="63" y="43"/>
                    <a:pt x="63" y="43"/>
                  </a:cubicBezTo>
                  <a:cubicBezTo>
                    <a:pt x="63" y="43"/>
                    <a:pt x="64" y="43"/>
                    <a:pt x="64" y="44"/>
                  </a:cubicBezTo>
                  <a:cubicBezTo>
                    <a:pt x="65" y="44"/>
                    <a:pt x="65" y="44"/>
                    <a:pt x="65" y="45"/>
                  </a:cubicBezTo>
                  <a:cubicBezTo>
                    <a:pt x="65" y="46"/>
                    <a:pt x="65" y="46"/>
                    <a:pt x="65" y="47"/>
                  </a:cubicBezTo>
                  <a:lnTo>
                    <a:pt x="65" y="78"/>
                  </a:lnTo>
                  <a:cubicBezTo>
                    <a:pt x="65" y="79"/>
                    <a:pt x="65" y="80"/>
                    <a:pt x="65" y="81"/>
                  </a:cubicBezTo>
                  <a:cubicBezTo>
                    <a:pt x="64" y="81"/>
                    <a:pt x="64" y="82"/>
                    <a:pt x="62" y="83"/>
                  </a:cubicBezTo>
                  <a:cubicBezTo>
                    <a:pt x="61" y="83"/>
                    <a:pt x="60" y="84"/>
                    <a:pt x="58" y="85"/>
                  </a:cubicBezTo>
                  <a:cubicBezTo>
                    <a:pt x="56" y="85"/>
                    <a:pt x="54" y="86"/>
                    <a:pt x="52" y="86"/>
                  </a:cubicBezTo>
                  <a:cubicBezTo>
                    <a:pt x="50" y="87"/>
                    <a:pt x="48" y="87"/>
                    <a:pt x="46" y="88"/>
                  </a:cubicBezTo>
                  <a:cubicBezTo>
                    <a:pt x="44" y="88"/>
                    <a:pt x="42" y="88"/>
                    <a:pt x="39" y="88"/>
                  </a:cubicBezTo>
                  <a:cubicBezTo>
                    <a:pt x="33" y="88"/>
                    <a:pt x="28" y="87"/>
                    <a:pt x="23" y="85"/>
                  </a:cubicBezTo>
                  <a:cubicBezTo>
                    <a:pt x="18" y="83"/>
                    <a:pt x="14" y="80"/>
                    <a:pt x="10" y="77"/>
                  </a:cubicBezTo>
                  <a:cubicBezTo>
                    <a:pt x="7" y="73"/>
                    <a:pt x="4" y="69"/>
                    <a:pt x="2" y="64"/>
                  </a:cubicBezTo>
                  <a:cubicBezTo>
                    <a:pt x="1" y="59"/>
                    <a:pt x="0" y="53"/>
                    <a:pt x="0" y="47"/>
                  </a:cubicBezTo>
                  <a:cubicBezTo>
                    <a:pt x="0" y="41"/>
                    <a:pt x="1" y="35"/>
                    <a:pt x="3" y="30"/>
                  </a:cubicBezTo>
                  <a:cubicBezTo>
                    <a:pt x="5" y="24"/>
                    <a:pt x="7" y="20"/>
                    <a:pt x="11" y="16"/>
                  </a:cubicBezTo>
                  <a:cubicBezTo>
                    <a:pt x="14" y="13"/>
                    <a:pt x="19" y="10"/>
                    <a:pt x="24" y="8"/>
                  </a:cubicBezTo>
                  <a:cubicBezTo>
                    <a:pt x="29" y="6"/>
                    <a:pt x="34" y="5"/>
                    <a:pt x="40" y="5"/>
                  </a:cubicBezTo>
                  <a:cubicBezTo>
                    <a:pt x="43" y="5"/>
                    <a:pt x="46" y="5"/>
                    <a:pt x="49" y="6"/>
                  </a:cubicBezTo>
                  <a:cubicBezTo>
                    <a:pt x="51" y="6"/>
                    <a:pt x="54" y="7"/>
                    <a:pt x="56" y="8"/>
                  </a:cubicBezTo>
                  <a:cubicBezTo>
                    <a:pt x="58" y="8"/>
                    <a:pt x="60" y="9"/>
                    <a:pt x="61" y="10"/>
                  </a:cubicBezTo>
                  <a:cubicBezTo>
                    <a:pt x="63" y="11"/>
                    <a:pt x="64" y="11"/>
                    <a:pt x="64" y="12"/>
                  </a:cubicBezTo>
                  <a:cubicBezTo>
                    <a:pt x="65" y="13"/>
                    <a:pt x="65" y="13"/>
                    <a:pt x="65" y="14"/>
                  </a:cubicBezTo>
                  <a:cubicBezTo>
                    <a:pt x="65" y="15"/>
                    <a:pt x="66" y="16"/>
                    <a:pt x="66" y="17"/>
                  </a:cubicBezTo>
                  <a:close/>
                  <a:moveTo>
                    <a:pt x="132" y="55"/>
                  </a:moveTo>
                  <a:cubicBezTo>
                    <a:pt x="132" y="56"/>
                    <a:pt x="131" y="57"/>
                    <a:pt x="130" y="58"/>
                  </a:cubicBezTo>
                  <a:cubicBezTo>
                    <a:pt x="130" y="59"/>
                    <a:pt x="129" y="59"/>
                    <a:pt x="128" y="59"/>
                  </a:cubicBezTo>
                  <a:lnTo>
                    <a:pt x="91" y="59"/>
                  </a:lnTo>
                  <a:cubicBezTo>
                    <a:pt x="91" y="62"/>
                    <a:pt x="91" y="65"/>
                    <a:pt x="92" y="68"/>
                  </a:cubicBezTo>
                  <a:cubicBezTo>
                    <a:pt x="92" y="70"/>
                    <a:pt x="93" y="72"/>
                    <a:pt x="95" y="74"/>
                  </a:cubicBezTo>
                  <a:cubicBezTo>
                    <a:pt x="96" y="76"/>
                    <a:pt x="98" y="77"/>
                    <a:pt x="100" y="78"/>
                  </a:cubicBezTo>
                  <a:cubicBezTo>
                    <a:pt x="103" y="79"/>
                    <a:pt x="106" y="80"/>
                    <a:pt x="109" y="80"/>
                  </a:cubicBezTo>
                  <a:cubicBezTo>
                    <a:pt x="112" y="80"/>
                    <a:pt x="114" y="79"/>
                    <a:pt x="116" y="79"/>
                  </a:cubicBezTo>
                  <a:cubicBezTo>
                    <a:pt x="118" y="79"/>
                    <a:pt x="120" y="78"/>
                    <a:pt x="122" y="78"/>
                  </a:cubicBezTo>
                  <a:cubicBezTo>
                    <a:pt x="123" y="77"/>
                    <a:pt x="124" y="76"/>
                    <a:pt x="125" y="76"/>
                  </a:cubicBezTo>
                  <a:cubicBezTo>
                    <a:pt x="126" y="76"/>
                    <a:pt x="127" y="75"/>
                    <a:pt x="128" y="75"/>
                  </a:cubicBezTo>
                  <a:cubicBezTo>
                    <a:pt x="128" y="75"/>
                    <a:pt x="128" y="75"/>
                    <a:pt x="128" y="76"/>
                  </a:cubicBezTo>
                  <a:cubicBezTo>
                    <a:pt x="129" y="76"/>
                    <a:pt x="129" y="76"/>
                    <a:pt x="129" y="76"/>
                  </a:cubicBezTo>
                  <a:cubicBezTo>
                    <a:pt x="129" y="77"/>
                    <a:pt x="129" y="77"/>
                    <a:pt x="129" y="77"/>
                  </a:cubicBezTo>
                  <a:cubicBezTo>
                    <a:pt x="129" y="78"/>
                    <a:pt x="129" y="79"/>
                    <a:pt x="129" y="79"/>
                  </a:cubicBezTo>
                  <a:cubicBezTo>
                    <a:pt x="129" y="80"/>
                    <a:pt x="129" y="80"/>
                    <a:pt x="129" y="81"/>
                  </a:cubicBezTo>
                  <a:cubicBezTo>
                    <a:pt x="129" y="81"/>
                    <a:pt x="129" y="82"/>
                    <a:pt x="129" y="82"/>
                  </a:cubicBezTo>
                  <a:cubicBezTo>
                    <a:pt x="129" y="82"/>
                    <a:pt x="129" y="82"/>
                    <a:pt x="129" y="83"/>
                  </a:cubicBezTo>
                  <a:cubicBezTo>
                    <a:pt x="129" y="83"/>
                    <a:pt x="128" y="83"/>
                    <a:pt x="128" y="83"/>
                  </a:cubicBezTo>
                  <a:cubicBezTo>
                    <a:pt x="128" y="84"/>
                    <a:pt x="127" y="84"/>
                    <a:pt x="126" y="85"/>
                  </a:cubicBezTo>
                  <a:cubicBezTo>
                    <a:pt x="125" y="85"/>
                    <a:pt x="124" y="86"/>
                    <a:pt x="122" y="86"/>
                  </a:cubicBezTo>
                  <a:cubicBezTo>
                    <a:pt x="120" y="87"/>
                    <a:pt x="118" y="87"/>
                    <a:pt x="116" y="87"/>
                  </a:cubicBezTo>
                  <a:cubicBezTo>
                    <a:pt x="113" y="88"/>
                    <a:pt x="111" y="88"/>
                    <a:pt x="108" y="88"/>
                  </a:cubicBezTo>
                  <a:cubicBezTo>
                    <a:pt x="103" y="88"/>
                    <a:pt x="99" y="87"/>
                    <a:pt x="96" y="86"/>
                  </a:cubicBezTo>
                  <a:cubicBezTo>
                    <a:pt x="92" y="85"/>
                    <a:pt x="89" y="83"/>
                    <a:pt x="87" y="80"/>
                  </a:cubicBezTo>
                  <a:cubicBezTo>
                    <a:pt x="85" y="78"/>
                    <a:pt x="83" y="75"/>
                    <a:pt x="82" y="71"/>
                  </a:cubicBezTo>
                  <a:cubicBezTo>
                    <a:pt x="81" y="67"/>
                    <a:pt x="80" y="62"/>
                    <a:pt x="80" y="57"/>
                  </a:cubicBezTo>
                  <a:cubicBezTo>
                    <a:pt x="80" y="53"/>
                    <a:pt x="81" y="48"/>
                    <a:pt x="82" y="44"/>
                  </a:cubicBezTo>
                  <a:cubicBezTo>
                    <a:pt x="83" y="41"/>
                    <a:pt x="85" y="37"/>
                    <a:pt x="87" y="35"/>
                  </a:cubicBezTo>
                  <a:cubicBezTo>
                    <a:pt x="90" y="32"/>
                    <a:pt x="92" y="30"/>
                    <a:pt x="96" y="28"/>
                  </a:cubicBezTo>
                  <a:cubicBezTo>
                    <a:pt x="99" y="27"/>
                    <a:pt x="103" y="26"/>
                    <a:pt x="107" y="26"/>
                  </a:cubicBezTo>
                  <a:cubicBezTo>
                    <a:pt x="111" y="26"/>
                    <a:pt x="115" y="27"/>
                    <a:pt x="118" y="28"/>
                  </a:cubicBezTo>
                  <a:cubicBezTo>
                    <a:pt x="121" y="30"/>
                    <a:pt x="124" y="32"/>
                    <a:pt x="126" y="34"/>
                  </a:cubicBezTo>
                  <a:cubicBezTo>
                    <a:pt x="128" y="36"/>
                    <a:pt x="129" y="39"/>
                    <a:pt x="130" y="42"/>
                  </a:cubicBezTo>
                  <a:cubicBezTo>
                    <a:pt x="131" y="46"/>
                    <a:pt x="132" y="49"/>
                    <a:pt x="132" y="53"/>
                  </a:cubicBezTo>
                  <a:lnTo>
                    <a:pt x="132" y="55"/>
                  </a:lnTo>
                  <a:close/>
                  <a:moveTo>
                    <a:pt x="121" y="52"/>
                  </a:moveTo>
                  <a:cubicBezTo>
                    <a:pt x="121" y="46"/>
                    <a:pt x="120" y="42"/>
                    <a:pt x="118" y="39"/>
                  </a:cubicBezTo>
                  <a:cubicBezTo>
                    <a:pt x="115" y="36"/>
                    <a:pt x="111" y="34"/>
                    <a:pt x="106" y="34"/>
                  </a:cubicBezTo>
                  <a:cubicBezTo>
                    <a:pt x="104" y="34"/>
                    <a:pt x="102" y="35"/>
                    <a:pt x="100" y="36"/>
                  </a:cubicBezTo>
                  <a:cubicBezTo>
                    <a:pt x="98" y="37"/>
                    <a:pt x="96" y="38"/>
                    <a:pt x="95" y="40"/>
                  </a:cubicBezTo>
                  <a:cubicBezTo>
                    <a:pt x="94" y="41"/>
                    <a:pt x="93" y="43"/>
                    <a:pt x="92" y="45"/>
                  </a:cubicBezTo>
                  <a:cubicBezTo>
                    <a:pt x="91" y="47"/>
                    <a:pt x="91" y="49"/>
                    <a:pt x="91" y="52"/>
                  </a:cubicBezTo>
                  <a:lnTo>
                    <a:pt x="121" y="52"/>
                  </a:lnTo>
                  <a:close/>
                  <a:moveTo>
                    <a:pt x="177" y="81"/>
                  </a:moveTo>
                  <a:cubicBezTo>
                    <a:pt x="177" y="82"/>
                    <a:pt x="177" y="83"/>
                    <a:pt x="177" y="84"/>
                  </a:cubicBezTo>
                  <a:cubicBezTo>
                    <a:pt x="176" y="85"/>
                    <a:pt x="176" y="85"/>
                    <a:pt x="176" y="86"/>
                  </a:cubicBezTo>
                  <a:cubicBezTo>
                    <a:pt x="176" y="86"/>
                    <a:pt x="175" y="86"/>
                    <a:pt x="174" y="87"/>
                  </a:cubicBezTo>
                  <a:cubicBezTo>
                    <a:pt x="174" y="87"/>
                    <a:pt x="173" y="87"/>
                    <a:pt x="172" y="87"/>
                  </a:cubicBezTo>
                  <a:cubicBezTo>
                    <a:pt x="171" y="87"/>
                    <a:pt x="170" y="88"/>
                    <a:pt x="169" y="88"/>
                  </a:cubicBezTo>
                  <a:cubicBezTo>
                    <a:pt x="168" y="88"/>
                    <a:pt x="167" y="88"/>
                    <a:pt x="167" y="88"/>
                  </a:cubicBezTo>
                  <a:cubicBezTo>
                    <a:pt x="164" y="88"/>
                    <a:pt x="161" y="88"/>
                    <a:pt x="159" y="87"/>
                  </a:cubicBezTo>
                  <a:cubicBezTo>
                    <a:pt x="157" y="86"/>
                    <a:pt x="155" y="85"/>
                    <a:pt x="154" y="83"/>
                  </a:cubicBezTo>
                  <a:cubicBezTo>
                    <a:pt x="153" y="82"/>
                    <a:pt x="152" y="80"/>
                    <a:pt x="151" y="77"/>
                  </a:cubicBezTo>
                  <a:cubicBezTo>
                    <a:pt x="150" y="75"/>
                    <a:pt x="150" y="72"/>
                    <a:pt x="150" y="69"/>
                  </a:cubicBezTo>
                  <a:lnTo>
                    <a:pt x="150" y="36"/>
                  </a:lnTo>
                  <a:lnTo>
                    <a:pt x="142" y="36"/>
                  </a:lnTo>
                  <a:cubicBezTo>
                    <a:pt x="142" y="36"/>
                    <a:pt x="141" y="36"/>
                    <a:pt x="141" y="35"/>
                  </a:cubicBezTo>
                  <a:cubicBezTo>
                    <a:pt x="140" y="34"/>
                    <a:pt x="140" y="33"/>
                    <a:pt x="140" y="32"/>
                  </a:cubicBezTo>
                  <a:cubicBezTo>
                    <a:pt x="140" y="31"/>
                    <a:pt x="140" y="30"/>
                    <a:pt x="140" y="30"/>
                  </a:cubicBezTo>
                  <a:cubicBezTo>
                    <a:pt x="140" y="29"/>
                    <a:pt x="141" y="29"/>
                    <a:pt x="141" y="28"/>
                  </a:cubicBezTo>
                  <a:cubicBezTo>
                    <a:pt x="141" y="28"/>
                    <a:pt x="141" y="28"/>
                    <a:pt x="141" y="28"/>
                  </a:cubicBezTo>
                  <a:cubicBezTo>
                    <a:pt x="142" y="27"/>
                    <a:pt x="142" y="27"/>
                    <a:pt x="142" y="27"/>
                  </a:cubicBezTo>
                  <a:lnTo>
                    <a:pt x="150" y="27"/>
                  </a:lnTo>
                  <a:lnTo>
                    <a:pt x="150" y="14"/>
                  </a:lnTo>
                  <a:cubicBezTo>
                    <a:pt x="150" y="14"/>
                    <a:pt x="150" y="13"/>
                    <a:pt x="150" y="13"/>
                  </a:cubicBezTo>
                  <a:cubicBezTo>
                    <a:pt x="150" y="13"/>
                    <a:pt x="151" y="13"/>
                    <a:pt x="151" y="13"/>
                  </a:cubicBezTo>
                  <a:cubicBezTo>
                    <a:pt x="152" y="12"/>
                    <a:pt x="152" y="12"/>
                    <a:pt x="153" y="12"/>
                  </a:cubicBezTo>
                  <a:cubicBezTo>
                    <a:pt x="153" y="12"/>
                    <a:pt x="154" y="12"/>
                    <a:pt x="155" y="12"/>
                  </a:cubicBezTo>
                  <a:cubicBezTo>
                    <a:pt x="156" y="12"/>
                    <a:pt x="157" y="12"/>
                    <a:pt x="158" y="12"/>
                  </a:cubicBezTo>
                  <a:cubicBezTo>
                    <a:pt x="158" y="12"/>
                    <a:pt x="159" y="12"/>
                    <a:pt x="159" y="13"/>
                  </a:cubicBezTo>
                  <a:cubicBezTo>
                    <a:pt x="160" y="13"/>
                    <a:pt x="160" y="13"/>
                    <a:pt x="160" y="13"/>
                  </a:cubicBezTo>
                  <a:cubicBezTo>
                    <a:pt x="160" y="13"/>
                    <a:pt x="160" y="14"/>
                    <a:pt x="160" y="14"/>
                  </a:cubicBezTo>
                  <a:lnTo>
                    <a:pt x="160" y="27"/>
                  </a:lnTo>
                  <a:lnTo>
                    <a:pt x="175" y="27"/>
                  </a:lnTo>
                  <a:cubicBezTo>
                    <a:pt x="175" y="27"/>
                    <a:pt x="175" y="27"/>
                    <a:pt x="176" y="28"/>
                  </a:cubicBezTo>
                  <a:cubicBezTo>
                    <a:pt x="176" y="28"/>
                    <a:pt x="176" y="28"/>
                    <a:pt x="176" y="28"/>
                  </a:cubicBezTo>
                  <a:cubicBezTo>
                    <a:pt x="177" y="29"/>
                    <a:pt x="177" y="29"/>
                    <a:pt x="177" y="30"/>
                  </a:cubicBezTo>
                  <a:cubicBezTo>
                    <a:pt x="177" y="30"/>
                    <a:pt x="177" y="31"/>
                    <a:pt x="177" y="32"/>
                  </a:cubicBezTo>
                  <a:cubicBezTo>
                    <a:pt x="177" y="33"/>
                    <a:pt x="177" y="34"/>
                    <a:pt x="176" y="35"/>
                  </a:cubicBezTo>
                  <a:cubicBezTo>
                    <a:pt x="176" y="36"/>
                    <a:pt x="175" y="36"/>
                    <a:pt x="175" y="36"/>
                  </a:cubicBezTo>
                  <a:lnTo>
                    <a:pt x="160" y="36"/>
                  </a:lnTo>
                  <a:lnTo>
                    <a:pt x="160" y="67"/>
                  </a:lnTo>
                  <a:cubicBezTo>
                    <a:pt x="160" y="71"/>
                    <a:pt x="161" y="74"/>
                    <a:pt x="162" y="76"/>
                  </a:cubicBezTo>
                  <a:cubicBezTo>
                    <a:pt x="163" y="78"/>
                    <a:pt x="165" y="79"/>
                    <a:pt x="168" y="79"/>
                  </a:cubicBezTo>
                  <a:cubicBezTo>
                    <a:pt x="169" y="79"/>
                    <a:pt x="170" y="79"/>
                    <a:pt x="171" y="79"/>
                  </a:cubicBezTo>
                  <a:cubicBezTo>
                    <a:pt x="172" y="79"/>
                    <a:pt x="172" y="78"/>
                    <a:pt x="173" y="78"/>
                  </a:cubicBezTo>
                  <a:cubicBezTo>
                    <a:pt x="173" y="78"/>
                    <a:pt x="174" y="78"/>
                    <a:pt x="174" y="78"/>
                  </a:cubicBezTo>
                  <a:cubicBezTo>
                    <a:pt x="175" y="77"/>
                    <a:pt x="175" y="77"/>
                    <a:pt x="175" y="77"/>
                  </a:cubicBezTo>
                  <a:cubicBezTo>
                    <a:pt x="176" y="77"/>
                    <a:pt x="176" y="77"/>
                    <a:pt x="176" y="77"/>
                  </a:cubicBezTo>
                  <a:cubicBezTo>
                    <a:pt x="176" y="78"/>
                    <a:pt x="176" y="78"/>
                    <a:pt x="177" y="78"/>
                  </a:cubicBezTo>
                  <a:cubicBezTo>
                    <a:pt x="177" y="78"/>
                    <a:pt x="177" y="79"/>
                    <a:pt x="177" y="79"/>
                  </a:cubicBezTo>
                  <a:cubicBezTo>
                    <a:pt x="177" y="80"/>
                    <a:pt x="177" y="80"/>
                    <a:pt x="177" y="81"/>
                  </a:cubicBezTo>
                  <a:close/>
                  <a:moveTo>
                    <a:pt x="265" y="45"/>
                  </a:moveTo>
                  <a:cubicBezTo>
                    <a:pt x="265" y="52"/>
                    <a:pt x="264" y="58"/>
                    <a:pt x="262" y="63"/>
                  </a:cubicBezTo>
                  <a:cubicBezTo>
                    <a:pt x="261" y="68"/>
                    <a:pt x="258" y="73"/>
                    <a:pt x="255" y="77"/>
                  </a:cubicBezTo>
                  <a:cubicBezTo>
                    <a:pt x="252" y="80"/>
                    <a:pt x="248" y="83"/>
                    <a:pt x="244" y="85"/>
                  </a:cubicBezTo>
                  <a:cubicBezTo>
                    <a:pt x="239" y="87"/>
                    <a:pt x="234" y="88"/>
                    <a:pt x="228" y="88"/>
                  </a:cubicBezTo>
                  <a:cubicBezTo>
                    <a:pt x="222" y="88"/>
                    <a:pt x="216" y="87"/>
                    <a:pt x="212" y="85"/>
                  </a:cubicBezTo>
                  <a:cubicBezTo>
                    <a:pt x="207" y="83"/>
                    <a:pt x="204" y="81"/>
                    <a:pt x="201" y="77"/>
                  </a:cubicBezTo>
                  <a:cubicBezTo>
                    <a:pt x="198" y="74"/>
                    <a:pt x="196" y="70"/>
                    <a:pt x="194" y="65"/>
                  </a:cubicBezTo>
                  <a:cubicBezTo>
                    <a:pt x="193" y="59"/>
                    <a:pt x="192" y="53"/>
                    <a:pt x="192" y="47"/>
                  </a:cubicBezTo>
                  <a:cubicBezTo>
                    <a:pt x="192" y="40"/>
                    <a:pt x="193" y="35"/>
                    <a:pt x="195" y="29"/>
                  </a:cubicBezTo>
                  <a:cubicBezTo>
                    <a:pt x="196" y="24"/>
                    <a:pt x="198" y="20"/>
                    <a:pt x="202" y="16"/>
                  </a:cubicBezTo>
                  <a:cubicBezTo>
                    <a:pt x="205" y="13"/>
                    <a:pt x="208" y="10"/>
                    <a:pt x="213" y="8"/>
                  </a:cubicBezTo>
                  <a:cubicBezTo>
                    <a:pt x="218" y="6"/>
                    <a:pt x="223" y="5"/>
                    <a:pt x="229" y="5"/>
                  </a:cubicBezTo>
                  <a:cubicBezTo>
                    <a:pt x="235" y="5"/>
                    <a:pt x="240" y="6"/>
                    <a:pt x="245" y="7"/>
                  </a:cubicBezTo>
                  <a:cubicBezTo>
                    <a:pt x="249" y="9"/>
                    <a:pt x="253" y="12"/>
                    <a:pt x="256" y="15"/>
                  </a:cubicBezTo>
                  <a:cubicBezTo>
                    <a:pt x="259" y="19"/>
                    <a:pt x="261" y="23"/>
                    <a:pt x="262" y="28"/>
                  </a:cubicBezTo>
                  <a:cubicBezTo>
                    <a:pt x="264" y="33"/>
                    <a:pt x="265" y="39"/>
                    <a:pt x="265" y="45"/>
                  </a:cubicBezTo>
                  <a:close/>
                  <a:moveTo>
                    <a:pt x="253" y="46"/>
                  </a:moveTo>
                  <a:cubicBezTo>
                    <a:pt x="253" y="42"/>
                    <a:pt x="253" y="37"/>
                    <a:pt x="252" y="33"/>
                  </a:cubicBezTo>
                  <a:cubicBezTo>
                    <a:pt x="251" y="29"/>
                    <a:pt x="250" y="26"/>
                    <a:pt x="248" y="23"/>
                  </a:cubicBezTo>
                  <a:cubicBezTo>
                    <a:pt x="246" y="20"/>
                    <a:pt x="244" y="18"/>
                    <a:pt x="240" y="16"/>
                  </a:cubicBezTo>
                  <a:cubicBezTo>
                    <a:pt x="237" y="15"/>
                    <a:pt x="233" y="14"/>
                    <a:pt x="229" y="14"/>
                  </a:cubicBezTo>
                  <a:cubicBezTo>
                    <a:pt x="224" y="14"/>
                    <a:pt x="220" y="15"/>
                    <a:pt x="217" y="17"/>
                  </a:cubicBezTo>
                  <a:cubicBezTo>
                    <a:pt x="214" y="18"/>
                    <a:pt x="211" y="21"/>
                    <a:pt x="209" y="24"/>
                  </a:cubicBezTo>
                  <a:cubicBezTo>
                    <a:pt x="207" y="26"/>
                    <a:pt x="206" y="30"/>
                    <a:pt x="205" y="34"/>
                  </a:cubicBezTo>
                  <a:cubicBezTo>
                    <a:pt x="204" y="38"/>
                    <a:pt x="204" y="42"/>
                    <a:pt x="204" y="46"/>
                  </a:cubicBezTo>
                  <a:cubicBezTo>
                    <a:pt x="204" y="51"/>
                    <a:pt x="204" y="55"/>
                    <a:pt x="205" y="59"/>
                  </a:cubicBezTo>
                  <a:cubicBezTo>
                    <a:pt x="206" y="63"/>
                    <a:pt x="207" y="67"/>
                    <a:pt x="209" y="70"/>
                  </a:cubicBezTo>
                  <a:cubicBezTo>
                    <a:pt x="211" y="72"/>
                    <a:pt x="213" y="75"/>
                    <a:pt x="216" y="76"/>
                  </a:cubicBezTo>
                  <a:cubicBezTo>
                    <a:pt x="220" y="78"/>
                    <a:pt x="223" y="79"/>
                    <a:pt x="228" y="79"/>
                  </a:cubicBezTo>
                  <a:cubicBezTo>
                    <a:pt x="233" y="79"/>
                    <a:pt x="237" y="78"/>
                    <a:pt x="240" y="76"/>
                  </a:cubicBezTo>
                  <a:cubicBezTo>
                    <a:pt x="243" y="74"/>
                    <a:pt x="246" y="72"/>
                    <a:pt x="248" y="69"/>
                  </a:cubicBezTo>
                  <a:cubicBezTo>
                    <a:pt x="250" y="66"/>
                    <a:pt x="251" y="63"/>
                    <a:pt x="252" y="59"/>
                  </a:cubicBezTo>
                  <a:cubicBezTo>
                    <a:pt x="253" y="55"/>
                    <a:pt x="253" y="51"/>
                    <a:pt x="253" y="46"/>
                  </a:cubicBezTo>
                  <a:close/>
                  <a:moveTo>
                    <a:pt x="309" y="33"/>
                  </a:moveTo>
                  <a:cubicBezTo>
                    <a:pt x="309" y="34"/>
                    <a:pt x="309" y="34"/>
                    <a:pt x="308" y="35"/>
                  </a:cubicBezTo>
                  <a:cubicBezTo>
                    <a:pt x="308" y="36"/>
                    <a:pt x="308" y="36"/>
                    <a:pt x="308" y="36"/>
                  </a:cubicBezTo>
                  <a:cubicBezTo>
                    <a:pt x="308" y="37"/>
                    <a:pt x="308" y="37"/>
                    <a:pt x="308" y="37"/>
                  </a:cubicBezTo>
                  <a:cubicBezTo>
                    <a:pt x="308" y="37"/>
                    <a:pt x="307" y="38"/>
                    <a:pt x="307" y="38"/>
                  </a:cubicBezTo>
                  <a:cubicBezTo>
                    <a:pt x="307" y="38"/>
                    <a:pt x="306" y="37"/>
                    <a:pt x="306" y="37"/>
                  </a:cubicBezTo>
                  <a:cubicBezTo>
                    <a:pt x="305" y="37"/>
                    <a:pt x="305" y="37"/>
                    <a:pt x="304" y="37"/>
                  </a:cubicBezTo>
                  <a:cubicBezTo>
                    <a:pt x="304" y="37"/>
                    <a:pt x="303" y="36"/>
                    <a:pt x="302" y="36"/>
                  </a:cubicBezTo>
                  <a:cubicBezTo>
                    <a:pt x="301" y="36"/>
                    <a:pt x="301" y="36"/>
                    <a:pt x="300" y="36"/>
                  </a:cubicBezTo>
                  <a:cubicBezTo>
                    <a:pt x="299" y="36"/>
                    <a:pt x="298" y="36"/>
                    <a:pt x="297" y="37"/>
                  </a:cubicBezTo>
                  <a:cubicBezTo>
                    <a:pt x="296" y="37"/>
                    <a:pt x="295" y="38"/>
                    <a:pt x="293" y="39"/>
                  </a:cubicBezTo>
                  <a:cubicBezTo>
                    <a:pt x="292" y="40"/>
                    <a:pt x="291" y="41"/>
                    <a:pt x="290" y="42"/>
                  </a:cubicBezTo>
                  <a:cubicBezTo>
                    <a:pt x="289" y="44"/>
                    <a:pt x="287" y="46"/>
                    <a:pt x="286" y="48"/>
                  </a:cubicBezTo>
                  <a:lnTo>
                    <a:pt x="286" y="85"/>
                  </a:lnTo>
                  <a:cubicBezTo>
                    <a:pt x="286" y="86"/>
                    <a:pt x="286" y="86"/>
                    <a:pt x="286" y="86"/>
                  </a:cubicBezTo>
                  <a:cubicBezTo>
                    <a:pt x="286" y="86"/>
                    <a:pt x="285" y="87"/>
                    <a:pt x="285" y="87"/>
                  </a:cubicBezTo>
                  <a:cubicBezTo>
                    <a:pt x="285" y="87"/>
                    <a:pt x="284" y="87"/>
                    <a:pt x="283" y="87"/>
                  </a:cubicBezTo>
                  <a:cubicBezTo>
                    <a:pt x="283" y="87"/>
                    <a:pt x="282" y="87"/>
                    <a:pt x="281" y="87"/>
                  </a:cubicBezTo>
                  <a:cubicBezTo>
                    <a:pt x="280" y="87"/>
                    <a:pt x="279" y="87"/>
                    <a:pt x="278" y="87"/>
                  </a:cubicBezTo>
                  <a:cubicBezTo>
                    <a:pt x="278" y="87"/>
                    <a:pt x="277" y="87"/>
                    <a:pt x="277" y="87"/>
                  </a:cubicBezTo>
                  <a:cubicBezTo>
                    <a:pt x="276" y="87"/>
                    <a:pt x="276" y="86"/>
                    <a:pt x="276" y="86"/>
                  </a:cubicBezTo>
                  <a:cubicBezTo>
                    <a:pt x="276" y="86"/>
                    <a:pt x="276" y="86"/>
                    <a:pt x="276" y="85"/>
                  </a:cubicBezTo>
                  <a:lnTo>
                    <a:pt x="276" y="29"/>
                  </a:lnTo>
                  <a:cubicBezTo>
                    <a:pt x="276" y="29"/>
                    <a:pt x="276" y="28"/>
                    <a:pt x="276" y="28"/>
                  </a:cubicBezTo>
                  <a:cubicBezTo>
                    <a:pt x="276" y="28"/>
                    <a:pt x="276" y="28"/>
                    <a:pt x="277" y="28"/>
                  </a:cubicBezTo>
                  <a:cubicBezTo>
                    <a:pt x="277" y="27"/>
                    <a:pt x="277" y="27"/>
                    <a:pt x="278" y="27"/>
                  </a:cubicBezTo>
                  <a:cubicBezTo>
                    <a:pt x="279" y="27"/>
                    <a:pt x="279" y="27"/>
                    <a:pt x="280" y="27"/>
                  </a:cubicBezTo>
                  <a:cubicBezTo>
                    <a:pt x="281" y="27"/>
                    <a:pt x="282" y="27"/>
                    <a:pt x="283" y="27"/>
                  </a:cubicBezTo>
                  <a:cubicBezTo>
                    <a:pt x="283" y="27"/>
                    <a:pt x="284" y="27"/>
                    <a:pt x="284" y="28"/>
                  </a:cubicBezTo>
                  <a:cubicBezTo>
                    <a:pt x="284" y="28"/>
                    <a:pt x="285" y="28"/>
                    <a:pt x="285" y="28"/>
                  </a:cubicBezTo>
                  <a:cubicBezTo>
                    <a:pt x="285" y="28"/>
                    <a:pt x="285" y="29"/>
                    <a:pt x="285" y="29"/>
                  </a:cubicBezTo>
                  <a:lnTo>
                    <a:pt x="285" y="37"/>
                  </a:lnTo>
                  <a:cubicBezTo>
                    <a:pt x="287" y="35"/>
                    <a:pt x="288" y="33"/>
                    <a:pt x="289" y="32"/>
                  </a:cubicBezTo>
                  <a:cubicBezTo>
                    <a:pt x="291" y="30"/>
                    <a:pt x="292" y="29"/>
                    <a:pt x="293" y="28"/>
                  </a:cubicBezTo>
                  <a:cubicBezTo>
                    <a:pt x="294" y="28"/>
                    <a:pt x="296" y="27"/>
                    <a:pt x="297" y="27"/>
                  </a:cubicBezTo>
                  <a:cubicBezTo>
                    <a:pt x="298" y="26"/>
                    <a:pt x="299" y="26"/>
                    <a:pt x="300" y="26"/>
                  </a:cubicBezTo>
                  <a:cubicBezTo>
                    <a:pt x="301" y="26"/>
                    <a:pt x="302" y="26"/>
                    <a:pt x="302" y="26"/>
                  </a:cubicBezTo>
                  <a:cubicBezTo>
                    <a:pt x="303" y="26"/>
                    <a:pt x="304" y="26"/>
                    <a:pt x="304" y="27"/>
                  </a:cubicBezTo>
                  <a:cubicBezTo>
                    <a:pt x="305" y="27"/>
                    <a:pt x="306" y="27"/>
                    <a:pt x="306" y="27"/>
                  </a:cubicBezTo>
                  <a:cubicBezTo>
                    <a:pt x="307" y="27"/>
                    <a:pt x="307" y="28"/>
                    <a:pt x="308" y="28"/>
                  </a:cubicBezTo>
                  <a:cubicBezTo>
                    <a:pt x="308" y="28"/>
                    <a:pt x="308" y="28"/>
                    <a:pt x="308" y="28"/>
                  </a:cubicBezTo>
                  <a:cubicBezTo>
                    <a:pt x="308" y="29"/>
                    <a:pt x="308" y="29"/>
                    <a:pt x="308" y="29"/>
                  </a:cubicBezTo>
                  <a:cubicBezTo>
                    <a:pt x="308" y="29"/>
                    <a:pt x="308" y="30"/>
                    <a:pt x="309" y="30"/>
                  </a:cubicBezTo>
                  <a:cubicBezTo>
                    <a:pt x="309" y="31"/>
                    <a:pt x="309" y="32"/>
                    <a:pt x="309" y="33"/>
                  </a:cubicBezTo>
                  <a:close/>
                  <a:moveTo>
                    <a:pt x="372" y="85"/>
                  </a:moveTo>
                  <a:cubicBezTo>
                    <a:pt x="372" y="86"/>
                    <a:pt x="372" y="86"/>
                    <a:pt x="372" y="86"/>
                  </a:cubicBezTo>
                  <a:cubicBezTo>
                    <a:pt x="371" y="86"/>
                    <a:pt x="371" y="87"/>
                    <a:pt x="371" y="87"/>
                  </a:cubicBezTo>
                  <a:cubicBezTo>
                    <a:pt x="371" y="87"/>
                    <a:pt x="370" y="87"/>
                    <a:pt x="369" y="87"/>
                  </a:cubicBezTo>
                  <a:cubicBezTo>
                    <a:pt x="369" y="87"/>
                    <a:pt x="368" y="87"/>
                    <a:pt x="367" y="87"/>
                  </a:cubicBezTo>
                  <a:cubicBezTo>
                    <a:pt x="366" y="87"/>
                    <a:pt x="366" y="87"/>
                    <a:pt x="365" y="87"/>
                  </a:cubicBezTo>
                  <a:cubicBezTo>
                    <a:pt x="365" y="87"/>
                    <a:pt x="364" y="87"/>
                    <a:pt x="364" y="87"/>
                  </a:cubicBezTo>
                  <a:cubicBezTo>
                    <a:pt x="363" y="87"/>
                    <a:pt x="363" y="86"/>
                    <a:pt x="363" y="86"/>
                  </a:cubicBezTo>
                  <a:cubicBezTo>
                    <a:pt x="363" y="86"/>
                    <a:pt x="363" y="86"/>
                    <a:pt x="363" y="85"/>
                  </a:cubicBezTo>
                  <a:lnTo>
                    <a:pt x="363" y="78"/>
                  </a:lnTo>
                  <a:cubicBezTo>
                    <a:pt x="360" y="81"/>
                    <a:pt x="357" y="84"/>
                    <a:pt x="353" y="85"/>
                  </a:cubicBezTo>
                  <a:cubicBezTo>
                    <a:pt x="350" y="87"/>
                    <a:pt x="347" y="88"/>
                    <a:pt x="343" y="88"/>
                  </a:cubicBezTo>
                  <a:cubicBezTo>
                    <a:pt x="339" y="88"/>
                    <a:pt x="335" y="87"/>
                    <a:pt x="332" y="86"/>
                  </a:cubicBezTo>
                  <a:cubicBezTo>
                    <a:pt x="329" y="84"/>
                    <a:pt x="327" y="82"/>
                    <a:pt x="325" y="79"/>
                  </a:cubicBezTo>
                  <a:cubicBezTo>
                    <a:pt x="324" y="76"/>
                    <a:pt x="322" y="73"/>
                    <a:pt x="321" y="69"/>
                  </a:cubicBezTo>
                  <a:cubicBezTo>
                    <a:pt x="321" y="66"/>
                    <a:pt x="320" y="62"/>
                    <a:pt x="320" y="58"/>
                  </a:cubicBezTo>
                  <a:cubicBezTo>
                    <a:pt x="320" y="53"/>
                    <a:pt x="321" y="49"/>
                    <a:pt x="322" y="45"/>
                  </a:cubicBezTo>
                  <a:cubicBezTo>
                    <a:pt x="323" y="41"/>
                    <a:pt x="324" y="38"/>
                    <a:pt x="326" y="35"/>
                  </a:cubicBezTo>
                  <a:cubicBezTo>
                    <a:pt x="328" y="32"/>
                    <a:pt x="331" y="30"/>
                    <a:pt x="334" y="28"/>
                  </a:cubicBezTo>
                  <a:cubicBezTo>
                    <a:pt x="337" y="27"/>
                    <a:pt x="340" y="26"/>
                    <a:pt x="344" y="26"/>
                  </a:cubicBezTo>
                  <a:cubicBezTo>
                    <a:pt x="348" y="26"/>
                    <a:pt x="351" y="27"/>
                    <a:pt x="353" y="28"/>
                  </a:cubicBezTo>
                  <a:cubicBezTo>
                    <a:pt x="356" y="30"/>
                    <a:pt x="359" y="32"/>
                    <a:pt x="361" y="35"/>
                  </a:cubicBezTo>
                  <a:lnTo>
                    <a:pt x="361" y="2"/>
                  </a:lnTo>
                  <a:cubicBezTo>
                    <a:pt x="361" y="2"/>
                    <a:pt x="362" y="1"/>
                    <a:pt x="362" y="1"/>
                  </a:cubicBezTo>
                  <a:cubicBezTo>
                    <a:pt x="362" y="1"/>
                    <a:pt x="362" y="1"/>
                    <a:pt x="363" y="1"/>
                  </a:cubicBezTo>
                  <a:cubicBezTo>
                    <a:pt x="363" y="0"/>
                    <a:pt x="363" y="0"/>
                    <a:pt x="364" y="0"/>
                  </a:cubicBezTo>
                  <a:cubicBezTo>
                    <a:pt x="365" y="0"/>
                    <a:pt x="366" y="0"/>
                    <a:pt x="367" y="0"/>
                  </a:cubicBezTo>
                  <a:cubicBezTo>
                    <a:pt x="368" y="0"/>
                    <a:pt x="368" y="0"/>
                    <a:pt x="369" y="0"/>
                  </a:cubicBezTo>
                  <a:cubicBezTo>
                    <a:pt x="370" y="0"/>
                    <a:pt x="370" y="0"/>
                    <a:pt x="371" y="1"/>
                  </a:cubicBezTo>
                  <a:cubicBezTo>
                    <a:pt x="371" y="1"/>
                    <a:pt x="371" y="1"/>
                    <a:pt x="372" y="1"/>
                  </a:cubicBezTo>
                  <a:cubicBezTo>
                    <a:pt x="372" y="1"/>
                    <a:pt x="372" y="2"/>
                    <a:pt x="372" y="2"/>
                  </a:cubicBezTo>
                  <a:lnTo>
                    <a:pt x="372" y="85"/>
                  </a:lnTo>
                  <a:close/>
                  <a:moveTo>
                    <a:pt x="361" y="46"/>
                  </a:moveTo>
                  <a:cubicBezTo>
                    <a:pt x="359" y="42"/>
                    <a:pt x="356" y="40"/>
                    <a:pt x="353" y="38"/>
                  </a:cubicBezTo>
                  <a:cubicBezTo>
                    <a:pt x="351" y="36"/>
                    <a:pt x="348" y="35"/>
                    <a:pt x="345" y="35"/>
                  </a:cubicBezTo>
                  <a:cubicBezTo>
                    <a:pt x="343" y="35"/>
                    <a:pt x="340" y="36"/>
                    <a:pt x="339" y="37"/>
                  </a:cubicBezTo>
                  <a:cubicBezTo>
                    <a:pt x="337" y="38"/>
                    <a:pt x="335" y="40"/>
                    <a:pt x="334" y="42"/>
                  </a:cubicBezTo>
                  <a:cubicBezTo>
                    <a:pt x="333" y="44"/>
                    <a:pt x="332" y="46"/>
                    <a:pt x="332" y="49"/>
                  </a:cubicBezTo>
                  <a:cubicBezTo>
                    <a:pt x="331" y="51"/>
                    <a:pt x="331" y="54"/>
                    <a:pt x="331" y="57"/>
                  </a:cubicBezTo>
                  <a:cubicBezTo>
                    <a:pt x="331" y="60"/>
                    <a:pt x="331" y="62"/>
                    <a:pt x="331" y="65"/>
                  </a:cubicBezTo>
                  <a:cubicBezTo>
                    <a:pt x="332" y="68"/>
                    <a:pt x="333" y="70"/>
                    <a:pt x="334" y="72"/>
                  </a:cubicBezTo>
                  <a:cubicBezTo>
                    <a:pt x="335" y="74"/>
                    <a:pt x="336" y="76"/>
                    <a:pt x="338" y="77"/>
                  </a:cubicBezTo>
                  <a:cubicBezTo>
                    <a:pt x="340" y="79"/>
                    <a:pt x="342" y="79"/>
                    <a:pt x="345" y="79"/>
                  </a:cubicBezTo>
                  <a:cubicBezTo>
                    <a:pt x="346" y="79"/>
                    <a:pt x="347" y="79"/>
                    <a:pt x="349" y="79"/>
                  </a:cubicBezTo>
                  <a:cubicBezTo>
                    <a:pt x="350" y="78"/>
                    <a:pt x="351" y="78"/>
                    <a:pt x="353" y="77"/>
                  </a:cubicBezTo>
                  <a:cubicBezTo>
                    <a:pt x="354" y="76"/>
                    <a:pt x="355" y="75"/>
                    <a:pt x="357" y="73"/>
                  </a:cubicBezTo>
                  <a:cubicBezTo>
                    <a:pt x="358" y="72"/>
                    <a:pt x="360" y="70"/>
                    <a:pt x="361" y="68"/>
                  </a:cubicBezTo>
                  <a:lnTo>
                    <a:pt x="361" y="46"/>
                  </a:lnTo>
                  <a:close/>
                  <a:moveTo>
                    <a:pt x="436" y="55"/>
                  </a:moveTo>
                  <a:cubicBezTo>
                    <a:pt x="436" y="56"/>
                    <a:pt x="435" y="57"/>
                    <a:pt x="434" y="58"/>
                  </a:cubicBezTo>
                  <a:cubicBezTo>
                    <a:pt x="434" y="59"/>
                    <a:pt x="433" y="59"/>
                    <a:pt x="432" y="59"/>
                  </a:cubicBezTo>
                  <a:lnTo>
                    <a:pt x="395" y="59"/>
                  </a:lnTo>
                  <a:cubicBezTo>
                    <a:pt x="395" y="62"/>
                    <a:pt x="395" y="65"/>
                    <a:pt x="396" y="68"/>
                  </a:cubicBezTo>
                  <a:cubicBezTo>
                    <a:pt x="396" y="70"/>
                    <a:pt x="397" y="72"/>
                    <a:pt x="399" y="74"/>
                  </a:cubicBezTo>
                  <a:cubicBezTo>
                    <a:pt x="400" y="76"/>
                    <a:pt x="402" y="77"/>
                    <a:pt x="404" y="78"/>
                  </a:cubicBezTo>
                  <a:cubicBezTo>
                    <a:pt x="407" y="79"/>
                    <a:pt x="410" y="80"/>
                    <a:pt x="413" y="80"/>
                  </a:cubicBezTo>
                  <a:cubicBezTo>
                    <a:pt x="416" y="80"/>
                    <a:pt x="418" y="79"/>
                    <a:pt x="420" y="79"/>
                  </a:cubicBezTo>
                  <a:cubicBezTo>
                    <a:pt x="422" y="79"/>
                    <a:pt x="424" y="78"/>
                    <a:pt x="426" y="78"/>
                  </a:cubicBezTo>
                  <a:cubicBezTo>
                    <a:pt x="427" y="77"/>
                    <a:pt x="428" y="76"/>
                    <a:pt x="429" y="76"/>
                  </a:cubicBezTo>
                  <a:cubicBezTo>
                    <a:pt x="430" y="76"/>
                    <a:pt x="431" y="75"/>
                    <a:pt x="432" y="75"/>
                  </a:cubicBezTo>
                  <a:cubicBezTo>
                    <a:pt x="432" y="75"/>
                    <a:pt x="432" y="75"/>
                    <a:pt x="432" y="76"/>
                  </a:cubicBezTo>
                  <a:cubicBezTo>
                    <a:pt x="433" y="76"/>
                    <a:pt x="433" y="76"/>
                    <a:pt x="433" y="76"/>
                  </a:cubicBezTo>
                  <a:cubicBezTo>
                    <a:pt x="433" y="77"/>
                    <a:pt x="433" y="77"/>
                    <a:pt x="433" y="77"/>
                  </a:cubicBezTo>
                  <a:cubicBezTo>
                    <a:pt x="433" y="78"/>
                    <a:pt x="433" y="79"/>
                    <a:pt x="433" y="79"/>
                  </a:cubicBezTo>
                  <a:cubicBezTo>
                    <a:pt x="433" y="80"/>
                    <a:pt x="433" y="80"/>
                    <a:pt x="433" y="81"/>
                  </a:cubicBezTo>
                  <a:cubicBezTo>
                    <a:pt x="433" y="81"/>
                    <a:pt x="433" y="82"/>
                    <a:pt x="433" y="82"/>
                  </a:cubicBezTo>
                  <a:cubicBezTo>
                    <a:pt x="433" y="82"/>
                    <a:pt x="433" y="82"/>
                    <a:pt x="433" y="83"/>
                  </a:cubicBezTo>
                  <a:cubicBezTo>
                    <a:pt x="433" y="83"/>
                    <a:pt x="432" y="83"/>
                    <a:pt x="432" y="83"/>
                  </a:cubicBezTo>
                  <a:cubicBezTo>
                    <a:pt x="432" y="84"/>
                    <a:pt x="431" y="84"/>
                    <a:pt x="430" y="85"/>
                  </a:cubicBezTo>
                  <a:cubicBezTo>
                    <a:pt x="429" y="85"/>
                    <a:pt x="428" y="86"/>
                    <a:pt x="426" y="86"/>
                  </a:cubicBezTo>
                  <a:cubicBezTo>
                    <a:pt x="424" y="87"/>
                    <a:pt x="422" y="87"/>
                    <a:pt x="420" y="87"/>
                  </a:cubicBezTo>
                  <a:cubicBezTo>
                    <a:pt x="417" y="88"/>
                    <a:pt x="415" y="88"/>
                    <a:pt x="412" y="88"/>
                  </a:cubicBezTo>
                  <a:cubicBezTo>
                    <a:pt x="407" y="88"/>
                    <a:pt x="403" y="87"/>
                    <a:pt x="400" y="86"/>
                  </a:cubicBezTo>
                  <a:cubicBezTo>
                    <a:pt x="396" y="85"/>
                    <a:pt x="393" y="83"/>
                    <a:pt x="391" y="80"/>
                  </a:cubicBezTo>
                  <a:cubicBezTo>
                    <a:pt x="389" y="78"/>
                    <a:pt x="387" y="75"/>
                    <a:pt x="386" y="71"/>
                  </a:cubicBezTo>
                  <a:cubicBezTo>
                    <a:pt x="385" y="67"/>
                    <a:pt x="384" y="62"/>
                    <a:pt x="384" y="57"/>
                  </a:cubicBezTo>
                  <a:cubicBezTo>
                    <a:pt x="384" y="53"/>
                    <a:pt x="385" y="48"/>
                    <a:pt x="386" y="44"/>
                  </a:cubicBezTo>
                  <a:cubicBezTo>
                    <a:pt x="387" y="41"/>
                    <a:pt x="389" y="37"/>
                    <a:pt x="391" y="35"/>
                  </a:cubicBezTo>
                  <a:cubicBezTo>
                    <a:pt x="394" y="32"/>
                    <a:pt x="396" y="30"/>
                    <a:pt x="400" y="28"/>
                  </a:cubicBezTo>
                  <a:cubicBezTo>
                    <a:pt x="403" y="27"/>
                    <a:pt x="407" y="26"/>
                    <a:pt x="411" y="26"/>
                  </a:cubicBezTo>
                  <a:cubicBezTo>
                    <a:pt x="415" y="26"/>
                    <a:pt x="419" y="27"/>
                    <a:pt x="422" y="28"/>
                  </a:cubicBezTo>
                  <a:cubicBezTo>
                    <a:pt x="425" y="30"/>
                    <a:pt x="428" y="32"/>
                    <a:pt x="430" y="34"/>
                  </a:cubicBezTo>
                  <a:cubicBezTo>
                    <a:pt x="432" y="36"/>
                    <a:pt x="433" y="39"/>
                    <a:pt x="434" y="42"/>
                  </a:cubicBezTo>
                  <a:cubicBezTo>
                    <a:pt x="435" y="46"/>
                    <a:pt x="436" y="49"/>
                    <a:pt x="436" y="53"/>
                  </a:cubicBezTo>
                  <a:lnTo>
                    <a:pt x="436" y="55"/>
                  </a:lnTo>
                  <a:close/>
                  <a:moveTo>
                    <a:pt x="425" y="52"/>
                  </a:moveTo>
                  <a:cubicBezTo>
                    <a:pt x="425" y="46"/>
                    <a:pt x="424" y="42"/>
                    <a:pt x="422" y="39"/>
                  </a:cubicBezTo>
                  <a:cubicBezTo>
                    <a:pt x="419" y="36"/>
                    <a:pt x="415" y="34"/>
                    <a:pt x="410" y="34"/>
                  </a:cubicBezTo>
                  <a:cubicBezTo>
                    <a:pt x="408" y="34"/>
                    <a:pt x="406" y="35"/>
                    <a:pt x="404" y="36"/>
                  </a:cubicBezTo>
                  <a:cubicBezTo>
                    <a:pt x="402" y="37"/>
                    <a:pt x="400" y="38"/>
                    <a:pt x="399" y="40"/>
                  </a:cubicBezTo>
                  <a:cubicBezTo>
                    <a:pt x="398" y="41"/>
                    <a:pt x="397" y="43"/>
                    <a:pt x="396" y="45"/>
                  </a:cubicBezTo>
                  <a:cubicBezTo>
                    <a:pt x="395" y="47"/>
                    <a:pt x="395" y="49"/>
                    <a:pt x="395" y="52"/>
                  </a:cubicBezTo>
                  <a:lnTo>
                    <a:pt x="425" y="52"/>
                  </a:lnTo>
                  <a:close/>
                  <a:moveTo>
                    <a:pt x="485" y="33"/>
                  </a:moveTo>
                  <a:cubicBezTo>
                    <a:pt x="485" y="34"/>
                    <a:pt x="485" y="34"/>
                    <a:pt x="484" y="35"/>
                  </a:cubicBezTo>
                  <a:cubicBezTo>
                    <a:pt x="484" y="36"/>
                    <a:pt x="484" y="36"/>
                    <a:pt x="484" y="36"/>
                  </a:cubicBezTo>
                  <a:cubicBezTo>
                    <a:pt x="484" y="37"/>
                    <a:pt x="484" y="37"/>
                    <a:pt x="484" y="37"/>
                  </a:cubicBezTo>
                  <a:cubicBezTo>
                    <a:pt x="484" y="37"/>
                    <a:pt x="483" y="38"/>
                    <a:pt x="483" y="38"/>
                  </a:cubicBezTo>
                  <a:cubicBezTo>
                    <a:pt x="483" y="38"/>
                    <a:pt x="482" y="37"/>
                    <a:pt x="482" y="37"/>
                  </a:cubicBezTo>
                  <a:cubicBezTo>
                    <a:pt x="481" y="37"/>
                    <a:pt x="481" y="37"/>
                    <a:pt x="480" y="37"/>
                  </a:cubicBezTo>
                  <a:cubicBezTo>
                    <a:pt x="480" y="37"/>
                    <a:pt x="479" y="36"/>
                    <a:pt x="478" y="36"/>
                  </a:cubicBezTo>
                  <a:cubicBezTo>
                    <a:pt x="477" y="36"/>
                    <a:pt x="477" y="36"/>
                    <a:pt x="476" y="36"/>
                  </a:cubicBezTo>
                  <a:cubicBezTo>
                    <a:pt x="475" y="36"/>
                    <a:pt x="474" y="36"/>
                    <a:pt x="473" y="37"/>
                  </a:cubicBezTo>
                  <a:cubicBezTo>
                    <a:pt x="472" y="37"/>
                    <a:pt x="471" y="38"/>
                    <a:pt x="469" y="39"/>
                  </a:cubicBezTo>
                  <a:cubicBezTo>
                    <a:pt x="468" y="40"/>
                    <a:pt x="467" y="41"/>
                    <a:pt x="466" y="42"/>
                  </a:cubicBezTo>
                  <a:cubicBezTo>
                    <a:pt x="465" y="44"/>
                    <a:pt x="463" y="46"/>
                    <a:pt x="462" y="48"/>
                  </a:cubicBezTo>
                  <a:lnTo>
                    <a:pt x="462" y="85"/>
                  </a:lnTo>
                  <a:cubicBezTo>
                    <a:pt x="462" y="86"/>
                    <a:pt x="462" y="86"/>
                    <a:pt x="462" y="86"/>
                  </a:cubicBezTo>
                  <a:cubicBezTo>
                    <a:pt x="462" y="86"/>
                    <a:pt x="461" y="87"/>
                    <a:pt x="461" y="87"/>
                  </a:cubicBezTo>
                  <a:cubicBezTo>
                    <a:pt x="461" y="87"/>
                    <a:pt x="460" y="87"/>
                    <a:pt x="459" y="87"/>
                  </a:cubicBezTo>
                  <a:cubicBezTo>
                    <a:pt x="459" y="87"/>
                    <a:pt x="458" y="87"/>
                    <a:pt x="457" y="87"/>
                  </a:cubicBezTo>
                  <a:cubicBezTo>
                    <a:pt x="456" y="87"/>
                    <a:pt x="455" y="87"/>
                    <a:pt x="454" y="87"/>
                  </a:cubicBezTo>
                  <a:cubicBezTo>
                    <a:pt x="454" y="87"/>
                    <a:pt x="453" y="87"/>
                    <a:pt x="453" y="87"/>
                  </a:cubicBezTo>
                  <a:cubicBezTo>
                    <a:pt x="452" y="87"/>
                    <a:pt x="452" y="86"/>
                    <a:pt x="452" y="86"/>
                  </a:cubicBezTo>
                  <a:cubicBezTo>
                    <a:pt x="452" y="86"/>
                    <a:pt x="452" y="86"/>
                    <a:pt x="452" y="85"/>
                  </a:cubicBezTo>
                  <a:lnTo>
                    <a:pt x="452" y="29"/>
                  </a:lnTo>
                  <a:cubicBezTo>
                    <a:pt x="452" y="29"/>
                    <a:pt x="452" y="28"/>
                    <a:pt x="452" y="28"/>
                  </a:cubicBezTo>
                  <a:cubicBezTo>
                    <a:pt x="452" y="28"/>
                    <a:pt x="452" y="28"/>
                    <a:pt x="453" y="28"/>
                  </a:cubicBezTo>
                  <a:cubicBezTo>
                    <a:pt x="453" y="27"/>
                    <a:pt x="453" y="27"/>
                    <a:pt x="454" y="27"/>
                  </a:cubicBezTo>
                  <a:cubicBezTo>
                    <a:pt x="455" y="27"/>
                    <a:pt x="455" y="27"/>
                    <a:pt x="456" y="27"/>
                  </a:cubicBezTo>
                  <a:cubicBezTo>
                    <a:pt x="457" y="27"/>
                    <a:pt x="458" y="27"/>
                    <a:pt x="459" y="27"/>
                  </a:cubicBezTo>
                  <a:cubicBezTo>
                    <a:pt x="459" y="27"/>
                    <a:pt x="460" y="27"/>
                    <a:pt x="460" y="28"/>
                  </a:cubicBezTo>
                  <a:cubicBezTo>
                    <a:pt x="460" y="28"/>
                    <a:pt x="461" y="28"/>
                    <a:pt x="461" y="28"/>
                  </a:cubicBezTo>
                  <a:cubicBezTo>
                    <a:pt x="461" y="28"/>
                    <a:pt x="461" y="29"/>
                    <a:pt x="461" y="29"/>
                  </a:cubicBezTo>
                  <a:lnTo>
                    <a:pt x="461" y="37"/>
                  </a:lnTo>
                  <a:cubicBezTo>
                    <a:pt x="463" y="35"/>
                    <a:pt x="464" y="33"/>
                    <a:pt x="465" y="32"/>
                  </a:cubicBezTo>
                  <a:cubicBezTo>
                    <a:pt x="467" y="30"/>
                    <a:pt x="468" y="29"/>
                    <a:pt x="469" y="28"/>
                  </a:cubicBezTo>
                  <a:cubicBezTo>
                    <a:pt x="470" y="28"/>
                    <a:pt x="472" y="27"/>
                    <a:pt x="473" y="27"/>
                  </a:cubicBezTo>
                  <a:cubicBezTo>
                    <a:pt x="474" y="26"/>
                    <a:pt x="475" y="26"/>
                    <a:pt x="476" y="26"/>
                  </a:cubicBezTo>
                  <a:cubicBezTo>
                    <a:pt x="477" y="26"/>
                    <a:pt x="478" y="26"/>
                    <a:pt x="478" y="26"/>
                  </a:cubicBezTo>
                  <a:cubicBezTo>
                    <a:pt x="479" y="26"/>
                    <a:pt x="480" y="26"/>
                    <a:pt x="480" y="27"/>
                  </a:cubicBezTo>
                  <a:cubicBezTo>
                    <a:pt x="481" y="27"/>
                    <a:pt x="482" y="27"/>
                    <a:pt x="482" y="27"/>
                  </a:cubicBezTo>
                  <a:cubicBezTo>
                    <a:pt x="483" y="27"/>
                    <a:pt x="483" y="28"/>
                    <a:pt x="484" y="28"/>
                  </a:cubicBezTo>
                  <a:cubicBezTo>
                    <a:pt x="484" y="28"/>
                    <a:pt x="484" y="28"/>
                    <a:pt x="484" y="28"/>
                  </a:cubicBezTo>
                  <a:cubicBezTo>
                    <a:pt x="484" y="29"/>
                    <a:pt x="484" y="29"/>
                    <a:pt x="484" y="29"/>
                  </a:cubicBezTo>
                  <a:cubicBezTo>
                    <a:pt x="484" y="29"/>
                    <a:pt x="484" y="30"/>
                    <a:pt x="485" y="30"/>
                  </a:cubicBezTo>
                  <a:cubicBezTo>
                    <a:pt x="485" y="31"/>
                    <a:pt x="485" y="32"/>
                    <a:pt x="485" y="33"/>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17" name="Rectangle 139">
              <a:extLst>
                <a:ext uri="{FF2B5EF4-FFF2-40B4-BE49-F238E27FC236}">
                  <a16:creationId xmlns:a16="http://schemas.microsoft.com/office/drawing/2014/main" id="{A060DC69-A34A-4470-8C15-EE21EC07ABE4}"/>
                </a:ext>
              </a:extLst>
            </p:cNvPr>
            <p:cNvSpPr>
              <a:spLocks noChangeArrowheads="1"/>
            </p:cNvSpPr>
            <p:nvPr/>
          </p:nvSpPr>
          <p:spPr bwMode="auto">
            <a:xfrm>
              <a:off x="3545" y="2304"/>
              <a:ext cx="14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a:ln>
                    <a:noFill/>
                  </a:ln>
                  <a:solidFill>
                    <a:srgbClr val="00B050"/>
                  </a:solidFill>
                  <a:effectLst/>
                  <a:latin typeface="Segoe UI" panose="020B0502040204020203" pitchFamily="34" charset="0"/>
                </a:rPr>
                <a:t>Us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18" name="Rectangle 140">
              <a:extLst>
                <a:ext uri="{FF2B5EF4-FFF2-40B4-BE49-F238E27FC236}">
                  <a16:creationId xmlns:a16="http://schemas.microsoft.com/office/drawing/2014/main" id="{D331BF7A-E9C8-4B57-9A26-8728AFFD22FE}"/>
                </a:ext>
              </a:extLst>
            </p:cNvPr>
            <p:cNvSpPr>
              <a:spLocks noChangeArrowheads="1"/>
            </p:cNvSpPr>
            <p:nvPr/>
          </p:nvSpPr>
          <p:spPr bwMode="auto">
            <a:xfrm>
              <a:off x="3964" y="3419"/>
              <a:ext cx="927" cy="236"/>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19" name="Rectangle 141">
              <a:extLst>
                <a:ext uri="{FF2B5EF4-FFF2-40B4-BE49-F238E27FC236}">
                  <a16:creationId xmlns:a16="http://schemas.microsoft.com/office/drawing/2014/main" id="{7640049A-8E80-4682-BFC0-C30254A68452}"/>
                </a:ext>
              </a:extLst>
            </p:cNvPr>
            <p:cNvSpPr>
              <a:spLocks noChangeArrowheads="1"/>
            </p:cNvSpPr>
            <p:nvPr/>
          </p:nvSpPr>
          <p:spPr bwMode="auto">
            <a:xfrm>
              <a:off x="3964" y="3419"/>
              <a:ext cx="927" cy="236"/>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720" name="Rectangle 142">
              <a:extLst>
                <a:ext uri="{FF2B5EF4-FFF2-40B4-BE49-F238E27FC236}">
                  <a16:creationId xmlns:a16="http://schemas.microsoft.com/office/drawing/2014/main" id="{6455ADFB-FD5B-42CF-B50A-6B3CA6650565}"/>
                </a:ext>
              </a:extLst>
            </p:cNvPr>
            <p:cNvSpPr>
              <a:spLocks noChangeArrowheads="1"/>
            </p:cNvSpPr>
            <p:nvPr/>
          </p:nvSpPr>
          <p:spPr bwMode="auto">
            <a:xfrm>
              <a:off x="4294" y="3445"/>
              <a:ext cx="32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Order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21" name="Rectangle 143">
              <a:extLst>
                <a:ext uri="{FF2B5EF4-FFF2-40B4-BE49-F238E27FC236}">
                  <a16:creationId xmlns:a16="http://schemas.microsoft.com/office/drawing/2014/main" id="{110C038E-6785-4090-AD24-6BD4AEB65AB8}"/>
                </a:ext>
              </a:extLst>
            </p:cNvPr>
            <p:cNvSpPr>
              <a:spLocks noChangeArrowheads="1"/>
            </p:cNvSpPr>
            <p:nvPr/>
          </p:nvSpPr>
          <p:spPr bwMode="auto">
            <a:xfrm>
              <a:off x="4232" y="3537"/>
              <a:ext cx="4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Calibri" panose="020F0502020204030204" pitchFamily="34" charset="0"/>
                </a:rPr>
                <a:t>Microservi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22" name="Freeform 144">
              <a:extLst>
                <a:ext uri="{FF2B5EF4-FFF2-40B4-BE49-F238E27FC236}">
                  <a16:creationId xmlns:a16="http://schemas.microsoft.com/office/drawing/2014/main" id="{A670D610-EFF9-4B91-BEE5-0C002C779F72}"/>
                </a:ext>
              </a:extLst>
            </p:cNvPr>
            <p:cNvSpPr>
              <a:spLocks noEditPoints="1"/>
            </p:cNvSpPr>
            <p:nvPr/>
          </p:nvSpPr>
          <p:spPr bwMode="auto">
            <a:xfrm>
              <a:off x="2554" y="2393"/>
              <a:ext cx="1263" cy="1091"/>
            </a:xfrm>
            <a:custGeom>
              <a:avLst/>
              <a:gdLst>
                <a:gd name="T0" fmla="*/ 24 w 2821"/>
                <a:gd name="T1" fmla="*/ 60 h 2435"/>
                <a:gd name="T2" fmla="*/ 53 w 2821"/>
                <a:gd name="T3" fmla="*/ 153 h 2435"/>
                <a:gd name="T4" fmla="*/ 71 w 2821"/>
                <a:gd name="T5" fmla="*/ 215 h 2435"/>
                <a:gd name="T6" fmla="*/ 92 w 2821"/>
                <a:gd name="T7" fmla="*/ 272 h 2435"/>
                <a:gd name="T8" fmla="*/ 115 w 2821"/>
                <a:gd name="T9" fmla="*/ 329 h 2435"/>
                <a:gd name="T10" fmla="*/ 135 w 2821"/>
                <a:gd name="T11" fmla="*/ 385 h 2435"/>
                <a:gd name="T12" fmla="*/ 144 w 2821"/>
                <a:gd name="T13" fmla="*/ 408 h 2435"/>
                <a:gd name="T14" fmla="*/ 171 w 2821"/>
                <a:gd name="T15" fmla="*/ 474 h 2435"/>
                <a:gd name="T16" fmla="*/ 194 w 2821"/>
                <a:gd name="T17" fmla="*/ 521 h 2435"/>
                <a:gd name="T18" fmla="*/ 222 w 2821"/>
                <a:gd name="T19" fmla="*/ 572 h 2435"/>
                <a:gd name="T20" fmla="*/ 253 w 2821"/>
                <a:gd name="T21" fmla="*/ 629 h 2435"/>
                <a:gd name="T22" fmla="*/ 277 w 2821"/>
                <a:gd name="T23" fmla="*/ 682 h 2435"/>
                <a:gd name="T24" fmla="*/ 311 w 2821"/>
                <a:gd name="T25" fmla="*/ 737 h 2435"/>
                <a:gd name="T26" fmla="*/ 373 w 2821"/>
                <a:gd name="T27" fmla="*/ 843 h 2435"/>
                <a:gd name="T28" fmla="*/ 411 w 2821"/>
                <a:gd name="T29" fmla="*/ 906 h 2435"/>
                <a:gd name="T30" fmla="*/ 439 w 2821"/>
                <a:gd name="T31" fmla="*/ 946 h 2435"/>
                <a:gd name="T32" fmla="*/ 494 w 2821"/>
                <a:gd name="T33" fmla="*/ 1026 h 2435"/>
                <a:gd name="T34" fmla="*/ 529 w 2821"/>
                <a:gd name="T35" fmla="*/ 1080 h 2435"/>
                <a:gd name="T36" fmla="*/ 565 w 2821"/>
                <a:gd name="T37" fmla="*/ 1129 h 2435"/>
                <a:gd name="T38" fmla="*/ 604 w 2821"/>
                <a:gd name="T39" fmla="*/ 1177 h 2435"/>
                <a:gd name="T40" fmla="*/ 639 w 2821"/>
                <a:gd name="T41" fmla="*/ 1225 h 2435"/>
                <a:gd name="T42" fmla="*/ 655 w 2821"/>
                <a:gd name="T43" fmla="*/ 1245 h 2435"/>
                <a:gd name="T44" fmla="*/ 699 w 2821"/>
                <a:gd name="T45" fmla="*/ 1300 h 2435"/>
                <a:gd name="T46" fmla="*/ 735 w 2821"/>
                <a:gd name="T47" fmla="*/ 1338 h 2435"/>
                <a:gd name="T48" fmla="*/ 777 w 2821"/>
                <a:gd name="T49" fmla="*/ 1379 h 2435"/>
                <a:gd name="T50" fmla="*/ 822 w 2821"/>
                <a:gd name="T51" fmla="*/ 1424 h 2435"/>
                <a:gd name="T52" fmla="*/ 861 w 2821"/>
                <a:gd name="T53" fmla="*/ 1469 h 2435"/>
                <a:gd name="T54" fmla="*/ 909 w 2821"/>
                <a:gd name="T55" fmla="*/ 1511 h 2435"/>
                <a:gd name="T56" fmla="*/ 999 w 2821"/>
                <a:gd name="T57" fmla="*/ 1595 h 2435"/>
                <a:gd name="T58" fmla="*/ 1047 w 2821"/>
                <a:gd name="T59" fmla="*/ 1640 h 2435"/>
                <a:gd name="T60" fmla="*/ 1091 w 2821"/>
                <a:gd name="T61" fmla="*/ 1675 h 2435"/>
                <a:gd name="T62" fmla="*/ 1167 w 2821"/>
                <a:gd name="T63" fmla="*/ 1736 h 2435"/>
                <a:gd name="T64" fmla="*/ 1216 w 2821"/>
                <a:gd name="T65" fmla="*/ 1778 h 2435"/>
                <a:gd name="T66" fmla="*/ 1265 w 2821"/>
                <a:gd name="T67" fmla="*/ 1815 h 2435"/>
                <a:gd name="T68" fmla="*/ 1316 w 2821"/>
                <a:gd name="T69" fmla="*/ 1849 h 2435"/>
                <a:gd name="T70" fmla="*/ 1363 w 2821"/>
                <a:gd name="T71" fmla="*/ 1885 h 2435"/>
                <a:gd name="T72" fmla="*/ 1384 w 2821"/>
                <a:gd name="T73" fmla="*/ 1900 h 2435"/>
                <a:gd name="T74" fmla="*/ 1434 w 2821"/>
                <a:gd name="T75" fmla="*/ 1931 h 2435"/>
                <a:gd name="T76" fmla="*/ 1490 w 2821"/>
                <a:gd name="T77" fmla="*/ 1961 h 2435"/>
                <a:gd name="T78" fmla="*/ 1596 w 2821"/>
                <a:gd name="T79" fmla="*/ 2023 h 2435"/>
                <a:gd name="T80" fmla="*/ 1681 w 2821"/>
                <a:gd name="T81" fmla="*/ 2070 h 2435"/>
                <a:gd name="T82" fmla="*/ 1737 w 2821"/>
                <a:gd name="T83" fmla="*/ 2101 h 2435"/>
                <a:gd name="T84" fmla="*/ 1789 w 2821"/>
                <a:gd name="T85" fmla="*/ 2129 h 2435"/>
                <a:gd name="T86" fmla="*/ 1812 w 2821"/>
                <a:gd name="T87" fmla="*/ 2140 h 2435"/>
                <a:gd name="T88" fmla="*/ 1866 w 2821"/>
                <a:gd name="T89" fmla="*/ 2164 h 2435"/>
                <a:gd name="T90" fmla="*/ 1926 w 2821"/>
                <a:gd name="T91" fmla="*/ 2186 h 2435"/>
                <a:gd name="T92" fmla="*/ 2040 w 2821"/>
                <a:gd name="T93" fmla="*/ 2232 h 2435"/>
                <a:gd name="T94" fmla="*/ 2131 w 2821"/>
                <a:gd name="T95" fmla="*/ 2266 h 2435"/>
                <a:gd name="T96" fmla="*/ 2191 w 2821"/>
                <a:gd name="T97" fmla="*/ 2288 h 2435"/>
                <a:gd name="T98" fmla="*/ 2246 w 2821"/>
                <a:gd name="T99" fmla="*/ 2309 h 2435"/>
                <a:gd name="T100" fmla="*/ 2270 w 2821"/>
                <a:gd name="T101" fmla="*/ 2317 h 2435"/>
                <a:gd name="T102" fmla="*/ 2327 w 2821"/>
                <a:gd name="T103" fmla="*/ 2332 h 2435"/>
                <a:gd name="T104" fmla="*/ 2390 w 2821"/>
                <a:gd name="T105" fmla="*/ 2345 h 2435"/>
                <a:gd name="T106" fmla="*/ 2509 w 2821"/>
                <a:gd name="T107" fmla="*/ 2374 h 2435"/>
                <a:gd name="T108" fmla="*/ 2570 w 2821"/>
                <a:gd name="T109" fmla="*/ 2389 h 2435"/>
                <a:gd name="T110" fmla="*/ 2629 w 2821"/>
                <a:gd name="T111" fmla="*/ 2399 h 2435"/>
                <a:gd name="T112" fmla="*/ 2725 w 2821"/>
                <a:gd name="T113" fmla="*/ 2415 h 2435"/>
                <a:gd name="T114" fmla="*/ 2788 w 2821"/>
                <a:gd name="T115" fmla="*/ 2427 h 2435"/>
                <a:gd name="T116" fmla="*/ 2818 w 2821"/>
                <a:gd name="T117" fmla="*/ 2435 h 2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1" h="2435">
                  <a:moveTo>
                    <a:pt x="5" y="2"/>
                  </a:moveTo>
                  <a:lnTo>
                    <a:pt x="16" y="36"/>
                  </a:lnTo>
                  <a:cubicBezTo>
                    <a:pt x="16" y="37"/>
                    <a:pt x="16" y="39"/>
                    <a:pt x="14" y="39"/>
                  </a:cubicBezTo>
                  <a:cubicBezTo>
                    <a:pt x="13" y="39"/>
                    <a:pt x="11" y="39"/>
                    <a:pt x="11" y="37"/>
                  </a:cubicBezTo>
                  <a:lnTo>
                    <a:pt x="0" y="3"/>
                  </a:lnTo>
                  <a:cubicBezTo>
                    <a:pt x="0" y="2"/>
                    <a:pt x="0" y="0"/>
                    <a:pt x="2" y="0"/>
                  </a:cubicBezTo>
                  <a:cubicBezTo>
                    <a:pt x="3" y="0"/>
                    <a:pt x="4" y="0"/>
                    <a:pt x="5" y="2"/>
                  </a:cubicBezTo>
                  <a:close/>
                  <a:moveTo>
                    <a:pt x="24" y="60"/>
                  </a:moveTo>
                  <a:lnTo>
                    <a:pt x="35" y="94"/>
                  </a:lnTo>
                  <a:cubicBezTo>
                    <a:pt x="35" y="96"/>
                    <a:pt x="34" y="97"/>
                    <a:pt x="33" y="98"/>
                  </a:cubicBezTo>
                  <a:cubicBezTo>
                    <a:pt x="32" y="98"/>
                    <a:pt x="30" y="97"/>
                    <a:pt x="30" y="96"/>
                  </a:cubicBezTo>
                  <a:lnTo>
                    <a:pt x="19" y="62"/>
                  </a:lnTo>
                  <a:cubicBezTo>
                    <a:pt x="18" y="60"/>
                    <a:pt x="19" y="59"/>
                    <a:pt x="20" y="59"/>
                  </a:cubicBezTo>
                  <a:cubicBezTo>
                    <a:pt x="22" y="58"/>
                    <a:pt x="23" y="59"/>
                    <a:pt x="24" y="60"/>
                  </a:cubicBezTo>
                  <a:close/>
                  <a:moveTo>
                    <a:pt x="42" y="119"/>
                  </a:moveTo>
                  <a:lnTo>
                    <a:pt x="53" y="153"/>
                  </a:lnTo>
                  <a:cubicBezTo>
                    <a:pt x="54" y="154"/>
                    <a:pt x="53" y="156"/>
                    <a:pt x="52" y="156"/>
                  </a:cubicBezTo>
                  <a:cubicBezTo>
                    <a:pt x="50" y="156"/>
                    <a:pt x="49" y="156"/>
                    <a:pt x="49" y="154"/>
                  </a:cubicBezTo>
                  <a:lnTo>
                    <a:pt x="38" y="120"/>
                  </a:lnTo>
                  <a:cubicBezTo>
                    <a:pt x="37" y="119"/>
                    <a:pt x="38" y="117"/>
                    <a:pt x="39" y="117"/>
                  </a:cubicBezTo>
                  <a:cubicBezTo>
                    <a:pt x="41" y="117"/>
                    <a:pt x="42" y="117"/>
                    <a:pt x="42" y="119"/>
                  </a:cubicBezTo>
                  <a:close/>
                  <a:moveTo>
                    <a:pt x="61" y="177"/>
                  </a:moveTo>
                  <a:lnTo>
                    <a:pt x="72" y="211"/>
                  </a:lnTo>
                  <a:cubicBezTo>
                    <a:pt x="73" y="213"/>
                    <a:pt x="72" y="214"/>
                    <a:pt x="71" y="215"/>
                  </a:cubicBezTo>
                  <a:cubicBezTo>
                    <a:pt x="69" y="215"/>
                    <a:pt x="68" y="214"/>
                    <a:pt x="67" y="213"/>
                  </a:cubicBezTo>
                  <a:lnTo>
                    <a:pt x="56" y="179"/>
                  </a:lnTo>
                  <a:cubicBezTo>
                    <a:pt x="56" y="177"/>
                    <a:pt x="57" y="176"/>
                    <a:pt x="58" y="176"/>
                  </a:cubicBezTo>
                  <a:cubicBezTo>
                    <a:pt x="59" y="175"/>
                    <a:pt x="61" y="176"/>
                    <a:pt x="61" y="177"/>
                  </a:cubicBezTo>
                  <a:close/>
                  <a:moveTo>
                    <a:pt x="80" y="236"/>
                  </a:moveTo>
                  <a:lnTo>
                    <a:pt x="82" y="242"/>
                  </a:lnTo>
                  <a:lnTo>
                    <a:pt x="93" y="269"/>
                  </a:lnTo>
                  <a:cubicBezTo>
                    <a:pt x="94" y="270"/>
                    <a:pt x="93" y="272"/>
                    <a:pt x="92" y="272"/>
                  </a:cubicBezTo>
                  <a:cubicBezTo>
                    <a:pt x="90" y="273"/>
                    <a:pt x="89" y="272"/>
                    <a:pt x="88" y="271"/>
                  </a:cubicBezTo>
                  <a:lnTo>
                    <a:pt x="77" y="243"/>
                  </a:lnTo>
                  <a:lnTo>
                    <a:pt x="75" y="237"/>
                  </a:lnTo>
                  <a:cubicBezTo>
                    <a:pt x="75" y="236"/>
                    <a:pt x="75" y="234"/>
                    <a:pt x="77" y="234"/>
                  </a:cubicBezTo>
                  <a:cubicBezTo>
                    <a:pt x="78" y="234"/>
                    <a:pt x="80" y="234"/>
                    <a:pt x="80" y="236"/>
                  </a:cubicBezTo>
                  <a:close/>
                  <a:moveTo>
                    <a:pt x="103" y="293"/>
                  </a:moveTo>
                  <a:lnTo>
                    <a:pt x="116" y="326"/>
                  </a:lnTo>
                  <a:cubicBezTo>
                    <a:pt x="117" y="327"/>
                    <a:pt x="116" y="329"/>
                    <a:pt x="115" y="329"/>
                  </a:cubicBezTo>
                  <a:cubicBezTo>
                    <a:pt x="113" y="330"/>
                    <a:pt x="112" y="329"/>
                    <a:pt x="111" y="328"/>
                  </a:cubicBezTo>
                  <a:lnTo>
                    <a:pt x="98" y="294"/>
                  </a:lnTo>
                  <a:cubicBezTo>
                    <a:pt x="97" y="293"/>
                    <a:pt x="98" y="292"/>
                    <a:pt x="99" y="291"/>
                  </a:cubicBezTo>
                  <a:cubicBezTo>
                    <a:pt x="101" y="291"/>
                    <a:pt x="102" y="291"/>
                    <a:pt x="103" y="293"/>
                  </a:cubicBezTo>
                  <a:close/>
                  <a:moveTo>
                    <a:pt x="126" y="349"/>
                  </a:moveTo>
                  <a:lnTo>
                    <a:pt x="139" y="383"/>
                  </a:lnTo>
                  <a:cubicBezTo>
                    <a:pt x="140" y="384"/>
                    <a:pt x="139" y="385"/>
                    <a:pt x="138" y="386"/>
                  </a:cubicBezTo>
                  <a:cubicBezTo>
                    <a:pt x="137" y="387"/>
                    <a:pt x="135" y="386"/>
                    <a:pt x="135" y="385"/>
                  </a:cubicBezTo>
                  <a:lnTo>
                    <a:pt x="121" y="351"/>
                  </a:lnTo>
                  <a:cubicBezTo>
                    <a:pt x="120" y="350"/>
                    <a:pt x="121" y="349"/>
                    <a:pt x="122" y="348"/>
                  </a:cubicBezTo>
                  <a:cubicBezTo>
                    <a:pt x="124" y="348"/>
                    <a:pt x="125" y="348"/>
                    <a:pt x="126" y="349"/>
                  </a:cubicBezTo>
                  <a:close/>
                  <a:moveTo>
                    <a:pt x="149" y="406"/>
                  </a:moveTo>
                  <a:lnTo>
                    <a:pt x="162" y="440"/>
                  </a:lnTo>
                  <a:cubicBezTo>
                    <a:pt x="163" y="441"/>
                    <a:pt x="162" y="442"/>
                    <a:pt x="161" y="443"/>
                  </a:cubicBezTo>
                  <a:cubicBezTo>
                    <a:pt x="160" y="443"/>
                    <a:pt x="158" y="443"/>
                    <a:pt x="158" y="441"/>
                  </a:cubicBezTo>
                  <a:lnTo>
                    <a:pt x="144" y="408"/>
                  </a:lnTo>
                  <a:cubicBezTo>
                    <a:pt x="144" y="407"/>
                    <a:pt x="144" y="405"/>
                    <a:pt x="146" y="405"/>
                  </a:cubicBezTo>
                  <a:cubicBezTo>
                    <a:pt x="147" y="404"/>
                    <a:pt x="148" y="405"/>
                    <a:pt x="149" y="406"/>
                  </a:cubicBezTo>
                  <a:close/>
                  <a:moveTo>
                    <a:pt x="172" y="463"/>
                  </a:moveTo>
                  <a:lnTo>
                    <a:pt x="176" y="473"/>
                  </a:lnTo>
                  <a:lnTo>
                    <a:pt x="187" y="496"/>
                  </a:lnTo>
                  <a:cubicBezTo>
                    <a:pt x="188" y="497"/>
                    <a:pt x="187" y="498"/>
                    <a:pt x="186" y="499"/>
                  </a:cubicBezTo>
                  <a:cubicBezTo>
                    <a:pt x="185" y="500"/>
                    <a:pt x="183" y="499"/>
                    <a:pt x="183" y="498"/>
                  </a:cubicBezTo>
                  <a:lnTo>
                    <a:pt x="171" y="474"/>
                  </a:lnTo>
                  <a:lnTo>
                    <a:pt x="167" y="465"/>
                  </a:lnTo>
                  <a:cubicBezTo>
                    <a:pt x="167" y="464"/>
                    <a:pt x="167" y="462"/>
                    <a:pt x="169" y="462"/>
                  </a:cubicBezTo>
                  <a:cubicBezTo>
                    <a:pt x="170" y="461"/>
                    <a:pt x="172" y="462"/>
                    <a:pt x="172" y="463"/>
                  </a:cubicBezTo>
                  <a:close/>
                  <a:moveTo>
                    <a:pt x="199" y="518"/>
                  </a:moveTo>
                  <a:lnTo>
                    <a:pt x="215" y="551"/>
                  </a:lnTo>
                  <a:cubicBezTo>
                    <a:pt x="215" y="552"/>
                    <a:pt x="215" y="553"/>
                    <a:pt x="213" y="554"/>
                  </a:cubicBezTo>
                  <a:cubicBezTo>
                    <a:pt x="212" y="555"/>
                    <a:pt x="211" y="554"/>
                    <a:pt x="210" y="553"/>
                  </a:cubicBezTo>
                  <a:lnTo>
                    <a:pt x="194" y="521"/>
                  </a:lnTo>
                  <a:cubicBezTo>
                    <a:pt x="193" y="519"/>
                    <a:pt x="194" y="518"/>
                    <a:pt x="195" y="517"/>
                  </a:cubicBezTo>
                  <a:cubicBezTo>
                    <a:pt x="196" y="517"/>
                    <a:pt x="198" y="517"/>
                    <a:pt x="199" y="518"/>
                  </a:cubicBezTo>
                  <a:close/>
                  <a:moveTo>
                    <a:pt x="226" y="573"/>
                  </a:moveTo>
                  <a:lnTo>
                    <a:pt x="242" y="606"/>
                  </a:lnTo>
                  <a:cubicBezTo>
                    <a:pt x="242" y="607"/>
                    <a:pt x="242" y="608"/>
                    <a:pt x="241" y="609"/>
                  </a:cubicBezTo>
                  <a:cubicBezTo>
                    <a:pt x="239" y="610"/>
                    <a:pt x="238" y="609"/>
                    <a:pt x="237" y="608"/>
                  </a:cubicBezTo>
                  <a:lnTo>
                    <a:pt x="221" y="576"/>
                  </a:lnTo>
                  <a:cubicBezTo>
                    <a:pt x="221" y="574"/>
                    <a:pt x="221" y="573"/>
                    <a:pt x="222" y="572"/>
                  </a:cubicBezTo>
                  <a:cubicBezTo>
                    <a:pt x="224" y="572"/>
                    <a:pt x="225" y="572"/>
                    <a:pt x="226" y="573"/>
                  </a:cubicBezTo>
                  <a:close/>
                  <a:moveTo>
                    <a:pt x="253" y="629"/>
                  </a:moveTo>
                  <a:lnTo>
                    <a:pt x="269" y="661"/>
                  </a:lnTo>
                  <a:cubicBezTo>
                    <a:pt x="270" y="662"/>
                    <a:pt x="269" y="663"/>
                    <a:pt x="268" y="664"/>
                  </a:cubicBezTo>
                  <a:cubicBezTo>
                    <a:pt x="267" y="665"/>
                    <a:pt x="265" y="664"/>
                    <a:pt x="264" y="663"/>
                  </a:cubicBezTo>
                  <a:lnTo>
                    <a:pt x="249" y="631"/>
                  </a:lnTo>
                  <a:cubicBezTo>
                    <a:pt x="248" y="630"/>
                    <a:pt x="248" y="628"/>
                    <a:pt x="250" y="627"/>
                  </a:cubicBezTo>
                  <a:cubicBezTo>
                    <a:pt x="251" y="627"/>
                    <a:pt x="253" y="627"/>
                    <a:pt x="253" y="629"/>
                  </a:cubicBezTo>
                  <a:close/>
                  <a:moveTo>
                    <a:pt x="280" y="684"/>
                  </a:moveTo>
                  <a:lnTo>
                    <a:pt x="286" y="694"/>
                  </a:lnTo>
                  <a:lnTo>
                    <a:pt x="298" y="715"/>
                  </a:lnTo>
                  <a:cubicBezTo>
                    <a:pt x="299" y="716"/>
                    <a:pt x="298" y="717"/>
                    <a:pt x="297" y="718"/>
                  </a:cubicBezTo>
                  <a:cubicBezTo>
                    <a:pt x="296" y="719"/>
                    <a:pt x="294" y="719"/>
                    <a:pt x="293" y="717"/>
                  </a:cubicBezTo>
                  <a:lnTo>
                    <a:pt x="281" y="697"/>
                  </a:lnTo>
                  <a:lnTo>
                    <a:pt x="276" y="686"/>
                  </a:lnTo>
                  <a:cubicBezTo>
                    <a:pt x="275" y="685"/>
                    <a:pt x="276" y="683"/>
                    <a:pt x="277" y="682"/>
                  </a:cubicBezTo>
                  <a:cubicBezTo>
                    <a:pt x="278" y="682"/>
                    <a:pt x="280" y="682"/>
                    <a:pt x="280" y="684"/>
                  </a:cubicBezTo>
                  <a:close/>
                  <a:moveTo>
                    <a:pt x="311" y="737"/>
                  </a:moveTo>
                  <a:lnTo>
                    <a:pt x="329" y="768"/>
                  </a:lnTo>
                  <a:cubicBezTo>
                    <a:pt x="330" y="769"/>
                    <a:pt x="329" y="770"/>
                    <a:pt x="328" y="771"/>
                  </a:cubicBezTo>
                  <a:cubicBezTo>
                    <a:pt x="327" y="772"/>
                    <a:pt x="325" y="771"/>
                    <a:pt x="325" y="770"/>
                  </a:cubicBezTo>
                  <a:lnTo>
                    <a:pt x="306" y="739"/>
                  </a:lnTo>
                  <a:cubicBezTo>
                    <a:pt x="306" y="738"/>
                    <a:pt x="306" y="737"/>
                    <a:pt x="307" y="736"/>
                  </a:cubicBezTo>
                  <a:cubicBezTo>
                    <a:pt x="308" y="735"/>
                    <a:pt x="310" y="736"/>
                    <a:pt x="311" y="737"/>
                  </a:cubicBezTo>
                  <a:close/>
                  <a:moveTo>
                    <a:pt x="342" y="790"/>
                  </a:moveTo>
                  <a:lnTo>
                    <a:pt x="360" y="821"/>
                  </a:lnTo>
                  <a:cubicBezTo>
                    <a:pt x="361" y="822"/>
                    <a:pt x="361" y="823"/>
                    <a:pt x="359" y="824"/>
                  </a:cubicBezTo>
                  <a:cubicBezTo>
                    <a:pt x="358" y="825"/>
                    <a:pt x="356" y="824"/>
                    <a:pt x="356" y="823"/>
                  </a:cubicBezTo>
                  <a:lnTo>
                    <a:pt x="338" y="792"/>
                  </a:lnTo>
                  <a:cubicBezTo>
                    <a:pt x="337" y="791"/>
                    <a:pt x="337" y="789"/>
                    <a:pt x="338" y="789"/>
                  </a:cubicBezTo>
                  <a:cubicBezTo>
                    <a:pt x="340" y="788"/>
                    <a:pt x="341" y="788"/>
                    <a:pt x="342" y="790"/>
                  </a:cubicBezTo>
                  <a:close/>
                  <a:moveTo>
                    <a:pt x="373" y="843"/>
                  </a:moveTo>
                  <a:lnTo>
                    <a:pt x="391" y="873"/>
                  </a:lnTo>
                  <a:cubicBezTo>
                    <a:pt x="392" y="875"/>
                    <a:pt x="392" y="876"/>
                    <a:pt x="390" y="877"/>
                  </a:cubicBezTo>
                  <a:cubicBezTo>
                    <a:pt x="389" y="878"/>
                    <a:pt x="388" y="877"/>
                    <a:pt x="387" y="876"/>
                  </a:cubicBezTo>
                  <a:lnTo>
                    <a:pt x="369" y="845"/>
                  </a:lnTo>
                  <a:cubicBezTo>
                    <a:pt x="368" y="844"/>
                    <a:pt x="368" y="842"/>
                    <a:pt x="370" y="842"/>
                  </a:cubicBezTo>
                  <a:cubicBezTo>
                    <a:pt x="371" y="841"/>
                    <a:pt x="372" y="841"/>
                    <a:pt x="373" y="843"/>
                  </a:cubicBezTo>
                  <a:close/>
                  <a:moveTo>
                    <a:pt x="404" y="896"/>
                  </a:moveTo>
                  <a:lnTo>
                    <a:pt x="411" y="906"/>
                  </a:lnTo>
                  <a:lnTo>
                    <a:pt x="424" y="925"/>
                  </a:lnTo>
                  <a:cubicBezTo>
                    <a:pt x="425" y="926"/>
                    <a:pt x="425" y="928"/>
                    <a:pt x="423" y="929"/>
                  </a:cubicBezTo>
                  <a:cubicBezTo>
                    <a:pt x="422" y="930"/>
                    <a:pt x="421" y="929"/>
                    <a:pt x="420" y="928"/>
                  </a:cubicBezTo>
                  <a:lnTo>
                    <a:pt x="406" y="909"/>
                  </a:lnTo>
                  <a:lnTo>
                    <a:pt x="400" y="898"/>
                  </a:lnTo>
                  <a:cubicBezTo>
                    <a:pt x="399" y="897"/>
                    <a:pt x="400" y="895"/>
                    <a:pt x="401" y="895"/>
                  </a:cubicBezTo>
                  <a:cubicBezTo>
                    <a:pt x="402" y="894"/>
                    <a:pt x="404" y="894"/>
                    <a:pt x="404" y="896"/>
                  </a:cubicBezTo>
                  <a:close/>
                  <a:moveTo>
                    <a:pt x="439" y="946"/>
                  </a:moveTo>
                  <a:lnTo>
                    <a:pt x="459" y="976"/>
                  </a:lnTo>
                  <a:cubicBezTo>
                    <a:pt x="460" y="977"/>
                    <a:pt x="460" y="978"/>
                    <a:pt x="458" y="979"/>
                  </a:cubicBezTo>
                  <a:cubicBezTo>
                    <a:pt x="457" y="980"/>
                    <a:pt x="456" y="980"/>
                    <a:pt x="455" y="979"/>
                  </a:cubicBezTo>
                  <a:lnTo>
                    <a:pt x="434" y="949"/>
                  </a:lnTo>
                  <a:cubicBezTo>
                    <a:pt x="434" y="948"/>
                    <a:pt x="434" y="946"/>
                    <a:pt x="435" y="946"/>
                  </a:cubicBezTo>
                  <a:cubicBezTo>
                    <a:pt x="436" y="945"/>
                    <a:pt x="438" y="945"/>
                    <a:pt x="439" y="946"/>
                  </a:cubicBezTo>
                  <a:close/>
                  <a:moveTo>
                    <a:pt x="474" y="997"/>
                  </a:moveTo>
                  <a:lnTo>
                    <a:pt x="494" y="1026"/>
                  </a:lnTo>
                  <a:cubicBezTo>
                    <a:pt x="495" y="1027"/>
                    <a:pt x="495" y="1029"/>
                    <a:pt x="494" y="1030"/>
                  </a:cubicBezTo>
                  <a:cubicBezTo>
                    <a:pt x="492" y="1030"/>
                    <a:pt x="491" y="1030"/>
                    <a:pt x="490" y="1029"/>
                  </a:cubicBezTo>
                  <a:lnTo>
                    <a:pt x="470" y="1000"/>
                  </a:lnTo>
                  <a:cubicBezTo>
                    <a:pt x="469" y="998"/>
                    <a:pt x="469" y="997"/>
                    <a:pt x="470" y="996"/>
                  </a:cubicBezTo>
                  <a:cubicBezTo>
                    <a:pt x="471" y="995"/>
                    <a:pt x="473" y="996"/>
                    <a:pt x="474" y="997"/>
                  </a:cubicBezTo>
                  <a:close/>
                  <a:moveTo>
                    <a:pt x="509" y="1047"/>
                  </a:moveTo>
                  <a:lnTo>
                    <a:pt x="529" y="1076"/>
                  </a:lnTo>
                  <a:cubicBezTo>
                    <a:pt x="530" y="1078"/>
                    <a:pt x="530" y="1079"/>
                    <a:pt x="529" y="1080"/>
                  </a:cubicBezTo>
                  <a:cubicBezTo>
                    <a:pt x="528" y="1081"/>
                    <a:pt x="526" y="1081"/>
                    <a:pt x="525" y="1079"/>
                  </a:cubicBezTo>
                  <a:lnTo>
                    <a:pt x="505" y="1050"/>
                  </a:lnTo>
                  <a:cubicBezTo>
                    <a:pt x="504" y="1049"/>
                    <a:pt x="504" y="1047"/>
                    <a:pt x="505" y="1046"/>
                  </a:cubicBezTo>
                  <a:cubicBezTo>
                    <a:pt x="506" y="1046"/>
                    <a:pt x="508" y="1046"/>
                    <a:pt x="509" y="1047"/>
                  </a:cubicBezTo>
                  <a:close/>
                  <a:moveTo>
                    <a:pt x="544" y="1098"/>
                  </a:moveTo>
                  <a:lnTo>
                    <a:pt x="551" y="1107"/>
                  </a:lnTo>
                  <a:lnTo>
                    <a:pt x="566" y="1126"/>
                  </a:lnTo>
                  <a:cubicBezTo>
                    <a:pt x="567" y="1127"/>
                    <a:pt x="566" y="1128"/>
                    <a:pt x="565" y="1129"/>
                  </a:cubicBezTo>
                  <a:cubicBezTo>
                    <a:pt x="564" y="1130"/>
                    <a:pt x="563" y="1130"/>
                    <a:pt x="562" y="1129"/>
                  </a:cubicBezTo>
                  <a:lnTo>
                    <a:pt x="546" y="1110"/>
                  </a:lnTo>
                  <a:lnTo>
                    <a:pt x="540" y="1100"/>
                  </a:lnTo>
                  <a:cubicBezTo>
                    <a:pt x="539" y="1099"/>
                    <a:pt x="539" y="1098"/>
                    <a:pt x="540" y="1097"/>
                  </a:cubicBezTo>
                  <a:cubicBezTo>
                    <a:pt x="542" y="1096"/>
                    <a:pt x="543" y="1096"/>
                    <a:pt x="544" y="1098"/>
                  </a:cubicBezTo>
                  <a:close/>
                  <a:moveTo>
                    <a:pt x="582" y="1146"/>
                  </a:moveTo>
                  <a:lnTo>
                    <a:pt x="604" y="1174"/>
                  </a:lnTo>
                  <a:cubicBezTo>
                    <a:pt x="605" y="1175"/>
                    <a:pt x="605" y="1176"/>
                    <a:pt x="604" y="1177"/>
                  </a:cubicBezTo>
                  <a:cubicBezTo>
                    <a:pt x="603" y="1178"/>
                    <a:pt x="601" y="1178"/>
                    <a:pt x="600" y="1177"/>
                  </a:cubicBezTo>
                  <a:lnTo>
                    <a:pt x="578" y="1149"/>
                  </a:lnTo>
                  <a:cubicBezTo>
                    <a:pt x="577" y="1148"/>
                    <a:pt x="577" y="1146"/>
                    <a:pt x="578" y="1145"/>
                  </a:cubicBezTo>
                  <a:cubicBezTo>
                    <a:pt x="579" y="1144"/>
                    <a:pt x="581" y="1145"/>
                    <a:pt x="582" y="1146"/>
                  </a:cubicBezTo>
                  <a:close/>
                  <a:moveTo>
                    <a:pt x="620" y="1194"/>
                  </a:moveTo>
                  <a:lnTo>
                    <a:pt x="643" y="1221"/>
                  </a:lnTo>
                  <a:cubicBezTo>
                    <a:pt x="644" y="1223"/>
                    <a:pt x="643" y="1224"/>
                    <a:pt x="642" y="1225"/>
                  </a:cubicBezTo>
                  <a:cubicBezTo>
                    <a:pt x="641" y="1226"/>
                    <a:pt x="640" y="1226"/>
                    <a:pt x="639" y="1225"/>
                  </a:cubicBezTo>
                  <a:lnTo>
                    <a:pt x="616" y="1197"/>
                  </a:lnTo>
                  <a:cubicBezTo>
                    <a:pt x="615" y="1196"/>
                    <a:pt x="616" y="1194"/>
                    <a:pt x="617" y="1193"/>
                  </a:cubicBezTo>
                  <a:cubicBezTo>
                    <a:pt x="618" y="1192"/>
                    <a:pt x="619" y="1192"/>
                    <a:pt x="620" y="1194"/>
                  </a:cubicBezTo>
                  <a:close/>
                  <a:moveTo>
                    <a:pt x="659" y="1241"/>
                  </a:moveTo>
                  <a:lnTo>
                    <a:pt x="681" y="1269"/>
                  </a:lnTo>
                  <a:cubicBezTo>
                    <a:pt x="682" y="1270"/>
                    <a:pt x="682" y="1272"/>
                    <a:pt x="681" y="1273"/>
                  </a:cubicBezTo>
                  <a:cubicBezTo>
                    <a:pt x="680" y="1274"/>
                    <a:pt x="678" y="1274"/>
                    <a:pt x="677" y="1273"/>
                  </a:cubicBezTo>
                  <a:lnTo>
                    <a:pt x="655" y="1245"/>
                  </a:lnTo>
                  <a:cubicBezTo>
                    <a:pt x="654" y="1244"/>
                    <a:pt x="654" y="1242"/>
                    <a:pt x="655" y="1241"/>
                  </a:cubicBezTo>
                  <a:cubicBezTo>
                    <a:pt x="656" y="1240"/>
                    <a:pt x="658" y="1240"/>
                    <a:pt x="659" y="1241"/>
                  </a:cubicBezTo>
                  <a:close/>
                  <a:moveTo>
                    <a:pt x="697" y="1289"/>
                  </a:moveTo>
                  <a:lnTo>
                    <a:pt x="703" y="1297"/>
                  </a:lnTo>
                  <a:lnTo>
                    <a:pt x="721" y="1316"/>
                  </a:lnTo>
                  <a:cubicBezTo>
                    <a:pt x="722" y="1317"/>
                    <a:pt x="722" y="1318"/>
                    <a:pt x="721" y="1319"/>
                  </a:cubicBezTo>
                  <a:cubicBezTo>
                    <a:pt x="720" y="1320"/>
                    <a:pt x="718" y="1320"/>
                    <a:pt x="717" y="1319"/>
                  </a:cubicBezTo>
                  <a:lnTo>
                    <a:pt x="699" y="1300"/>
                  </a:lnTo>
                  <a:lnTo>
                    <a:pt x="693" y="1292"/>
                  </a:lnTo>
                  <a:cubicBezTo>
                    <a:pt x="692" y="1291"/>
                    <a:pt x="693" y="1290"/>
                    <a:pt x="694" y="1289"/>
                  </a:cubicBezTo>
                  <a:cubicBezTo>
                    <a:pt x="695" y="1288"/>
                    <a:pt x="696" y="1288"/>
                    <a:pt x="697" y="1289"/>
                  </a:cubicBezTo>
                  <a:close/>
                  <a:moveTo>
                    <a:pt x="739" y="1334"/>
                  </a:moveTo>
                  <a:lnTo>
                    <a:pt x="763" y="1361"/>
                  </a:lnTo>
                  <a:cubicBezTo>
                    <a:pt x="764" y="1362"/>
                    <a:pt x="764" y="1363"/>
                    <a:pt x="763" y="1364"/>
                  </a:cubicBezTo>
                  <a:cubicBezTo>
                    <a:pt x="762" y="1365"/>
                    <a:pt x="760" y="1365"/>
                    <a:pt x="759" y="1364"/>
                  </a:cubicBezTo>
                  <a:lnTo>
                    <a:pt x="735" y="1338"/>
                  </a:lnTo>
                  <a:cubicBezTo>
                    <a:pt x="734" y="1337"/>
                    <a:pt x="734" y="1335"/>
                    <a:pt x="735" y="1334"/>
                  </a:cubicBezTo>
                  <a:cubicBezTo>
                    <a:pt x="736" y="1333"/>
                    <a:pt x="738" y="1333"/>
                    <a:pt x="739" y="1334"/>
                  </a:cubicBezTo>
                  <a:close/>
                  <a:moveTo>
                    <a:pt x="780" y="1379"/>
                  </a:moveTo>
                  <a:lnTo>
                    <a:pt x="805" y="1406"/>
                  </a:lnTo>
                  <a:cubicBezTo>
                    <a:pt x="806" y="1407"/>
                    <a:pt x="806" y="1408"/>
                    <a:pt x="805" y="1409"/>
                  </a:cubicBezTo>
                  <a:cubicBezTo>
                    <a:pt x="804" y="1410"/>
                    <a:pt x="802" y="1410"/>
                    <a:pt x="801" y="1409"/>
                  </a:cubicBezTo>
                  <a:lnTo>
                    <a:pt x="777" y="1383"/>
                  </a:lnTo>
                  <a:cubicBezTo>
                    <a:pt x="776" y="1382"/>
                    <a:pt x="776" y="1380"/>
                    <a:pt x="777" y="1379"/>
                  </a:cubicBezTo>
                  <a:cubicBezTo>
                    <a:pt x="778" y="1378"/>
                    <a:pt x="779" y="1378"/>
                    <a:pt x="780" y="1379"/>
                  </a:cubicBezTo>
                  <a:close/>
                  <a:moveTo>
                    <a:pt x="822" y="1424"/>
                  </a:moveTo>
                  <a:lnTo>
                    <a:pt x="847" y="1451"/>
                  </a:lnTo>
                  <a:cubicBezTo>
                    <a:pt x="848" y="1452"/>
                    <a:pt x="848" y="1453"/>
                    <a:pt x="847" y="1454"/>
                  </a:cubicBezTo>
                  <a:cubicBezTo>
                    <a:pt x="846" y="1455"/>
                    <a:pt x="844" y="1455"/>
                    <a:pt x="843" y="1454"/>
                  </a:cubicBezTo>
                  <a:lnTo>
                    <a:pt x="819" y="1428"/>
                  </a:lnTo>
                  <a:cubicBezTo>
                    <a:pt x="818" y="1427"/>
                    <a:pt x="818" y="1425"/>
                    <a:pt x="819" y="1424"/>
                  </a:cubicBezTo>
                  <a:cubicBezTo>
                    <a:pt x="820" y="1423"/>
                    <a:pt x="821" y="1423"/>
                    <a:pt x="822" y="1424"/>
                  </a:cubicBezTo>
                  <a:close/>
                  <a:moveTo>
                    <a:pt x="864" y="1469"/>
                  </a:moveTo>
                  <a:lnTo>
                    <a:pt x="869" y="1475"/>
                  </a:lnTo>
                  <a:lnTo>
                    <a:pt x="890" y="1494"/>
                  </a:lnTo>
                  <a:cubicBezTo>
                    <a:pt x="891" y="1495"/>
                    <a:pt x="891" y="1496"/>
                    <a:pt x="890" y="1498"/>
                  </a:cubicBezTo>
                  <a:cubicBezTo>
                    <a:pt x="889" y="1499"/>
                    <a:pt x="888" y="1499"/>
                    <a:pt x="887" y="1498"/>
                  </a:cubicBezTo>
                  <a:lnTo>
                    <a:pt x="866" y="1478"/>
                  </a:lnTo>
                  <a:lnTo>
                    <a:pt x="861" y="1473"/>
                  </a:lnTo>
                  <a:cubicBezTo>
                    <a:pt x="860" y="1472"/>
                    <a:pt x="860" y="1470"/>
                    <a:pt x="861" y="1469"/>
                  </a:cubicBezTo>
                  <a:cubicBezTo>
                    <a:pt x="862" y="1468"/>
                    <a:pt x="863" y="1468"/>
                    <a:pt x="864" y="1469"/>
                  </a:cubicBezTo>
                  <a:close/>
                  <a:moveTo>
                    <a:pt x="909" y="1511"/>
                  </a:moveTo>
                  <a:lnTo>
                    <a:pt x="935" y="1536"/>
                  </a:lnTo>
                  <a:cubicBezTo>
                    <a:pt x="936" y="1537"/>
                    <a:pt x="936" y="1538"/>
                    <a:pt x="935" y="1539"/>
                  </a:cubicBezTo>
                  <a:cubicBezTo>
                    <a:pt x="934" y="1540"/>
                    <a:pt x="933" y="1540"/>
                    <a:pt x="932" y="1539"/>
                  </a:cubicBezTo>
                  <a:lnTo>
                    <a:pt x="905" y="1515"/>
                  </a:lnTo>
                  <a:cubicBezTo>
                    <a:pt x="904" y="1514"/>
                    <a:pt x="904" y="1512"/>
                    <a:pt x="905" y="1511"/>
                  </a:cubicBezTo>
                  <a:cubicBezTo>
                    <a:pt x="906" y="1510"/>
                    <a:pt x="908" y="1510"/>
                    <a:pt x="909" y="1511"/>
                  </a:cubicBezTo>
                  <a:close/>
                  <a:moveTo>
                    <a:pt x="954" y="1553"/>
                  </a:moveTo>
                  <a:lnTo>
                    <a:pt x="980" y="1577"/>
                  </a:lnTo>
                  <a:cubicBezTo>
                    <a:pt x="981" y="1578"/>
                    <a:pt x="981" y="1580"/>
                    <a:pt x="980" y="1581"/>
                  </a:cubicBezTo>
                  <a:cubicBezTo>
                    <a:pt x="979" y="1582"/>
                    <a:pt x="978" y="1582"/>
                    <a:pt x="977" y="1581"/>
                  </a:cubicBezTo>
                  <a:lnTo>
                    <a:pt x="950" y="1557"/>
                  </a:lnTo>
                  <a:cubicBezTo>
                    <a:pt x="949" y="1556"/>
                    <a:pt x="949" y="1554"/>
                    <a:pt x="950" y="1553"/>
                  </a:cubicBezTo>
                  <a:cubicBezTo>
                    <a:pt x="951" y="1552"/>
                    <a:pt x="953" y="1552"/>
                    <a:pt x="954" y="1553"/>
                  </a:cubicBezTo>
                  <a:close/>
                  <a:moveTo>
                    <a:pt x="999" y="1595"/>
                  </a:moveTo>
                  <a:lnTo>
                    <a:pt x="1025" y="1619"/>
                  </a:lnTo>
                  <a:cubicBezTo>
                    <a:pt x="1026" y="1620"/>
                    <a:pt x="1026" y="1622"/>
                    <a:pt x="1025" y="1623"/>
                  </a:cubicBezTo>
                  <a:cubicBezTo>
                    <a:pt x="1024" y="1624"/>
                    <a:pt x="1023" y="1624"/>
                    <a:pt x="1022" y="1623"/>
                  </a:cubicBezTo>
                  <a:lnTo>
                    <a:pt x="995" y="1599"/>
                  </a:lnTo>
                  <a:cubicBezTo>
                    <a:pt x="994" y="1598"/>
                    <a:pt x="994" y="1596"/>
                    <a:pt x="995" y="1595"/>
                  </a:cubicBezTo>
                  <a:cubicBezTo>
                    <a:pt x="996" y="1594"/>
                    <a:pt x="998" y="1594"/>
                    <a:pt x="999" y="1595"/>
                  </a:cubicBezTo>
                  <a:close/>
                  <a:moveTo>
                    <a:pt x="1044" y="1637"/>
                  </a:moveTo>
                  <a:lnTo>
                    <a:pt x="1047" y="1640"/>
                  </a:lnTo>
                  <a:lnTo>
                    <a:pt x="1072" y="1659"/>
                  </a:lnTo>
                  <a:cubicBezTo>
                    <a:pt x="1073" y="1660"/>
                    <a:pt x="1073" y="1662"/>
                    <a:pt x="1072" y="1663"/>
                  </a:cubicBezTo>
                  <a:cubicBezTo>
                    <a:pt x="1071" y="1664"/>
                    <a:pt x="1069" y="1664"/>
                    <a:pt x="1068" y="1663"/>
                  </a:cubicBezTo>
                  <a:lnTo>
                    <a:pt x="1044" y="1643"/>
                  </a:lnTo>
                  <a:lnTo>
                    <a:pt x="1040" y="1640"/>
                  </a:lnTo>
                  <a:cubicBezTo>
                    <a:pt x="1039" y="1639"/>
                    <a:pt x="1039" y="1638"/>
                    <a:pt x="1040" y="1637"/>
                  </a:cubicBezTo>
                  <a:cubicBezTo>
                    <a:pt x="1041" y="1636"/>
                    <a:pt x="1043" y="1636"/>
                    <a:pt x="1044" y="1637"/>
                  </a:cubicBezTo>
                  <a:close/>
                  <a:moveTo>
                    <a:pt x="1091" y="1675"/>
                  </a:moveTo>
                  <a:lnTo>
                    <a:pt x="1119" y="1698"/>
                  </a:lnTo>
                  <a:cubicBezTo>
                    <a:pt x="1121" y="1699"/>
                    <a:pt x="1121" y="1700"/>
                    <a:pt x="1120" y="1701"/>
                  </a:cubicBezTo>
                  <a:cubicBezTo>
                    <a:pt x="1119" y="1702"/>
                    <a:pt x="1117" y="1703"/>
                    <a:pt x="1116" y="1702"/>
                  </a:cubicBezTo>
                  <a:lnTo>
                    <a:pt x="1088" y="1679"/>
                  </a:lnTo>
                  <a:cubicBezTo>
                    <a:pt x="1087" y="1678"/>
                    <a:pt x="1087" y="1677"/>
                    <a:pt x="1088" y="1676"/>
                  </a:cubicBezTo>
                  <a:cubicBezTo>
                    <a:pt x="1089" y="1674"/>
                    <a:pt x="1090" y="1674"/>
                    <a:pt x="1091" y="1675"/>
                  </a:cubicBezTo>
                  <a:close/>
                  <a:moveTo>
                    <a:pt x="1139" y="1714"/>
                  </a:moveTo>
                  <a:lnTo>
                    <a:pt x="1167" y="1736"/>
                  </a:lnTo>
                  <a:cubicBezTo>
                    <a:pt x="1168" y="1737"/>
                    <a:pt x="1169" y="1739"/>
                    <a:pt x="1168" y="1740"/>
                  </a:cubicBezTo>
                  <a:cubicBezTo>
                    <a:pt x="1167" y="1741"/>
                    <a:pt x="1165" y="1741"/>
                    <a:pt x="1164" y="1740"/>
                  </a:cubicBezTo>
                  <a:lnTo>
                    <a:pt x="1136" y="1718"/>
                  </a:lnTo>
                  <a:cubicBezTo>
                    <a:pt x="1135" y="1717"/>
                    <a:pt x="1135" y="1715"/>
                    <a:pt x="1136" y="1714"/>
                  </a:cubicBezTo>
                  <a:cubicBezTo>
                    <a:pt x="1137" y="1713"/>
                    <a:pt x="1138" y="1713"/>
                    <a:pt x="1139" y="1714"/>
                  </a:cubicBezTo>
                  <a:close/>
                  <a:moveTo>
                    <a:pt x="1187" y="1752"/>
                  </a:moveTo>
                  <a:lnTo>
                    <a:pt x="1215" y="1775"/>
                  </a:lnTo>
                  <a:cubicBezTo>
                    <a:pt x="1216" y="1776"/>
                    <a:pt x="1216" y="1777"/>
                    <a:pt x="1216" y="1778"/>
                  </a:cubicBezTo>
                  <a:cubicBezTo>
                    <a:pt x="1215" y="1779"/>
                    <a:pt x="1213" y="1780"/>
                    <a:pt x="1212" y="1779"/>
                  </a:cubicBezTo>
                  <a:lnTo>
                    <a:pt x="1184" y="1756"/>
                  </a:lnTo>
                  <a:cubicBezTo>
                    <a:pt x="1183" y="1755"/>
                    <a:pt x="1183" y="1754"/>
                    <a:pt x="1184" y="1753"/>
                  </a:cubicBezTo>
                  <a:cubicBezTo>
                    <a:pt x="1185" y="1751"/>
                    <a:pt x="1186" y="1751"/>
                    <a:pt x="1187" y="1752"/>
                  </a:cubicBezTo>
                  <a:close/>
                  <a:moveTo>
                    <a:pt x="1235" y="1791"/>
                  </a:moveTo>
                  <a:lnTo>
                    <a:pt x="1236" y="1791"/>
                  </a:lnTo>
                  <a:lnTo>
                    <a:pt x="1264" y="1811"/>
                  </a:lnTo>
                  <a:cubicBezTo>
                    <a:pt x="1266" y="1812"/>
                    <a:pt x="1266" y="1813"/>
                    <a:pt x="1265" y="1815"/>
                  </a:cubicBezTo>
                  <a:cubicBezTo>
                    <a:pt x="1264" y="1816"/>
                    <a:pt x="1263" y="1816"/>
                    <a:pt x="1262" y="1815"/>
                  </a:cubicBezTo>
                  <a:lnTo>
                    <a:pt x="1233" y="1795"/>
                  </a:lnTo>
                  <a:lnTo>
                    <a:pt x="1232" y="1795"/>
                  </a:lnTo>
                  <a:cubicBezTo>
                    <a:pt x="1231" y="1794"/>
                    <a:pt x="1231" y="1792"/>
                    <a:pt x="1232" y="1791"/>
                  </a:cubicBezTo>
                  <a:cubicBezTo>
                    <a:pt x="1232" y="1790"/>
                    <a:pt x="1234" y="1790"/>
                    <a:pt x="1235" y="1791"/>
                  </a:cubicBezTo>
                  <a:close/>
                  <a:moveTo>
                    <a:pt x="1285" y="1826"/>
                  </a:moveTo>
                  <a:lnTo>
                    <a:pt x="1315" y="1846"/>
                  </a:lnTo>
                  <a:cubicBezTo>
                    <a:pt x="1316" y="1847"/>
                    <a:pt x="1316" y="1848"/>
                    <a:pt x="1316" y="1849"/>
                  </a:cubicBezTo>
                  <a:cubicBezTo>
                    <a:pt x="1315" y="1851"/>
                    <a:pt x="1313" y="1851"/>
                    <a:pt x="1312" y="1850"/>
                  </a:cubicBezTo>
                  <a:lnTo>
                    <a:pt x="1283" y="1830"/>
                  </a:lnTo>
                  <a:cubicBezTo>
                    <a:pt x="1281" y="1829"/>
                    <a:pt x="1281" y="1827"/>
                    <a:pt x="1282" y="1826"/>
                  </a:cubicBezTo>
                  <a:cubicBezTo>
                    <a:pt x="1283" y="1825"/>
                    <a:pt x="1284" y="1825"/>
                    <a:pt x="1285" y="1826"/>
                  </a:cubicBezTo>
                  <a:close/>
                  <a:moveTo>
                    <a:pt x="1336" y="1860"/>
                  </a:moveTo>
                  <a:lnTo>
                    <a:pt x="1366" y="1881"/>
                  </a:lnTo>
                  <a:cubicBezTo>
                    <a:pt x="1367" y="1882"/>
                    <a:pt x="1367" y="1883"/>
                    <a:pt x="1366" y="1884"/>
                  </a:cubicBezTo>
                  <a:cubicBezTo>
                    <a:pt x="1365" y="1886"/>
                    <a:pt x="1364" y="1886"/>
                    <a:pt x="1363" y="1885"/>
                  </a:cubicBezTo>
                  <a:lnTo>
                    <a:pt x="1333" y="1865"/>
                  </a:lnTo>
                  <a:cubicBezTo>
                    <a:pt x="1332" y="1864"/>
                    <a:pt x="1332" y="1862"/>
                    <a:pt x="1332" y="1861"/>
                  </a:cubicBezTo>
                  <a:cubicBezTo>
                    <a:pt x="1333" y="1860"/>
                    <a:pt x="1335" y="1860"/>
                    <a:pt x="1336" y="1860"/>
                  </a:cubicBezTo>
                  <a:close/>
                  <a:moveTo>
                    <a:pt x="1387" y="1895"/>
                  </a:moveTo>
                  <a:lnTo>
                    <a:pt x="1416" y="1916"/>
                  </a:lnTo>
                  <a:cubicBezTo>
                    <a:pt x="1417" y="1916"/>
                    <a:pt x="1418" y="1918"/>
                    <a:pt x="1417" y="1919"/>
                  </a:cubicBezTo>
                  <a:cubicBezTo>
                    <a:pt x="1416" y="1920"/>
                    <a:pt x="1414" y="1921"/>
                    <a:pt x="1413" y="1920"/>
                  </a:cubicBezTo>
                  <a:lnTo>
                    <a:pt x="1384" y="1900"/>
                  </a:lnTo>
                  <a:cubicBezTo>
                    <a:pt x="1383" y="1899"/>
                    <a:pt x="1382" y="1897"/>
                    <a:pt x="1383" y="1896"/>
                  </a:cubicBezTo>
                  <a:cubicBezTo>
                    <a:pt x="1384" y="1895"/>
                    <a:pt x="1385" y="1895"/>
                    <a:pt x="1387" y="1895"/>
                  </a:cubicBezTo>
                  <a:close/>
                  <a:moveTo>
                    <a:pt x="1437" y="1930"/>
                  </a:moveTo>
                  <a:lnTo>
                    <a:pt x="1468" y="1948"/>
                  </a:lnTo>
                  <a:cubicBezTo>
                    <a:pt x="1469" y="1949"/>
                    <a:pt x="1470" y="1950"/>
                    <a:pt x="1469" y="1952"/>
                  </a:cubicBezTo>
                  <a:cubicBezTo>
                    <a:pt x="1468" y="1953"/>
                    <a:pt x="1467" y="1953"/>
                    <a:pt x="1465" y="1953"/>
                  </a:cubicBezTo>
                  <a:lnTo>
                    <a:pt x="1434" y="1934"/>
                  </a:lnTo>
                  <a:cubicBezTo>
                    <a:pt x="1433" y="1934"/>
                    <a:pt x="1433" y="1932"/>
                    <a:pt x="1434" y="1931"/>
                  </a:cubicBezTo>
                  <a:cubicBezTo>
                    <a:pt x="1434" y="1930"/>
                    <a:pt x="1436" y="1929"/>
                    <a:pt x="1437" y="1930"/>
                  </a:cubicBezTo>
                  <a:close/>
                  <a:moveTo>
                    <a:pt x="1490" y="1961"/>
                  </a:moveTo>
                  <a:lnTo>
                    <a:pt x="1521" y="1979"/>
                  </a:lnTo>
                  <a:cubicBezTo>
                    <a:pt x="1522" y="1980"/>
                    <a:pt x="1523" y="1982"/>
                    <a:pt x="1522" y="1983"/>
                  </a:cubicBezTo>
                  <a:cubicBezTo>
                    <a:pt x="1521" y="1984"/>
                    <a:pt x="1520" y="1984"/>
                    <a:pt x="1518" y="1984"/>
                  </a:cubicBezTo>
                  <a:lnTo>
                    <a:pt x="1487" y="1966"/>
                  </a:lnTo>
                  <a:cubicBezTo>
                    <a:pt x="1486" y="1965"/>
                    <a:pt x="1486" y="1963"/>
                    <a:pt x="1487" y="1962"/>
                  </a:cubicBezTo>
                  <a:cubicBezTo>
                    <a:pt x="1487" y="1961"/>
                    <a:pt x="1489" y="1960"/>
                    <a:pt x="1490" y="1961"/>
                  </a:cubicBezTo>
                  <a:close/>
                  <a:moveTo>
                    <a:pt x="1543" y="1992"/>
                  </a:moveTo>
                  <a:lnTo>
                    <a:pt x="1574" y="2010"/>
                  </a:lnTo>
                  <a:cubicBezTo>
                    <a:pt x="1575" y="2011"/>
                    <a:pt x="1576" y="2013"/>
                    <a:pt x="1575" y="2014"/>
                  </a:cubicBezTo>
                  <a:cubicBezTo>
                    <a:pt x="1574" y="2015"/>
                    <a:pt x="1573" y="2016"/>
                    <a:pt x="1571" y="2015"/>
                  </a:cubicBezTo>
                  <a:lnTo>
                    <a:pt x="1540" y="1997"/>
                  </a:lnTo>
                  <a:cubicBezTo>
                    <a:pt x="1539" y="1996"/>
                    <a:pt x="1539" y="1994"/>
                    <a:pt x="1540" y="1993"/>
                  </a:cubicBezTo>
                  <a:cubicBezTo>
                    <a:pt x="1540" y="1992"/>
                    <a:pt x="1542" y="1992"/>
                    <a:pt x="1543" y="1992"/>
                  </a:cubicBezTo>
                  <a:close/>
                  <a:moveTo>
                    <a:pt x="1596" y="2023"/>
                  </a:moveTo>
                  <a:lnTo>
                    <a:pt x="1627" y="2042"/>
                  </a:lnTo>
                  <a:cubicBezTo>
                    <a:pt x="1628" y="2042"/>
                    <a:pt x="1628" y="2044"/>
                    <a:pt x="1628" y="2045"/>
                  </a:cubicBezTo>
                  <a:cubicBezTo>
                    <a:pt x="1627" y="2046"/>
                    <a:pt x="1625" y="2047"/>
                    <a:pt x="1624" y="2046"/>
                  </a:cubicBezTo>
                  <a:lnTo>
                    <a:pt x="1593" y="2028"/>
                  </a:lnTo>
                  <a:cubicBezTo>
                    <a:pt x="1592" y="2027"/>
                    <a:pt x="1592" y="2026"/>
                    <a:pt x="1592" y="2024"/>
                  </a:cubicBezTo>
                  <a:cubicBezTo>
                    <a:pt x="1593" y="2023"/>
                    <a:pt x="1595" y="2023"/>
                    <a:pt x="1596" y="2023"/>
                  </a:cubicBezTo>
                  <a:close/>
                  <a:moveTo>
                    <a:pt x="1649" y="2054"/>
                  </a:moveTo>
                  <a:lnTo>
                    <a:pt x="1681" y="2070"/>
                  </a:lnTo>
                  <a:cubicBezTo>
                    <a:pt x="1682" y="2071"/>
                    <a:pt x="1683" y="2072"/>
                    <a:pt x="1682" y="2074"/>
                  </a:cubicBezTo>
                  <a:cubicBezTo>
                    <a:pt x="1682" y="2075"/>
                    <a:pt x="1680" y="2075"/>
                    <a:pt x="1679" y="2075"/>
                  </a:cubicBezTo>
                  <a:lnTo>
                    <a:pt x="1647" y="2059"/>
                  </a:lnTo>
                  <a:cubicBezTo>
                    <a:pt x="1645" y="2058"/>
                    <a:pt x="1645" y="2057"/>
                    <a:pt x="1645" y="2055"/>
                  </a:cubicBezTo>
                  <a:cubicBezTo>
                    <a:pt x="1646" y="2054"/>
                    <a:pt x="1648" y="2054"/>
                    <a:pt x="1649" y="2054"/>
                  </a:cubicBezTo>
                  <a:close/>
                  <a:moveTo>
                    <a:pt x="1704" y="2081"/>
                  </a:moveTo>
                  <a:lnTo>
                    <a:pt x="1736" y="2097"/>
                  </a:lnTo>
                  <a:cubicBezTo>
                    <a:pt x="1737" y="2098"/>
                    <a:pt x="1738" y="2099"/>
                    <a:pt x="1737" y="2101"/>
                  </a:cubicBezTo>
                  <a:cubicBezTo>
                    <a:pt x="1737" y="2102"/>
                    <a:pt x="1735" y="2103"/>
                    <a:pt x="1734" y="2102"/>
                  </a:cubicBezTo>
                  <a:lnTo>
                    <a:pt x="1702" y="2086"/>
                  </a:lnTo>
                  <a:cubicBezTo>
                    <a:pt x="1700" y="2085"/>
                    <a:pt x="1700" y="2084"/>
                    <a:pt x="1701" y="2083"/>
                  </a:cubicBezTo>
                  <a:cubicBezTo>
                    <a:pt x="1701" y="2081"/>
                    <a:pt x="1703" y="2081"/>
                    <a:pt x="1704" y="2081"/>
                  </a:cubicBezTo>
                  <a:close/>
                  <a:moveTo>
                    <a:pt x="1759" y="2109"/>
                  </a:moveTo>
                  <a:lnTo>
                    <a:pt x="1791" y="2124"/>
                  </a:lnTo>
                  <a:cubicBezTo>
                    <a:pt x="1792" y="2125"/>
                    <a:pt x="1793" y="2127"/>
                    <a:pt x="1792" y="2128"/>
                  </a:cubicBezTo>
                  <a:cubicBezTo>
                    <a:pt x="1792" y="2129"/>
                    <a:pt x="1790" y="2130"/>
                    <a:pt x="1789" y="2129"/>
                  </a:cubicBezTo>
                  <a:lnTo>
                    <a:pt x="1757" y="2113"/>
                  </a:lnTo>
                  <a:cubicBezTo>
                    <a:pt x="1756" y="2113"/>
                    <a:pt x="1755" y="2111"/>
                    <a:pt x="1756" y="2110"/>
                  </a:cubicBezTo>
                  <a:cubicBezTo>
                    <a:pt x="1756" y="2109"/>
                    <a:pt x="1758" y="2108"/>
                    <a:pt x="1759" y="2109"/>
                  </a:cubicBezTo>
                  <a:close/>
                  <a:moveTo>
                    <a:pt x="1814" y="2136"/>
                  </a:moveTo>
                  <a:lnTo>
                    <a:pt x="1846" y="2152"/>
                  </a:lnTo>
                  <a:cubicBezTo>
                    <a:pt x="1848" y="2152"/>
                    <a:pt x="1848" y="2154"/>
                    <a:pt x="1847" y="2155"/>
                  </a:cubicBezTo>
                  <a:cubicBezTo>
                    <a:pt x="1847" y="2156"/>
                    <a:pt x="1845" y="2157"/>
                    <a:pt x="1844" y="2156"/>
                  </a:cubicBezTo>
                  <a:lnTo>
                    <a:pt x="1812" y="2140"/>
                  </a:lnTo>
                  <a:cubicBezTo>
                    <a:pt x="1811" y="2140"/>
                    <a:pt x="1810" y="2138"/>
                    <a:pt x="1811" y="2137"/>
                  </a:cubicBezTo>
                  <a:cubicBezTo>
                    <a:pt x="1811" y="2136"/>
                    <a:pt x="1813" y="2135"/>
                    <a:pt x="1814" y="2136"/>
                  </a:cubicBezTo>
                  <a:close/>
                  <a:moveTo>
                    <a:pt x="1869" y="2163"/>
                  </a:moveTo>
                  <a:lnTo>
                    <a:pt x="1902" y="2176"/>
                  </a:lnTo>
                  <a:cubicBezTo>
                    <a:pt x="1904" y="2177"/>
                    <a:pt x="1904" y="2178"/>
                    <a:pt x="1904" y="2180"/>
                  </a:cubicBezTo>
                  <a:cubicBezTo>
                    <a:pt x="1903" y="2181"/>
                    <a:pt x="1902" y="2181"/>
                    <a:pt x="1900" y="2181"/>
                  </a:cubicBezTo>
                  <a:lnTo>
                    <a:pt x="1867" y="2167"/>
                  </a:lnTo>
                  <a:cubicBezTo>
                    <a:pt x="1866" y="2167"/>
                    <a:pt x="1865" y="2165"/>
                    <a:pt x="1866" y="2164"/>
                  </a:cubicBezTo>
                  <a:cubicBezTo>
                    <a:pt x="1866" y="2163"/>
                    <a:pt x="1868" y="2162"/>
                    <a:pt x="1869" y="2163"/>
                  </a:cubicBezTo>
                  <a:close/>
                  <a:moveTo>
                    <a:pt x="1926" y="2186"/>
                  </a:moveTo>
                  <a:lnTo>
                    <a:pt x="1959" y="2199"/>
                  </a:lnTo>
                  <a:cubicBezTo>
                    <a:pt x="1961" y="2200"/>
                    <a:pt x="1961" y="2201"/>
                    <a:pt x="1961" y="2203"/>
                  </a:cubicBezTo>
                  <a:cubicBezTo>
                    <a:pt x="1960" y="2204"/>
                    <a:pt x="1959" y="2205"/>
                    <a:pt x="1957" y="2204"/>
                  </a:cubicBezTo>
                  <a:lnTo>
                    <a:pt x="1924" y="2191"/>
                  </a:lnTo>
                  <a:cubicBezTo>
                    <a:pt x="1923" y="2190"/>
                    <a:pt x="1922" y="2189"/>
                    <a:pt x="1923" y="2187"/>
                  </a:cubicBezTo>
                  <a:cubicBezTo>
                    <a:pt x="1923" y="2186"/>
                    <a:pt x="1925" y="2185"/>
                    <a:pt x="1926" y="2186"/>
                  </a:cubicBezTo>
                  <a:close/>
                  <a:moveTo>
                    <a:pt x="1983" y="2209"/>
                  </a:moveTo>
                  <a:lnTo>
                    <a:pt x="2016" y="2223"/>
                  </a:lnTo>
                  <a:cubicBezTo>
                    <a:pt x="2017" y="2223"/>
                    <a:pt x="2018" y="2225"/>
                    <a:pt x="2018" y="2226"/>
                  </a:cubicBezTo>
                  <a:cubicBezTo>
                    <a:pt x="2017" y="2227"/>
                    <a:pt x="2016" y="2228"/>
                    <a:pt x="2014" y="2227"/>
                  </a:cubicBezTo>
                  <a:lnTo>
                    <a:pt x="1981" y="2214"/>
                  </a:lnTo>
                  <a:cubicBezTo>
                    <a:pt x="1980" y="2213"/>
                    <a:pt x="1979" y="2212"/>
                    <a:pt x="1980" y="2210"/>
                  </a:cubicBezTo>
                  <a:cubicBezTo>
                    <a:pt x="1980" y="2209"/>
                    <a:pt x="1982" y="2209"/>
                    <a:pt x="1983" y="2209"/>
                  </a:cubicBezTo>
                  <a:close/>
                  <a:moveTo>
                    <a:pt x="2040" y="2232"/>
                  </a:moveTo>
                  <a:lnTo>
                    <a:pt x="2073" y="2246"/>
                  </a:lnTo>
                  <a:cubicBezTo>
                    <a:pt x="2074" y="2246"/>
                    <a:pt x="2075" y="2248"/>
                    <a:pt x="2074" y="2249"/>
                  </a:cubicBezTo>
                  <a:cubicBezTo>
                    <a:pt x="2074" y="2250"/>
                    <a:pt x="2072" y="2251"/>
                    <a:pt x="2071" y="2251"/>
                  </a:cubicBezTo>
                  <a:lnTo>
                    <a:pt x="2038" y="2237"/>
                  </a:lnTo>
                  <a:cubicBezTo>
                    <a:pt x="2037" y="2236"/>
                    <a:pt x="2036" y="2235"/>
                    <a:pt x="2037" y="2234"/>
                  </a:cubicBezTo>
                  <a:cubicBezTo>
                    <a:pt x="2037" y="2232"/>
                    <a:pt x="2039" y="2232"/>
                    <a:pt x="2040" y="2232"/>
                  </a:cubicBezTo>
                  <a:close/>
                  <a:moveTo>
                    <a:pt x="2097" y="2255"/>
                  </a:moveTo>
                  <a:lnTo>
                    <a:pt x="2131" y="2266"/>
                  </a:lnTo>
                  <a:cubicBezTo>
                    <a:pt x="2132" y="2267"/>
                    <a:pt x="2133" y="2268"/>
                    <a:pt x="2132" y="2269"/>
                  </a:cubicBezTo>
                  <a:cubicBezTo>
                    <a:pt x="2132" y="2271"/>
                    <a:pt x="2131" y="2271"/>
                    <a:pt x="2129" y="2271"/>
                  </a:cubicBezTo>
                  <a:lnTo>
                    <a:pt x="2095" y="2260"/>
                  </a:lnTo>
                  <a:cubicBezTo>
                    <a:pt x="2094" y="2260"/>
                    <a:pt x="2093" y="2258"/>
                    <a:pt x="2093" y="2257"/>
                  </a:cubicBezTo>
                  <a:cubicBezTo>
                    <a:pt x="2094" y="2255"/>
                    <a:pt x="2095" y="2255"/>
                    <a:pt x="2097" y="2255"/>
                  </a:cubicBezTo>
                  <a:close/>
                  <a:moveTo>
                    <a:pt x="2155" y="2274"/>
                  </a:moveTo>
                  <a:lnTo>
                    <a:pt x="2189" y="2285"/>
                  </a:lnTo>
                  <a:cubicBezTo>
                    <a:pt x="2191" y="2285"/>
                    <a:pt x="2191" y="2287"/>
                    <a:pt x="2191" y="2288"/>
                  </a:cubicBezTo>
                  <a:cubicBezTo>
                    <a:pt x="2190" y="2290"/>
                    <a:pt x="2189" y="2290"/>
                    <a:pt x="2188" y="2290"/>
                  </a:cubicBezTo>
                  <a:lnTo>
                    <a:pt x="2154" y="2279"/>
                  </a:lnTo>
                  <a:cubicBezTo>
                    <a:pt x="2152" y="2278"/>
                    <a:pt x="2151" y="2277"/>
                    <a:pt x="2152" y="2276"/>
                  </a:cubicBezTo>
                  <a:cubicBezTo>
                    <a:pt x="2152" y="2274"/>
                    <a:pt x="2154" y="2274"/>
                    <a:pt x="2155" y="2274"/>
                  </a:cubicBezTo>
                  <a:close/>
                  <a:moveTo>
                    <a:pt x="2214" y="2293"/>
                  </a:moveTo>
                  <a:lnTo>
                    <a:pt x="2248" y="2304"/>
                  </a:lnTo>
                  <a:cubicBezTo>
                    <a:pt x="2249" y="2304"/>
                    <a:pt x="2250" y="2306"/>
                    <a:pt x="2249" y="2307"/>
                  </a:cubicBezTo>
                  <a:cubicBezTo>
                    <a:pt x="2249" y="2309"/>
                    <a:pt x="2247" y="2309"/>
                    <a:pt x="2246" y="2309"/>
                  </a:cubicBezTo>
                  <a:lnTo>
                    <a:pt x="2212" y="2298"/>
                  </a:lnTo>
                  <a:cubicBezTo>
                    <a:pt x="2211" y="2297"/>
                    <a:pt x="2210" y="2296"/>
                    <a:pt x="2210" y="2295"/>
                  </a:cubicBezTo>
                  <a:cubicBezTo>
                    <a:pt x="2211" y="2293"/>
                    <a:pt x="2212" y="2293"/>
                    <a:pt x="2214" y="2293"/>
                  </a:cubicBezTo>
                  <a:close/>
                  <a:moveTo>
                    <a:pt x="2272" y="2312"/>
                  </a:moveTo>
                  <a:lnTo>
                    <a:pt x="2306" y="2323"/>
                  </a:lnTo>
                  <a:cubicBezTo>
                    <a:pt x="2307" y="2323"/>
                    <a:pt x="2308" y="2325"/>
                    <a:pt x="2308" y="2326"/>
                  </a:cubicBezTo>
                  <a:cubicBezTo>
                    <a:pt x="2307" y="2327"/>
                    <a:pt x="2306" y="2328"/>
                    <a:pt x="2305" y="2328"/>
                  </a:cubicBezTo>
                  <a:lnTo>
                    <a:pt x="2270" y="2317"/>
                  </a:lnTo>
                  <a:cubicBezTo>
                    <a:pt x="2269" y="2316"/>
                    <a:pt x="2268" y="2315"/>
                    <a:pt x="2269" y="2313"/>
                  </a:cubicBezTo>
                  <a:cubicBezTo>
                    <a:pt x="2269" y="2312"/>
                    <a:pt x="2271" y="2311"/>
                    <a:pt x="2272" y="2312"/>
                  </a:cubicBezTo>
                  <a:close/>
                  <a:moveTo>
                    <a:pt x="2330" y="2331"/>
                  </a:moveTo>
                  <a:lnTo>
                    <a:pt x="2365" y="2339"/>
                  </a:lnTo>
                  <a:cubicBezTo>
                    <a:pt x="2367" y="2339"/>
                    <a:pt x="2367" y="2341"/>
                    <a:pt x="2367" y="2342"/>
                  </a:cubicBezTo>
                  <a:cubicBezTo>
                    <a:pt x="2367" y="2343"/>
                    <a:pt x="2365" y="2344"/>
                    <a:pt x="2364" y="2344"/>
                  </a:cubicBezTo>
                  <a:lnTo>
                    <a:pt x="2329" y="2336"/>
                  </a:lnTo>
                  <a:cubicBezTo>
                    <a:pt x="2328" y="2335"/>
                    <a:pt x="2327" y="2334"/>
                    <a:pt x="2327" y="2332"/>
                  </a:cubicBezTo>
                  <a:cubicBezTo>
                    <a:pt x="2328" y="2331"/>
                    <a:pt x="2329" y="2330"/>
                    <a:pt x="2330" y="2331"/>
                  </a:cubicBezTo>
                  <a:close/>
                  <a:moveTo>
                    <a:pt x="2390" y="2345"/>
                  </a:moveTo>
                  <a:lnTo>
                    <a:pt x="2425" y="2354"/>
                  </a:lnTo>
                  <a:cubicBezTo>
                    <a:pt x="2426" y="2354"/>
                    <a:pt x="2427" y="2355"/>
                    <a:pt x="2427" y="2357"/>
                  </a:cubicBezTo>
                  <a:cubicBezTo>
                    <a:pt x="2426" y="2358"/>
                    <a:pt x="2425" y="2359"/>
                    <a:pt x="2424" y="2359"/>
                  </a:cubicBezTo>
                  <a:lnTo>
                    <a:pt x="2389" y="2350"/>
                  </a:lnTo>
                  <a:cubicBezTo>
                    <a:pt x="2387" y="2350"/>
                    <a:pt x="2387" y="2348"/>
                    <a:pt x="2387" y="2347"/>
                  </a:cubicBezTo>
                  <a:cubicBezTo>
                    <a:pt x="2387" y="2346"/>
                    <a:pt x="2389" y="2345"/>
                    <a:pt x="2390" y="2345"/>
                  </a:cubicBezTo>
                  <a:close/>
                  <a:moveTo>
                    <a:pt x="2450" y="2360"/>
                  </a:moveTo>
                  <a:lnTo>
                    <a:pt x="2485" y="2368"/>
                  </a:lnTo>
                  <a:cubicBezTo>
                    <a:pt x="2486" y="2368"/>
                    <a:pt x="2487" y="2370"/>
                    <a:pt x="2486" y="2371"/>
                  </a:cubicBezTo>
                  <a:cubicBezTo>
                    <a:pt x="2486" y="2373"/>
                    <a:pt x="2485" y="2373"/>
                    <a:pt x="2483" y="2373"/>
                  </a:cubicBezTo>
                  <a:lnTo>
                    <a:pt x="2448" y="2365"/>
                  </a:lnTo>
                  <a:cubicBezTo>
                    <a:pt x="2447" y="2364"/>
                    <a:pt x="2446" y="2363"/>
                    <a:pt x="2447" y="2362"/>
                  </a:cubicBezTo>
                  <a:cubicBezTo>
                    <a:pt x="2447" y="2360"/>
                    <a:pt x="2448" y="2359"/>
                    <a:pt x="2450" y="2360"/>
                  </a:cubicBezTo>
                  <a:close/>
                  <a:moveTo>
                    <a:pt x="2509" y="2374"/>
                  </a:moveTo>
                  <a:lnTo>
                    <a:pt x="2544" y="2383"/>
                  </a:lnTo>
                  <a:cubicBezTo>
                    <a:pt x="2546" y="2383"/>
                    <a:pt x="2546" y="2384"/>
                    <a:pt x="2546" y="2386"/>
                  </a:cubicBezTo>
                  <a:cubicBezTo>
                    <a:pt x="2546" y="2387"/>
                    <a:pt x="2544" y="2388"/>
                    <a:pt x="2543" y="2388"/>
                  </a:cubicBezTo>
                  <a:lnTo>
                    <a:pt x="2508" y="2379"/>
                  </a:lnTo>
                  <a:cubicBezTo>
                    <a:pt x="2507" y="2379"/>
                    <a:pt x="2506" y="2377"/>
                    <a:pt x="2506" y="2376"/>
                  </a:cubicBezTo>
                  <a:cubicBezTo>
                    <a:pt x="2507" y="2375"/>
                    <a:pt x="2508" y="2374"/>
                    <a:pt x="2509" y="2374"/>
                  </a:cubicBezTo>
                  <a:close/>
                  <a:moveTo>
                    <a:pt x="2569" y="2389"/>
                  </a:moveTo>
                  <a:lnTo>
                    <a:pt x="2570" y="2389"/>
                  </a:lnTo>
                  <a:lnTo>
                    <a:pt x="2604" y="2395"/>
                  </a:lnTo>
                  <a:cubicBezTo>
                    <a:pt x="2606" y="2395"/>
                    <a:pt x="2607" y="2396"/>
                    <a:pt x="2606" y="2398"/>
                  </a:cubicBezTo>
                  <a:cubicBezTo>
                    <a:pt x="2606" y="2399"/>
                    <a:pt x="2605" y="2400"/>
                    <a:pt x="2603" y="2400"/>
                  </a:cubicBezTo>
                  <a:lnTo>
                    <a:pt x="2569" y="2394"/>
                  </a:lnTo>
                  <a:lnTo>
                    <a:pt x="2568" y="2394"/>
                  </a:lnTo>
                  <a:cubicBezTo>
                    <a:pt x="2566" y="2393"/>
                    <a:pt x="2566" y="2392"/>
                    <a:pt x="2566" y="2391"/>
                  </a:cubicBezTo>
                  <a:cubicBezTo>
                    <a:pt x="2566" y="2389"/>
                    <a:pt x="2568" y="2388"/>
                    <a:pt x="2569" y="2389"/>
                  </a:cubicBezTo>
                  <a:close/>
                  <a:moveTo>
                    <a:pt x="2629" y="2399"/>
                  </a:moveTo>
                  <a:lnTo>
                    <a:pt x="2665" y="2405"/>
                  </a:lnTo>
                  <a:cubicBezTo>
                    <a:pt x="2666" y="2405"/>
                    <a:pt x="2667" y="2406"/>
                    <a:pt x="2667" y="2408"/>
                  </a:cubicBezTo>
                  <a:cubicBezTo>
                    <a:pt x="2667" y="2409"/>
                    <a:pt x="2665" y="2410"/>
                    <a:pt x="2664" y="2410"/>
                  </a:cubicBezTo>
                  <a:lnTo>
                    <a:pt x="2629" y="2404"/>
                  </a:lnTo>
                  <a:cubicBezTo>
                    <a:pt x="2627" y="2404"/>
                    <a:pt x="2626" y="2402"/>
                    <a:pt x="2627" y="2401"/>
                  </a:cubicBezTo>
                  <a:cubicBezTo>
                    <a:pt x="2627" y="2399"/>
                    <a:pt x="2628" y="2399"/>
                    <a:pt x="2629" y="2399"/>
                  </a:cubicBezTo>
                  <a:close/>
                  <a:moveTo>
                    <a:pt x="2690" y="2409"/>
                  </a:moveTo>
                  <a:lnTo>
                    <a:pt x="2725" y="2415"/>
                  </a:lnTo>
                  <a:cubicBezTo>
                    <a:pt x="2727" y="2415"/>
                    <a:pt x="2728" y="2416"/>
                    <a:pt x="2728" y="2418"/>
                  </a:cubicBezTo>
                  <a:cubicBezTo>
                    <a:pt x="2727" y="2419"/>
                    <a:pt x="2726" y="2420"/>
                    <a:pt x="2725" y="2420"/>
                  </a:cubicBezTo>
                  <a:lnTo>
                    <a:pt x="2689" y="2414"/>
                  </a:lnTo>
                  <a:cubicBezTo>
                    <a:pt x="2688" y="2414"/>
                    <a:pt x="2687" y="2412"/>
                    <a:pt x="2687" y="2411"/>
                  </a:cubicBezTo>
                  <a:cubicBezTo>
                    <a:pt x="2687" y="2409"/>
                    <a:pt x="2689" y="2409"/>
                    <a:pt x="2690" y="2409"/>
                  </a:cubicBezTo>
                  <a:close/>
                  <a:moveTo>
                    <a:pt x="2751" y="2419"/>
                  </a:moveTo>
                  <a:lnTo>
                    <a:pt x="2786" y="2425"/>
                  </a:lnTo>
                  <a:cubicBezTo>
                    <a:pt x="2787" y="2425"/>
                    <a:pt x="2788" y="2426"/>
                    <a:pt x="2788" y="2427"/>
                  </a:cubicBezTo>
                  <a:cubicBezTo>
                    <a:pt x="2788" y="2429"/>
                    <a:pt x="2787" y="2430"/>
                    <a:pt x="2785" y="2430"/>
                  </a:cubicBezTo>
                  <a:lnTo>
                    <a:pt x="2750" y="2424"/>
                  </a:lnTo>
                  <a:cubicBezTo>
                    <a:pt x="2748" y="2424"/>
                    <a:pt x="2748" y="2422"/>
                    <a:pt x="2748" y="2421"/>
                  </a:cubicBezTo>
                  <a:cubicBezTo>
                    <a:pt x="2748" y="2419"/>
                    <a:pt x="2749" y="2418"/>
                    <a:pt x="2751" y="2419"/>
                  </a:cubicBezTo>
                  <a:close/>
                  <a:moveTo>
                    <a:pt x="2811" y="2429"/>
                  </a:moveTo>
                  <a:lnTo>
                    <a:pt x="2819" y="2430"/>
                  </a:lnTo>
                  <a:cubicBezTo>
                    <a:pt x="2820" y="2430"/>
                    <a:pt x="2821" y="2431"/>
                    <a:pt x="2821" y="2433"/>
                  </a:cubicBezTo>
                  <a:cubicBezTo>
                    <a:pt x="2821" y="2434"/>
                    <a:pt x="2819" y="2435"/>
                    <a:pt x="2818" y="2435"/>
                  </a:cubicBezTo>
                  <a:lnTo>
                    <a:pt x="2818" y="2435"/>
                  </a:lnTo>
                  <a:lnTo>
                    <a:pt x="2811" y="2434"/>
                  </a:lnTo>
                  <a:cubicBezTo>
                    <a:pt x="2809" y="2434"/>
                    <a:pt x="2808" y="2432"/>
                    <a:pt x="2808" y="2431"/>
                  </a:cubicBezTo>
                  <a:cubicBezTo>
                    <a:pt x="2809" y="2429"/>
                    <a:pt x="2810" y="2428"/>
                    <a:pt x="2811" y="2429"/>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23" name="Freeform 145">
              <a:extLst>
                <a:ext uri="{FF2B5EF4-FFF2-40B4-BE49-F238E27FC236}">
                  <a16:creationId xmlns:a16="http://schemas.microsoft.com/office/drawing/2014/main" id="{81E1AAC0-B73C-4DB9-80AA-A38C18228A73}"/>
                </a:ext>
              </a:extLst>
            </p:cNvPr>
            <p:cNvSpPr>
              <a:spLocks/>
            </p:cNvSpPr>
            <p:nvPr/>
          </p:nvSpPr>
          <p:spPr bwMode="auto">
            <a:xfrm>
              <a:off x="3806" y="3456"/>
              <a:ext cx="55" cy="52"/>
            </a:xfrm>
            <a:custGeom>
              <a:avLst/>
              <a:gdLst>
                <a:gd name="T0" fmla="*/ 6 w 55"/>
                <a:gd name="T1" fmla="*/ 0 h 52"/>
                <a:gd name="T2" fmla="*/ 55 w 55"/>
                <a:gd name="T3" fmla="*/ 32 h 52"/>
                <a:gd name="T4" fmla="*/ 0 w 55"/>
                <a:gd name="T5" fmla="*/ 52 h 52"/>
                <a:gd name="T6" fmla="*/ 6 w 55"/>
                <a:gd name="T7" fmla="*/ 0 h 52"/>
              </a:gdLst>
              <a:ahLst/>
              <a:cxnLst>
                <a:cxn ang="0">
                  <a:pos x="T0" y="T1"/>
                </a:cxn>
                <a:cxn ang="0">
                  <a:pos x="T2" y="T3"/>
                </a:cxn>
                <a:cxn ang="0">
                  <a:pos x="T4" y="T5"/>
                </a:cxn>
                <a:cxn ang="0">
                  <a:pos x="T6" y="T7"/>
                </a:cxn>
              </a:cxnLst>
              <a:rect l="0" t="0" r="r" b="b"/>
              <a:pathLst>
                <a:path w="55" h="52">
                  <a:moveTo>
                    <a:pt x="6" y="0"/>
                  </a:moveTo>
                  <a:lnTo>
                    <a:pt x="55" y="32"/>
                  </a:lnTo>
                  <a:lnTo>
                    <a:pt x="0" y="52"/>
                  </a:lnTo>
                  <a:lnTo>
                    <a:pt x="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24" name="Rectangle 146">
              <a:extLst>
                <a:ext uri="{FF2B5EF4-FFF2-40B4-BE49-F238E27FC236}">
                  <a16:creationId xmlns:a16="http://schemas.microsoft.com/office/drawing/2014/main" id="{2DC9BF4D-2264-4177-961F-CF4019209DAE}"/>
                </a:ext>
              </a:extLst>
            </p:cNvPr>
            <p:cNvSpPr>
              <a:spLocks noChangeArrowheads="1"/>
            </p:cNvSpPr>
            <p:nvPr/>
          </p:nvSpPr>
          <p:spPr bwMode="auto">
            <a:xfrm>
              <a:off x="2885" y="3109"/>
              <a:ext cx="309" cy="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25" name="Freeform 147">
              <a:extLst>
                <a:ext uri="{FF2B5EF4-FFF2-40B4-BE49-F238E27FC236}">
                  <a16:creationId xmlns:a16="http://schemas.microsoft.com/office/drawing/2014/main" id="{D8AD7FDA-6570-4341-B5E7-81DB0FDBA96C}"/>
                </a:ext>
              </a:extLst>
            </p:cNvPr>
            <p:cNvSpPr>
              <a:spLocks noEditPoints="1"/>
            </p:cNvSpPr>
            <p:nvPr/>
          </p:nvSpPr>
          <p:spPr bwMode="auto">
            <a:xfrm>
              <a:off x="2890" y="3122"/>
              <a:ext cx="301" cy="49"/>
            </a:xfrm>
            <a:custGeom>
              <a:avLst/>
              <a:gdLst>
                <a:gd name="T0" fmla="*/ 2 w 672"/>
                <a:gd name="T1" fmla="*/ 71 h 110"/>
                <a:gd name="T2" fmla="*/ 10 w 672"/>
                <a:gd name="T3" fmla="*/ 6 h 110"/>
                <a:gd name="T4" fmla="*/ 39 w 672"/>
                <a:gd name="T5" fmla="*/ 78 h 110"/>
                <a:gd name="T6" fmla="*/ 56 w 672"/>
                <a:gd name="T7" fmla="*/ 6 h 110"/>
                <a:gd name="T8" fmla="*/ 124 w 672"/>
                <a:gd name="T9" fmla="*/ 80 h 110"/>
                <a:gd name="T10" fmla="*/ 89 w 672"/>
                <a:gd name="T11" fmla="*/ 109 h 110"/>
                <a:gd name="T12" fmla="*/ 79 w 672"/>
                <a:gd name="T13" fmla="*/ 29 h 110"/>
                <a:gd name="T14" fmla="*/ 88 w 672"/>
                <a:gd name="T15" fmla="*/ 29 h 110"/>
                <a:gd name="T16" fmla="*/ 129 w 672"/>
                <a:gd name="T17" fmla="*/ 45 h 110"/>
                <a:gd name="T18" fmla="*/ 98 w 672"/>
                <a:gd name="T19" fmla="*/ 38 h 110"/>
                <a:gd name="T20" fmla="*/ 119 w 672"/>
                <a:gd name="T21" fmla="*/ 65 h 110"/>
                <a:gd name="T22" fmla="*/ 183 w 672"/>
                <a:gd name="T23" fmla="*/ 87 h 110"/>
                <a:gd name="T24" fmla="*/ 141 w 672"/>
                <a:gd name="T25" fmla="*/ 70 h 110"/>
                <a:gd name="T26" fmla="*/ 181 w 672"/>
                <a:gd name="T27" fmla="*/ 2 h 110"/>
                <a:gd name="T28" fmla="*/ 191 w 672"/>
                <a:gd name="T29" fmla="*/ 2 h 110"/>
                <a:gd name="T30" fmla="*/ 150 w 672"/>
                <a:gd name="T31" fmla="*/ 57 h 110"/>
                <a:gd name="T32" fmla="*/ 181 w 672"/>
                <a:gd name="T33" fmla="*/ 68 h 110"/>
                <a:gd name="T34" fmla="*/ 256 w 672"/>
                <a:gd name="T35" fmla="*/ 85 h 110"/>
                <a:gd name="T36" fmla="*/ 221 w 672"/>
                <a:gd name="T37" fmla="*/ 63 h 110"/>
                <a:gd name="T38" fmla="*/ 248 w 672"/>
                <a:gd name="T39" fmla="*/ 35 h 110"/>
                <a:gd name="T40" fmla="*/ 222 w 672"/>
                <a:gd name="T41" fmla="*/ 38 h 110"/>
                <a:gd name="T42" fmla="*/ 253 w 672"/>
                <a:gd name="T43" fmla="*/ 28 h 110"/>
                <a:gd name="T44" fmla="*/ 234 w 672"/>
                <a:gd name="T45" fmla="*/ 63 h 110"/>
                <a:gd name="T46" fmla="*/ 300 w 672"/>
                <a:gd name="T47" fmla="*/ 81 h 110"/>
                <a:gd name="T48" fmla="*/ 277 w 672"/>
                <a:gd name="T49" fmla="*/ 83 h 110"/>
                <a:gd name="T50" fmla="*/ 264 w 672"/>
                <a:gd name="T51" fmla="*/ 28 h 110"/>
                <a:gd name="T52" fmla="*/ 279 w 672"/>
                <a:gd name="T53" fmla="*/ 12 h 110"/>
                <a:gd name="T54" fmla="*/ 300 w 672"/>
                <a:gd name="T55" fmla="*/ 28 h 110"/>
                <a:gd name="T56" fmla="*/ 292 w 672"/>
                <a:gd name="T57" fmla="*/ 79 h 110"/>
                <a:gd name="T58" fmla="*/ 300 w 672"/>
                <a:gd name="T59" fmla="*/ 81 h 110"/>
                <a:gd name="T60" fmla="*/ 344 w 672"/>
                <a:gd name="T61" fmla="*/ 80 h 110"/>
                <a:gd name="T62" fmla="*/ 365 w 672"/>
                <a:gd name="T63" fmla="*/ 79 h 110"/>
                <a:gd name="T64" fmla="*/ 343 w 672"/>
                <a:gd name="T65" fmla="*/ 88 h 110"/>
                <a:gd name="T66" fmla="*/ 342 w 672"/>
                <a:gd name="T67" fmla="*/ 26 h 110"/>
                <a:gd name="T68" fmla="*/ 342 w 672"/>
                <a:gd name="T69" fmla="*/ 34 h 110"/>
                <a:gd name="T70" fmla="*/ 443 w 672"/>
                <a:gd name="T71" fmla="*/ 77 h 110"/>
                <a:gd name="T72" fmla="*/ 389 w 672"/>
                <a:gd name="T73" fmla="*/ 16 h 110"/>
                <a:gd name="T74" fmla="*/ 439 w 672"/>
                <a:gd name="T75" fmla="*/ 33 h 110"/>
                <a:gd name="T76" fmla="*/ 392 w 672"/>
                <a:gd name="T77" fmla="*/ 59 h 110"/>
                <a:gd name="T78" fmla="*/ 496 w 672"/>
                <a:gd name="T79" fmla="*/ 33 h 110"/>
                <a:gd name="T80" fmla="*/ 487 w 672"/>
                <a:gd name="T81" fmla="*/ 36 h 110"/>
                <a:gd name="T82" fmla="*/ 471 w 672"/>
                <a:gd name="T83" fmla="*/ 87 h 110"/>
                <a:gd name="T84" fmla="*/ 464 w 672"/>
                <a:gd name="T85" fmla="*/ 28 h 110"/>
                <a:gd name="T86" fmla="*/ 477 w 672"/>
                <a:gd name="T87" fmla="*/ 32 h 110"/>
                <a:gd name="T88" fmla="*/ 495 w 672"/>
                <a:gd name="T89" fmla="*/ 28 h 110"/>
                <a:gd name="T90" fmla="*/ 555 w 672"/>
                <a:gd name="T91" fmla="*/ 87 h 110"/>
                <a:gd name="T92" fmla="*/ 520 w 672"/>
                <a:gd name="T93" fmla="*/ 86 h 110"/>
                <a:gd name="T94" fmla="*/ 541 w 672"/>
                <a:gd name="T95" fmla="*/ 28 h 110"/>
                <a:gd name="T96" fmla="*/ 558 w 672"/>
                <a:gd name="T97" fmla="*/ 1 h 110"/>
                <a:gd name="T98" fmla="*/ 521 w 672"/>
                <a:gd name="T99" fmla="*/ 42 h 110"/>
                <a:gd name="T100" fmla="*/ 540 w 672"/>
                <a:gd name="T101" fmla="*/ 77 h 110"/>
                <a:gd name="T102" fmla="*/ 583 w 672"/>
                <a:gd name="T103" fmla="*/ 68 h 110"/>
                <a:gd name="T104" fmla="*/ 620 w 672"/>
                <a:gd name="T105" fmla="*/ 76 h 110"/>
                <a:gd name="T106" fmla="*/ 617 w 672"/>
                <a:gd name="T107" fmla="*/ 85 h 110"/>
                <a:gd name="T108" fmla="*/ 573 w 672"/>
                <a:gd name="T109" fmla="*/ 44 h 110"/>
                <a:gd name="T110" fmla="*/ 623 w 672"/>
                <a:gd name="T111" fmla="*/ 55 h 110"/>
                <a:gd name="T112" fmla="*/ 613 w 672"/>
                <a:gd name="T113" fmla="*/ 52 h 110"/>
                <a:gd name="T114" fmla="*/ 665 w 672"/>
                <a:gd name="T115" fmla="*/ 36 h 110"/>
                <a:gd name="T116" fmla="*/ 648 w 672"/>
                <a:gd name="T117" fmla="*/ 87 h 110"/>
                <a:gd name="T118" fmla="*/ 639 w 672"/>
                <a:gd name="T119" fmla="*/ 28 h 110"/>
                <a:gd name="T120" fmla="*/ 648 w 672"/>
                <a:gd name="T121" fmla="*/ 37 h 110"/>
                <a:gd name="T122" fmla="*/ 671 w 672"/>
                <a:gd name="T123" fmla="*/ 2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2" h="110">
                  <a:moveTo>
                    <a:pt x="61" y="57"/>
                  </a:moveTo>
                  <a:cubicBezTo>
                    <a:pt x="61" y="62"/>
                    <a:pt x="60" y="66"/>
                    <a:pt x="59" y="70"/>
                  </a:cubicBezTo>
                  <a:cubicBezTo>
                    <a:pt x="57" y="74"/>
                    <a:pt x="55" y="77"/>
                    <a:pt x="53" y="80"/>
                  </a:cubicBezTo>
                  <a:cubicBezTo>
                    <a:pt x="50" y="83"/>
                    <a:pt x="47" y="85"/>
                    <a:pt x="43" y="86"/>
                  </a:cubicBezTo>
                  <a:cubicBezTo>
                    <a:pt x="39" y="87"/>
                    <a:pt x="35" y="88"/>
                    <a:pt x="30" y="88"/>
                  </a:cubicBezTo>
                  <a:cubicBezTo>
                    <a:pt x="25" y="88"/>
                    <a:pt x="21" y="87"/>
                    <a:pt x="18" y="86"/>
                  </a:cubicBezTo>
                  <a:cubicBezTo>
                    <a:pt x="14" y="85"/>
                    <a:pt x="11" y="83"/>
                    <a:pt x="8" y="80"/>
                  </a:cubicBezTo>
                  <a:cubicBezTo>
                    <a:pt x="6" y="78"/>
                    <a:pt x="4" y="75"/>
                    <a:pt x="2" y="71"/>
                  </a:cubicBezTo>
                  <a:cubicBezTo>
                    <a:pt x="1" y="67"/>
                    <a:pt x="0" y="63"/>
                    <a:pt x="0" y="58"/>
                  </a:cubicBezTo>
                  <a:lnTo>
                    <a:pt x="0" y="8"/>
                  </a:lnTo>
                  <a:cubicBezTo>
                    <a:pt x="0" y="7"/>
                    <a:pt x="0" y="7"/>
                    <a:pt x="0" y="7"/>
                  </a:cubicBezTo>
                  <a:cubicBezTo>
                    <a:pt x="0" y="7"/>
                    <a:pt x="1" y="6"/>
                    <a:pt x="1" y="6"/>
                  </a:cubicBezTo>
                  <a:cubicBezTo>
                    <a:pt x="2" y="6"/>
                    <a:pt x="2" y="6"/>
                    <a:pt x="3" y="6"/>
                  </a:cubicBezTo>
                  <a:cubicBezTo>
                    <a:pt x="3" y="6"/>
                    <a:pt x="4" y="6"/>
                    <a:pt x="5" y="6"/>
                  </a:cubicBezTo>
                  <a:cubicBezTo>
                    <a:pt x="6" y="6"/>
                    <a:pt x="7" y="6"/>
                    <a:pt x="8" y="6"/>
                  </a:cubicBezTo>
                  <a:cubicBezTo>
                    <a:pt x="9" y="6"/>
                    <a:pt x="9" y="6"/>
                    <a:pt x="10" y="6"/>
                  </a:cubicBezTo>
                  <a:cubicBezTo>
                    <a:pt x="10" y="6"/>
                    <a:pt x="10" y="7"/>
                    <a:pt x="10" y="7"/>
                  </a:cubicBezTo>
                  <a:cubicBezTo>
                    <a:pt x="11" y="7"/>
                    <a:pt x="11" y="7"/>
                    <a:pt x="11" y="8"/>
                  </a:cubicBezTo>
                  <a:lnTo>
                    <a:pt x="11" y="57"/>
                  </a:lnTo>
                  <a:cubicBezTo>
                    <a:pt x="11" y="60"/>
                    <a:pt x="11" y="64"/>
                    <a:pt x="12" y="66"/>
                  </a:cubicBezTo>
                  <a:cubicBezTo>
                    <a:pt x="13" y="69"/>
                    <a:pt x="14" y="71"/>
                    <a:pt x="16" y="73"/>
                  </a:cubicBezTo>
                  <a:cubicBezTo>
                    <a:pt x="18" y="75"/>
                    <a:pt x="20" y="77"/>
                    <a:pt x="22" y="77"/>
                  </a:cubicBezTo>
                  <a:cubicBezTo>
                    <a:pt x="25" y="78"/>
                    <a:pt x="27" y="79"/>
                    <a:pt x="31" y="79"/>
                  </a:cubicBezTo>
                  <a:cubicBezTo>
                    <a:pt x="34" y="79"/>
                    <a:pt x="36" y="78"/>
                    <a:pt x="39" y="78"/>
                  </a:cubicBezTo>
                  <a:cubicBezTo>
                    <a:pt x="41" y="77"/>
                    <a:pt x="43" y="75"/>
                    <a:pt x="45" y="73"/>
                  </a:cubicBezTo>
                  <a:cubicBezTo>
                    <a:pt x="47" y="72"/>
                    <a:pt x="48" y="69"/>
                    <a:pt x="49" y="67"/>
                  </a:cubicBezTo>
                  <a:cubicBezTo>
                    <a:pt x="50" y="64"/>
                    <a:pt x="50" y="61"/>
                    <a:pt x="50" y="57"/>
                  </a:cubicBezTo>
                  <a:lnTo>
                    <a:pt x="50" y="8"/>
                  </a:lnTo>
                  <a:cubicBezTo>
                    <a:pt x="50" y="7"/>
                    <a:pt x="50" y="7"/>
                    <a:pt x="51" y="7"/>
                  </a:cubicBezTo>
                  <a:cubicBezTo>
                    <a:pt x="51" y="7"/>
                    <a:pt x="51" y="6"/>
                    <a:pt x="51" y="6"/>
                  </a:cubicBezTo>
                  <a:cubicBezTo>
                    <a:pt x="52" y="6"/>
                    <a:pt x="52" y="6"/>
                    <a:pt x="53" y="6"/>
                  </a:cubicBezTo>
                  <a:cubicBezTo>
                    <a:pt x="54" y="6"/>
                    <a:pt x="55" y="6"/>
                    <a:pt x="56" y="6"/>
                  </a:cubicBezTo>
                  <a:cubicBezTo>
                    <a:pt x="57" y="6"/>
                    <a:pt x="58" y="6"/>
                    <a:pt x="58" y="6"/>
                  </a:cubicBezTo>
                  <a:cubicBezTo>
                    <a:pt x="59" y="6"/>
                    <a:pt x="59" y="6"/>
                    <a:pt x="60" y="6"/>
                  </a:cubicBezTo>
                  <a:cubicBezTo>
                    <a:pt x="60" y="6"/>
                    <a:pt x="61" y="7"/>
                    <a:pt x="61" y="7"/>
                  </a:cubicBezTo>
                  <a:cubicBezTo>
                    <a:pt x="61" y="7"/>
                    <a:pt x="61" y="7"/>
                    <a:pt x="61" y="8"/>
                  </a:cubicBezTo>
                  <a:lnTo>
                    <a:pt x="61" y="57"/>
                  </a:lnTo>
                  <a:close/>
                  <a:moveTo>
                    <a:pt x="131" y="56"/>
                  </a:moveTo>
                  <a:cubicBezTo>
                    <a:pt x="131" y="61"/>
                    <a:pt x="130" y="66"/>
                    <a:pt x="129" y="70"/>
                  </a:cubicBezTo>
                  <a:cubicBezTo>
                    <a:pt x="128" y="73"/>
                    <a:pt x="127" y="77"/>
                    <a:pt x="124" y="80"/>
                  </a:cubicBezTo>
                  <a:cubicBezTo>
                    <a:pt x="122" y="82"/>
                    <a:pt x="120" y="84"/>
                    <a:pt x="117" y="86"/>
                  </a:cubicBezTo>
                  <a:cubicBezTo>
                    <a:pt x="114" y="87"/>
                    <a:pt x="110" y="88"/>
                    <a:pt x="106" y="88"/>
                  </a:cubicBezTo>
                  <a:cubicBezTo>
                    <a:pt x="105" y="88"/>
                    <a:pt x="103" y="88"/>
                    <a:pt x="102" y="88"/>
                  </a:cubicBezTo>
                  <a:cubicBezTo>
                    <a:pt x="100" y="87"/>
                    <a:pt x="99" y="87"/>
                    <a:pt x="98" y="86"/>
                  </a:cubicBezTo>
                  <a:cubicBezTo>
                    <a:pt x="96" y="85"/>
                    <a:pt x="95" y="84"/>
                    <a:pt x="94" y="83"/>
                  </a:cubicBezTo>
                  <a:cubicBezTo>
                    <a:pt x="92" y="82"/>
                    <a:pt x="91" y="81"/>
                    <a:pt x="89" y="80"/>
                  </a:cubicBezTo>
                  <a:lnTo>
                    <a:pt x="89" y="108"/>
                  </a:lnTo>
                  <a:cubicBezTo>
                    <a:pt x="89" y="108"/>
                    <a:pt x="89" y="108"/>
                    <a:pt x="89" y="109"/>
                  </a:cubicBezTo>
                  <a:cubicBezTo>
                    <a:pt x="89" y="109"/>
                    <a:pt x="89" y="109"/>
                    <a:pt x="88" y="109"/>
                  </a:cubicBezTo>
                  <a:cubicBezTo>
                    <a:pt x="88" y="109"/>
                    <a:pt x="87" y="109"/>
                    <a:pt x="87" y="110"/>
                  </a:cubicBezTo>
                  <a:cubicBezTo>
                    <a:pt x="86" y="110"/>
                    <a:pt x="85" y="110"/>
                    <a:pt x="84" y="110"/>
                  </a:cubicBezTo>
                  <a:cubicBezTo>
                    <a:pt x="83" y="110"/>
                    <a:pt x="82" y="110"/>
                    <a:pt x="82" y="110"/>
                  </a:cubicBezTo>
                  <a:cubicBezTo>
                    <a:pt x="81" y="109"/>
                    <a:pt x="80" y="109"/>
                    <a:pt x="80" y="109"/>
                  </a:cubicBezTo>
                  <a:cubicBezTo>
                    <a:pt x="80" y="109"/>
                    <a:pt x="79" y="109"/>
                    <a:pt x="79" y="109"/>
                  </a:cubicBezTo>
                  <a:cubicBezTo>
                    <a:pt x="79" y="108"/>
                    <a:pt x="79" y="108"/>
                    <a:pt x="79" y="108"/>
                  </a:cubicBezTo>
                  <a:lnTo>
                    <a:pt x="79" y="29"/>
                  </a:lnTo>
                  <a:cubicBezTo>
                    <a:pt x="79" y="29"/>
                    <a:pt x="79" y="28"/>
                    <a:pt x="79" y="28"/>
                  </a:cubicBezTo>
                  <a:cubicBezTo>
                    <a:pt x="79" y="28"/>
                    <a:pt x="80" y="28"/>
                    <a:pt x="80" y="28"/>
                  </a:cubicBezTo>
                  <a:cubicBezTo>
                    <a:pt x="80" y="27"/>
                    <a:pt x="81" y="27"/>
                    <a:pt x="81" y="27"/>
                  </a:cubicBezTo>
                  <a:cubicBezTo>
                    <a:pt x="82" y="27"/>
                    <a:pt x="83" y="27"/>
                    <a:pt x="83" y="27"/>
                  </a:cubicBezTo>
                  <a:cubicBezTo>
                    <a:pt x="84" y="27"/>
                    <a:pt x="85" y="27"/>
                    <a:pt x="86" y="27"/>
                  </a:cubicBezTo>
                  <a:cubicBezTo>
                    <a:pt x="86" y="27"/>
                    <a:pt x="87" y="27"/>
                    <a:pt x="87" y="28"/>
                  </a:cubicBezTo>
                  <a:cubicBezTo>
                    <a:pt x="87" y="28"/>
                    <a:pt x="88" y="28"/>
                    <a:pt x="88" y="28"/>
                  </a:cubicBezTo>
                  <a:cubicBezTo>
                    <a:pt x="88" y="28"/>
                    <a:pt x="88" y="29"/>
                    <a:pt x="88" y="29"/>
                  </a:cubicBezTo>
                  <a:lnTo>
                    <a:pt x="88" y="37"/>
                  </a:lnTo>
                  <a:cubicBezTo>
                    <a:pt x="90" y="35"/>
                    <a:pt x="91" y="33"/>
                    <a:pt x="93" y="32"/>
                  </a:cubicBezTo>
                  <a:cubicBezTo>
                    <a:pt x="95" y="31"/>
                    <a:pt x="96" y="30"/>
                    <a:pt x="98" y="29"/>
                  </a:cubicBezTo>
                  <a:cubicBezTo>
                    <a:pt x="99" y="28"/>
                    <a:pt x="101" y="27"/>
                    <a:pt x="103" y="27"/>
                  </a:cubicBezTo>
                  <a:cubicBezTo>
                    <a:pt x="104" y="26"/>
                    <a:pt x="106" y="26"/>
                    <a:pt x="108" y="26"/>
                  </a:cubicBezTo>
                  <a:cubicBezTo>
                    <a:pt x="112" y="26"/>
                    <a:pt x="116" y="27"/>
                    <a:pt x="118" y="29"/>
                  </a:cubicBezTo>
                  <a:cubicBezTo>
                    <a:pt x="121" y="30"/>
                    <a:pt x="124" y="32"/>
                    <a:pt x="126" y="35"/>
                  </a:cubicBezTo>
                  <a:cubicBezTo>
                    <a:pt x="127" y="38"/>
                    <a:pt x="129" y="41"/>
                    <a:pt x="129" y="45"/>
                  </a:cubicBezTo>
                  <a:cubicBezTo>
                    <a:pt x="130" y="48"/>
                    <a:pt x="131" y="52"/>
                    <a:pt x="131" y="56"/>
                  </a:cubicBezTo>
                  <a:close/>
                  <a:moveTo>
                    <a:pt x="120" y="58"/>
                  </a:moveTo>
                  <a:cubicBezTo>
                    <a:pt x="120" y="55"/>
                    <a:pt x="120" y="52"/>
                    <a:pt x="119" y="49"/>
                  </a:cubicBezTo>
                  <a:cubicBezTo>
                    <a:pt x="119" y="46"/>
                    <a:pt x="118" y="44"/>
                    <a:pt x="117" y="42"/>
                  </a:cubicBezTo>
                  <a:cubicBezTo>
                    <a:pt x="116" y="40"/>
                    <a:pt x="115" y="38"/>
                    <a:pt x="113" y="37"/>
                  </a:cubicBezTo>
                  <a:cubicBezTo>
                    <a:pt x="111" y="36"/>
                    <a:pt x="109" y="35"/>
                    <a:pt x="106" y="35"/>
                  </a:cubicBezTo>
                  <a:cubicBezTo>
                    <a:pt x="105" y="35"/>
                    <a:pt x="103" y="35"/>
                    <a:pt x="102" y="36"/>
                  </a:cubicBezTo>
                  <a:cubicBezTo>
                    <a:pt x="101" y="36"/>
                    <a:pt x="99" y="37"/>
                    <a:pt x="98" y="38"/>
                  </a:cubicBezTo>
                  <a:cubicBezTo>
                    <a:pt x="97" y="38"/>
                    <a:pt x="95" y="40"/>
                    <a:pt x="94" y="41"/>
                  </a:cubicBezTo>
                  <a:cubicBezTo>
                    <a:pt x="92" y="42"/>
                    <a:pt x="91" y="44"/>
                    <a:pt x="89" y="46"/>
                  </a:cubicBezTo>
                  <a:lnTo>
                    <a:pt x="89" y="69"/>
                  </a:lnTo>
                  <a:cubicBezTo>
                    <a:pt x="92" y="72"/>
                    <a:pt x="95" y="75"/>
                    <a:pt x="97" y="76"/>
                  </a:cubicBezTo>
                  <a:cubicBezTo>
                    <a:pt x="100" y="78"/>
                    <a:pt x="103" y="79"/>
                    <a:pt x="105" y="79"/>
                  </a:cubicBezTo>
                  <a:cubicBezTo>
                    <a:pt x="108" y="79"/>
                    <a:pt x="110" y="79"/>
                    <a:pt x="112" y="77"/>
                  </a:cubicBezTo>
                  <a:cubicBezTo>
                    <a:pt x="114" y="76"/>
                    <a:pt x="116" y="74"/>
                    <a:pt x="117" y="72"/>
                  </a:cubicBezTo>
                  <a:cubicBezTo>
                    <a:pt x="118" y="70"/>
                    <a:pt x="119" y="68"/>
                    <a:pt x="119" y="65"/>
                  </a:cubicBezTo>
                  <a:cubicBezTo>
                    <a:pt x="120" y="63"/>
                    <a:pt x="120" y="60"/>
                    <a:pt x="120" y="58"/>
                  </a:cubicBezTo>
                  <a:close/>
                  <a:moveTo>
                    <a:pt x="191" y="85"/>
                  </a:moveTo>
                  <a:cubicBezTo>
                    <a:pt x="191" y="86"/>
                    <a:pt x="191" y="86"/>
                    <a:pt x="191" y="86"/>
                  </a:cubicBezTo>
                  <a:cubicBezTo>
                    <a:pt x="191" y="86"/>
                    <a:pt x="191" y="87"/>
                    <a:pt x="190" y="87"/>
                  </a:cubicBezTo>
                  <a:cubicBezTo>
                    <a:pt x="190" y="87"/>
                    <a:pt x="189" y="87"/>
                    <a:pt x="189" y="87"/>
                  </a:cubicBezTo>
                  <a:cubicBezTo>
                    <a:pt x="188" y="87"/>
                    <a:pt x="187" y="87"/>
                    <a:pt x="187" y="87"/>
                  </a:cubicBezTo>
                  <a:cubicBezTo>
                    <a:pt x="186" y="87"/>
                    <a:pt x="185" y="87"/>
                    <a:pt x="184" y="87"/>
                  </a:cubicBezTo>
                  <a:cubicBezTo>
                    <a:pt x="184" y="87"/>
                    <a:pt x="183" y="87"/>
                    <a:pt x="183" y="87"/>
                  </a:cubicBezTo>
                  <a:cubicBezTo>
                    <a:pt x="183" y="87"/>
                    <a:pt x="182" y="86"/>
                    <a:pt x="182" y="86"/>
                  </a:cubicBezTo>
                  <a:cubicBezTo>
                    <a:pt x="182" y="86"/>
                    <a:pt x="182" y="86"/>
                    <a:pt x="182" y="85"/>
                  </a:cubicBezTo>
                  <a:lnTo>
                    <a:pt x="182" y="78"/>
                  </a:lnTo>
                  <a:cubicBezTo>
                    <a:pt x="179" y="81"/>
                    <a:pt x="176" y="84"/>
                    <a:pt x="173" y="85"/>
                  </a:cubicBezTo>
                  <a:cubicBezTo>
                    <a:pt x="170" y="87"/>
                    <a:pt x="166" y="88"/>
                    <a:pt x="162" y="88"/>
                  </a:cubicBezTo>
                  <a:cubicBezTo>
                    <a:pt x="158" y="88"/>
                    <a:pt x="155" y="87"/>
                    <a:pt x="152" y="86"/>
                  </a:cubicBezTo>
                  <a:cubicBezTo>
                    <a:pt x="149" y="84"/>
                    <a:pt x="146" y="82"/>
                    <a:pt x="145" y="79"/>
                  </a:cubicBezTo>
                  <a:cubicBezTo>
                    <a:pt x="143" y="76"/>
                    <a:pt x="141" y="73"/>
                    <a:pt x="141" y="70"/>
                  </a:cubicBezTo>
                  <a:cubicBezTo>
                    <a:pt x="140" y="66"/>
                    <a:pt x="139" y="62"/>
                    <a:pt x="139" y="58"/>
                  </a:cubicBezTo>
                  <a:cubicBezTo>
                    <a:pt x="139" y="53"/>
                    <a:pt x="140" y="49"/>
                    <a:pt x="141" y="45"/>
                  </a:cubicBezTo>
                  <a:cubicBezTo>
                    <a:pt x="142" y="41"/>
                    <a:pt x="144" y="38"/>
                    <a:pt x="146" y="35"/>
                  </a:cubicBezTo>
                  <a:cubicBezTo>
                    <a:pt x="148" y="32"/>
                    <a:pt x="150" y="30"/>
                    <a:pt x="153" y="28"/>
                  </a:cubicBezTo>
                  <a:cubicBezTo>
                    <a:pt x="156" y="27"/>
                    <a:pt x="160" y="26"/>
                    <a:pt x="164" y="26"/>
                  </a:cubicBezTo>
                  <a:cubicBezTo>
                    <a:pt x="167" y="26"/>
                    <a:pt x="170" y="27"/>
                    <a:pt x="173" y="28"/>
                  </a:cubicBezTo>
                  <a:cubicBezTo>
                    <a:pt x="175" y="30"/>
                    <a:pt x="178" y="32"/>
                    <a:pt x="181" y="35"/>
                  </a:cubicBezTo>
                  <a:lnTo>
                    <a:pt x="181" y="2"/>
                  </a:lnTo>
                  <a:cubicBezTo>
                    <a:pt x="181" y="2"/>
                    <a:pt x="181" y="1"/>
                    <a:pt x="181" y="1"/>
                  </a:cubicBezTo>
                  <a:cubicBezTo>
                    <a:pt x="181" y="1"/>
                    <a:pt x="181" y="1"/>
                    <a:pt x="182" y="1"/>
                  </a:cubicBezTo>
                  <a:cubicBezTo>
                    <a:pt x="182" y="0"/>
                    <a:pt x="183" y="0"/>
                    <a:pt x="183" y="0"/>
                  </a:cubicBezTo>
                  <a:cubicBezTo>
                    <a:pt x="184" y="0"/>
                    <a:pt x="185" y="0"/>
                    <a:pt x="186" y="0"/>
                  </a:cubicBezTo>
                  <a:cubicBezTo>
                    <a:pt x="187" y="0"/>
                    <a:pt x="188" y="0"/>
                    <a:pt x="188" y="0"/>
                  </a:cubicBezTo>
                  <a:cubicBezTo>
                    <a:pt x="189" y="0"/>
                    <a:pt x="190" y="0"/>
                    <a:pt x="190" y="1"/>
                  </a:cubicBezTo>
                  <a:cubicBezTo>
                    <a:pt x="190" y="1"/>
                    <a:pt x="191" y="1"/>
                    <a:pt x="191" y="1"/>
                  </a:cubicBezTo>
                  <a:cubicBezTo>
                    <a:pt x="191" y="1"/>
                    <a:pt x="191" y="2"/>
                    <a:pt x="191" y="2"/>
                  </a:cubicBezTo>
                  <a:lnTo>
                    <a:pt x="191" y="85"/>
                  </a:lnTo>
                  <a:close/>
                  <a:moveTo>
                    <a:pt x="181" y="46"/>
                  </a:moveTo>
                  <a:cubicBezTo>
                    <a:pt x="178" y="42"/>
                    <a:pt x="175" y="40"/>
                    <a:pt x="173" y="38"/>
                  </a:cubicBezTo>
                  <a:cubicBezTo>
                    <a:pt x="170" y="36"/>
                    <a:pt x="167" y="35"/>
                    <a:pt x="165" y="35"/>
                  </a:cubicBezTo>
                  <a:cubicBezTo>
                    <a:pt x="162" y="35"/>
                    <a:pt x="160" y="36"/>
                    <a:pt x="158" y="37"/>
                  </a:cubicBezTo>
                  <a:cubicBezTo>
                    <a:pt x="156" y="38"/>
                    <a:pt x="155" y="40"/>
                    <a:pt x="153" y="42"/>
                  </a:cubicBezTo>
                  <a:cubicBezTo>
                    <a:pt x="152" y="44"/>
                    <a:pt x="151" y="46"/>
                    <a:pt x="151" y="49"/>
                  </a:cubicBezTo>
                  <a:cubicBezTo>
                    <a:pt x="150" y="51"/>
                    <a:pt x="150" y="54"/>
                    <a:pt x="150" y="57"/>
                  </a:cubicBezTo>
                  <a:cubicBezTo>
                    <a:pt x="150" y="60"/>
                    <a:pt x="150" y="62"/>
                    <a:pt x="151" y="65"/>
                  </a:cubicBezTo>
                  <a:cubicBezTo>
                    <a:pt x="151" y="68"/>
                    <a:pt x="152" y="70"/>
                    <a:pt x="153" y="72"/>
                  </a:cubicBezTo>
                  <a:cubicBezTo>
                    <a:pt x="154" y="74"/>
                    <a:pt x="156" y="76"/>
                    <a:pt x="157" y="77"/>
                  </a:cubicBezTo>
                  <a:cubicBezTo>
                    <a:pt x="159" y="79"/>
                    <a:pt x="161" y="79"/>
                    <a:pt x="164" y="79"/>
                  </a:cubicBezTo>
                  <a:cubicBezTo>
                    <a:pt x="165" y="79"/>
                    <a:pt x="167" y="79"/>
                    <a:pt x="168" y="79"/>
                  </a:cubicBezTo>
                  <a:cubicBezTo>
                    <a:pt x="169" y="78"/>
                    <a:pt x="171" y="78"/>
                    <a:pt x="172" y="77"/>
                  </a:cubicBezTo>
                  <a:cubicBezTo>
                    <a:pt x="173" y="76"/>
                    <a:pt x="175" y="75"/>
                    <a:pt x="176" y="73"/>
                  </a:cubicBezTo>
                  <a:cubicBezTo>
                    <a:pt x="178" y="72"/>
                    <a:pt x="179" y="70"/>
                    <a:pt x="181" y="68"/>
                  </a:cubicBezTo>
                  <a:lnTo>
                    <a:pt x="181" y="46"/>
                  </a:lnTo>
                  <a:close/>
                  <a:moveTo>
                    <a:pt x="265" y="85"/>
                  </a:moveTo>
                  <a:cubicBezTo>
                    <a:pt x="265" y="86"/>
                    <a:pt x="265" y="86"/>
                    <a:pt x="265" y="87"/>
                  </a:cubicBezTo>
                  <a:cubicBezTo>
                    <a:pt x="265" y="87"/>
                    <a:pt x="264" y="87"/>
                    <a:pt x="263" y="87"/>
                  </a:cubicBezTo>
                  <a:cubicBezTo>
                    <a:pt x="263" y="87"/>
                    <a:pt x="262" y="87"/>
                    <a:pt x="261" y="87"/>
                  </a:cubicBezTo>
                  <a:cubicBezTo>
                    <a:pt x="260" y="87"/>
                    <a:pt x="259" y="87"/>
                    <a:pt x="258" y="87"/>
                  </a:cubicBezTo>
                  <a:cubicBezTo>
                    <a:pt x="258" y="87"/>
                    <a:pt x="257" y="87"/>
                    <a:pt x="257" y="87"/>
                  </a:cubicBezTo>
                  <a:cubicBezTo>
                    <a:pt x="257" y="86"/>
                    <a:pt x="256" y="86"/>
                    <a:pt x="256" y="85"/>
                  </a:cubicBezTo>
                  <a:lnTo>
                    <a:pt x="256" y="80"/>
                  </a:lnTo>
                  <a:cubicBezTo>
                    <a:pt x="254" y="82"/>
                    <a:pt x="251" y="84"/>
                    <a:pt x="248" y="86"/>
                  </a:cubicBezTo>
                  <a:cubicBezTo>
                    <a:pt x="245" y="87"/>
                    <a:pt x="242" y="88"/>
                    <a:pt x="239" y="88"/>
                  </a:cubicBezTo>
                  <a:cubicBezTo>
                    <a:pt x="236" y="88"/>
                    <a:pt x="233" y="88"/>
                    <a:pt x="231" y="87"/>
                  </a:cubicBezTo>
                  <a:cubicBezTo>
                    <a:pt x="228" y="86"/>
                    <a:pt x="226" y="85"/>
                    <a:pt x="225" y="84"/>
                  </a:cubicBezTo>
                  <a:cubicBezTo>
                    <a:pt x="223" y="82"/>
                    <a:pt x="222" y="80"/>
                    <a:pt x="221" y="78"/>
                  </a:cubicBezTo>
                  <a:cubicBezTo>
                    <a:pt x="220" y="76"/>
                    <a:pt x="219" y="74"/>
                    <a:pt x="219" y="71"/>
                  </a:cubicBezTo>
                  <a:cubicBezTo>
                    <a:pt x="219" y="68"/>
                    <a:pt x="220" y="65"/>
                    <a:pt x="221" y="63"/>
                  </a:cubicBezTo>
                  <a:cubicBezTo>
                    <a:pt x="222" y="60"/>
                    <a:pt x="224" y="58"/>
                    <a:pt x="227" y="57"/>
                  </a:cubicBezTo>
                  <a:cubicBezTo>
                    <a:pt x="229" y="55"/>
                    <a:pt x="232" y="54"/>
                    <a:pt x="236" y="53"/>
                  </a:cubicBezTo>
                  <a:cubicBezTo>
                    <a:pt x="239" y="53"/>
                    <a:pt x="243" y="52"/>
                    <a:pt x="247" y="52"/>
                  </a:cubicBezTo>
                  <a:lnTo>
                    <a:pt x="255" y="52"/>
                  </a:lnTo>
                  <a:lnTo>
                    <a:pt x="255" y="48"/>
                  </a:lnTo>
                  <a:cubicBezTo>
                    <a:pt x="255" y="46"/>
                    <a:pt x="255" y="44"/>
                    <a:pt x="254" y="42"/>
                  </a:cubicBezTo>
                  <a:cubicBezTo>
                    <a:pt x="254" y="40"/>
                    <a:pt x="253" y="39"/>
                    <a:pt x="252" y="38"/>
                  </a:cubicBezTo>
                  <a:cubicBezTo>
                    <a:pt x="251" y="37"/>
                    <a:pt x="250" y="36"/>
                    <a:pt x="248" y="35"/>
                  </a:cubicBezTo>
                  <a:cubicBezTo>
                    <a:pt x="247" y="35"/>
                    <a:pt x="245" y="35"/>
                    <a:pt x="242" y="35"/>
                  </a:cubicBezTo>
                  <a:cubicBezTo>
                    <a:pt x="240" y="35"/>
                    <a:pt x="237" y="35"/>
                    <a:pt x="235" y="36"/>
                  </a:cubicBezTo>
                  <a:cubicBezTo>
                    <a:pt x="233" y="36"/>
                    <a:pt x="232" y="37"/>
                    <a:pt x="230" y="38"/>
                  </a:cubicBezTo>
                  <a:cubicBezTo>
                    <a:pt x="229" y="38"/>
                    <a:pt x="227" y="39"/>
                    <a:pt x="226" y="40"/>
                  </a:cubicBezTo>
                  <a:cubicBezTo>
                    <a:pt x="225" y="40"/>
                    <a:pt x="224" y="40"/>
                    <a:pt x="224" y="40"/>
                  </a:cubicBezTo>
                  <a:cubicBezTo>
                    <a:pt x="224" y="40"/>
                    <a:pt x="223" y="40"/>
                    <a:pt x="223" y="40"/>
                  </a:cubicBezTo>
                  <a:cubicBezTo>
                    <a:pt x="223" y="40"/>
                    <a:pt x="223" y="40"/>
                    <a:pt x="222" y="39"/>
                  </a:cubicBezTo>
                  <a:cubicBezTo>
                    <a:pt x="222" y="39"/>
                    <a:pt x="222" y="39"/>
                    <a:pt x="222" y="38"/>
                  </a:cubicBezTo>
                  <a:cubicBezTo>
                    <a:pt x="222" y="38"/>
                    <a:pt x="222" y="37"/>
                    <a:pt x="222" y="36"/>
                  </a:cubicBezTo>
                  <a:cubicBezTo>
                    <a:pt x="222" y="35"/>
                    <a:pt x="222" y="35"/>
                    <a:pt x="222" y="34"/>
                  </a:cubicBezTo>
                  <a:cubicBezTo>
                    <a:pt x="222" y="33"/>
                    <a:pt x="223" y="33"/>
                    <a:pt x="223" y="32"/>
                  </a:cubicBezTo>
                  <a:cubicBezTo>
                    <a:pt x="224" y="32"/>
                    <a:pt x="225" y="31"/>
                    <a:pt x="226" y="30"/>
                  </a:cubicBezTo>
                  <a:cubicBezTo>
                    <a:pt x="227" y="30"/>
                    <a:pt x="229" y="29"/>
                    <a:pt x="231" y="28"/>
                  </a:cubicBezTo>
                  <a:cubicBezTo>
                    <a:pt x="233" y="28"/>
                    <a:pt x="235" y="27"/>
                    <a:pt x="237" y="27"/>
                  </a:cubicBezTo>
                  <a:cubicBezTo>
                    <a:pt x="239" y="26"/>
                    <a:pt x="241" y="26"/>
                    <a:pt x="243" y="26"/>
                  </a:cubicBezTo>
                  <a:cubicBezTo>
                    <a:pt x="247" y="26"/>
                    <a:pt x="251" y="27"/>
                    <a:pt x="253" y="28"/>
                  </a:cubicBezTo>
                  <a:cubicBezTo>
                    <a:pt x="256" y="29"/>
                    <a:pt x="259" y="30"/>
                    <a:pt x="260" y="32"/>
                  </a:cubicBezTo>
                  <a:cubicBezTo>
                    <a:pt x="262" y="33"/>
                    <a:pt x="263" y="36"/>
                    <a:pt x="264" y="38"/>
                  </a:cubicBezTo>
                  <a:cubicBezTo>
                    <a:pt x="265" y="41"/>
                    <a:pt x="265" y="44"/>
                    <a:pt x="265" y="47"/>
                  </a:cubicBezTo>
                  <a:lnTo>
                    <a:pt x="265" y="85"/>
                  </a:lnTo>
                  <a:close/>
                  <a:moveTo>
                    <a:pt x="255" y="60"/>
                  </a:moveTo>
                  <a:lnTo>
                    <a:pt x="246" y="60"/>
                  </a:lnTo>
                  <a:cubicBezTo>
                    <a:pt x="243" y="60"/>
                    <a:pt x="241" y="60"/>
                    <a:pt x="239" y="60"/>
                  </a:cubicBezTo>
                  <a:cubicBezTo>
                    <a:pt x="237" y="61"/>
                    <a:pt x="235" y="62"/>
                    <a:pt x="234" y="63"/>
                  </a:cubicBezTo>
                  <a:cubicBezTo>
                    <a:pt x="232" y="63"/>
                    <a:pt x="231" y="65"/>
                    <a:pt x="231" y="66"/>
                  </a:cubicBezTo>
                  <a:cubicBezTo>
                    <a:pt x="230" y="67"/>
                    <a:pt x="230" y="69"/>
                    <a:pt x="230" y="70"/>
                  </a:cubicBezTo>
                  <a:cubicBezTo>
                    <a:pt x="230" y="73"/>
                    <a:pt x="231" y="76"/>
                    <a:pt x="233" y="77"/>
                  </a:cubicBezTo>
                  <a:cubicBezTo>
                    <a:pt x="234" y="79"/>
                    <a:pt x="237" y="80"/>
                    <a:pt x="240" y="80"/>
                  </a:cubicBezTo>
                  <a:cubicBezTo>
                    <a:pt x="243" y="80"/>
                    <a:pt x="246" y="79"/>
                    <a:pt x="248" y="78"/>
                  </a:cubicBezTo>
                  <a:cubicBezTo>
                    <a:pt x="250" y="77"/>
                    <a:pt x="253" y="74"/>
                    <a:pt x="255" y="72"/>
                  </a:cubicBezTo>
                  <a:lnTo>
                    <a:pt x="255" y="60"/>
                  </a:lnTo>
                  <a:close/>
                  <a:moveTo>
                    <a:pt x="300" y="81"/>
                  </a:moveTo>
                  <a:cubicBezTo>
                    <a:pt x="300" y="82"/>
                    <a:pt x="300" y="83"/>
                    <a:pt x="300" y="84"/>
                  </a:cubicBezTo>
                  <a:cubicBezTo>
                    <a:pt x="300" y="85"/>
                    <a:pt x="300" y="85"/>
                    <a:pt x="299" y="86"/>
                  </a:cubicBezTo>
                  <a:cubicBezTo>
                    <a:pt x="299" y="86"/>
                    <a:pt x="298" y="86"/>
                    <a:pt x="298" y="87"/>
                  </a:cubicBezTo>
                  <a:cubicBezTo>
                    <a:pt x="297" y="87"/>
                    <a:pt x="296" y="87"/>
                    <a:pt x="295" y="87"/>
                  </a:cubicBezTo>
                  <a:cubicBezTo>
                    <a:pt x="295" y="87"/>
                    <a:pt x="294" y="88"/>
                    <a:pt x="293" y="88"/>
                  </a:cubicBezTo>
                  <a:cubicBezTo>
                    <a:pt x="292" y="88"/>
                    <a:pt x="291" y="88"/>
                    <a:pt x="290" y="88"/>
                  </a:cubicBezTo>
                  <a:cubicBezTo>
                    <a:pt x="287" y="88"/>
                    <a:pt x="284" y="88"/>
                    <a:pt x="282" y="87"/>
                  </a:cubicBezTo>
                  <a:cubicBezTo>
                    <a:pt x="280" y="86"/>
                    <a:pt x="279" y="85"/>
                    <a:pt x="277" y="83"/>
                  </a:cubicBezTo>
                  <a:cubicBezTo>
                    <a:pt x="276" y="82"/>
                    <a:pt x="275" y="80"/>
                    <a:pt x="274" y="77"/>
                  </a:cubicBezTo>
                  <a:cubicBezTo>
                    <a:pt x="274" y="75"/>
                    <a:pt x="273" y="72"/>
                    <a:pt x="273" y="69"/>
                  </a:cubicBezTo>
                  <a:lnTo>
                    <a:pt x="273" y="36"/>
                  </a:lnTo>
                  <a:lnTo>
                    <a:pt x="266" y="36"/>
                  </a:lnTo>
                  <a:cubicBezTo>
                    <a:pt x="265" y="36"/>
                    <a:pt x="264" y="36"/>
                    <a:pt x="264" y="35"/>
                  </a:cubicBezTo>
                  <a:cubicBezTo>
                    <a:pt x="264" y="34"/>
                    <a:pt x="263" y="33"/>
                    <a:pt x="263" y="32"/>
                  </a:cubicBezTo>
                  <a:cubicBezTo>
                    <a:pt x="263" y="31"/>
                    <a:pt x="264" y="30"/>
                    <a:pt x="264" y="30"/>
                  </a:cubicBezTo>
                  <a:cubicBezTo>
                    <a:pt x="264" y="29"/>
                    <a:pt x="264" y="29"/>
                    <a:pt x="264" y="28"/>
                  </a:cubicBezTo>
                  <a:cubicBezTo>
                    <a:pt x="264" y="28"/>
                    <a:pt x="264" y="28"/>
                    <a:pt x="265" y="28"/>
                  </a:cubicBezTo>
                  <a:cubicBezTo>
                    <a:pt x="265" y="28"/>
                    <a:pt x="265" y="27"/>
                    <a:pt x="266" y="27"/>
                  </a:cubicBezTo>
                  <a:lnTo>
                    <a:pt x="273" y="27"/>
                  </a:lnTo>
                  <a:lnTo>
                    <a:pt x="273" y="14"/>
                  </a:lnTo>
                  <a:cubicBezTo>
                    <a:pt x="273" y="14"/>
                    <a:pt x="273" y="14"/>
                    <a:pt x="274" y="13"/>
                  </a:cubicBezTo>
                  <a:cubicBezTo>
                    <a:pt x="274" y="13"/>
                    <a:pt x="274" y="13"/>
                    <a:pt x="274" y="13"/>
                  </a:cubicBezTo>
                  <a:cubicBezTo>
                    <a:pt x="275" y="12"/>
                    <a:pt x="275" y="12"/>
                    <a:pt x="276" y="12"/>
                  </a:cubicBezTo>
                  <a:cubicBezTo>
                    <a:pt x="277" y="12"/>
                    <a:pt x="278" y="12"/>
                    <a:pt x="279" y="12"/>
                  </a:cubicBezTo>
                  <a:cubicBezTo>
                    <a:pt x="280" y="12"/>
                    <a:pt x="280" y="12"/>
                    <a:pt x="281" y="12"/>
                  </a:cubicBezTo>
                  <a:cubicBezTo>
                    <a:pt x="282" y="12"/>
                    <a:pt x="282" y="12"/>
                    <a:pt x="283" y="13"/>
                  </a:cubicBezTo>
                  <a:cubicBezTo>
                    <a:pt x="283" y="13"/>
                    <a:pt x="283" y="13"/>
                    <a:pt x="283" y="13"/>
                  </a:cubicBezTo>
                  <a:cubicBezTo>
                    <a:pt x="284" y="14"/>
                    <a:pt x="284" y="14"/>
                    <a:pt x="284" y="14"/>
                  </a:cubicBezTo>
                  <a:lnTo>
                    <a:pt x="284" y="27"/>
                  </a:lnTo>
                  <a:lnTo>
                    <a:pt x="298" y="27"/>
                  </a:lnTo>
                  <a:cubicBezTo>
                    <a:pt x="298" y="27"/>
                    <a:pt x="299" y="28"/>
                    <a:pt x="299" y="28"/>
                  </a:cubicBezTo>
                  <a:cubicBezTo>
                    <a:pt x="299" y="28"/>
                    <a:pt x="300" y="28"/>
                    <a:pt x="300" y="28"/>
                  </a:cubicBezTo>
                  <a:cubicBezTo>
                    <a:pt x="300" y="29"/>
                    <a:pt x="300" y="29"/>
                    <a:pt x="300" y="30"/>
                  </a:cubicBezTo>
                  <a:cubicBezTo>
                    <a:pt x="300" y="30"/>
                    <a:pt x="300" y="31"/>
                    <a:pt x="300" y="32"/>
                  </a:cubicBezTo>
                  <a:cubicBezTo>
                    <a:pt x="300" y="33"/>
                    <a:pt x="300" y="34"/>
                    <a:pt x="300" y="35"/>
                  </a:cubicBezTo>
                  <a:cubicBezTo>
                    <a:pt x="299" y="36"/>
                    <a:pt x="299" y="36"/>
                    <a:pt x="298" y="36"/>
                  </a:cubicBezTo>
                  <a:lnTo>
                    <a:pt x="284" y="36"/>
                  </a:lnTo>
                  <a:lnTo>
                    <a:pt x="284" y="67"/>
                  </a:lnTo>
                  <a:cubicBezTo>
                    <a:pt x="284" y="71"/>
                    <a:pt x="284" y="74"/>
                    <a:pt x="285" y="76"/>
                  </a:cubicBezTo>
                  <a:cubicBezTo>
                    <a:pt x="287" y="78"/>
                    <a:pt x="289" y="79"/>
                    <a:pt x="292" y="79"/>
                  </a:cubicBezTo>
                  <a:cubicBezTo>
                    <a:pt x="293" y="79"/>
                    <a:pt x="293" y="79"/>
                    <a:pt x="294" y="79"/>
                  </a:cubicBezTo>
                  <a:cubicBezTo>
                    <a:pt x="295" y="79"/>
                    <a:pt x="296" y="78"/>
                    <a:pt x="296" y="78"/>
                  </a:cubicBezTo>
                  <a:cubicBezTo>
                    <a:pt x="297" y="78"/>
                    <a:pt x="297" y="78"/>
                    <a:pt x="298" y="78"/>
                  </a:cubicBezTo>
                  <a:cubicBezTo>
                    <a:pt x="298" y="77"/>
                    <a:pt x="298" y="77"/>
                    <a:pt x="299" y="77"/>
                  </a:cubicBezTo>
                  <a:cubicBezTo>
                    <a:pt x="299" y="77"/>
                    <a:pt x="299" y="77"/>
                    <a:pt x="299" y="78"/>
                  </a:cubicBezTo>
                  <a:cubicBezTo>
                    <a:pt x="300" y="78"/>
                    <a:pt x="300" y="78"/>
                    <a:pt x="300" y="78"/>
                  </a:cubicBezTo>
                  <a:cubicBezTo>
                    <a:pt x="300" y="78"/>
                    <a:pt x="300" y="79"/>
                    <a:pt x="300" y="79"/>
                  </a:cubicBezTo>
                  <a:cubicBezTo>
                    <a:pt x="300" y="80"/>
                    <a:pt x="300" y="80"/>
                    <a:pt x="300" y="81"/>
                  </a:cubicBezTo>
                  <a:close/>
                  <a:moveTo>
                    <a:pt x="367" y="55"/>
                  </a:moveTo>
                  <a:cubicBezTo>
                    <a:pt x="367" y="56"/>
                    <a:pt x="367" y="58"/>
                    <a:pt x="366" y="58"/>
                  </a:cubicBezTo>
                  <a:cubicBezTo>
                    <a:pt x="365" y="59"/>
                    <a:pt x="364" y="59"/>
                    <a:pt x="363" y="59"/>
                  </a:cubicBezTo>
                  <a:lnTo>
                    <a:pt x="326" y="59"/>
                  </a:lnTo>
                  <a:cubicBezTo>
                    <a:pt x="326" y="62"/>
                    <a:pt x="326" y="65"/>
                    <a:pt x="327" y="68"/>
                  </a:cubicBezTo>
                  <a:cubicBezTo>
                    <a:pt x="327" y="70"/>
                    <a:pt x="329" y="72"/>
                    <a:pt x="330" y="74"/>
                  </a:cubicBezTo>
                  <a:cubicBezTo>
                    <a:pt x="331" y="76"/>
                    <a:pt x="333" y="77"/>
                    <a:pt x="336" y="78"/>
                  </a:cubicBezTo>
                  <a:cubicBezTo>
                    <a:pt x="338" y="79"/>
                    <a:pt x="341" y="80"/>
                    <a:pt x="344" y="80"/>
                  </a:cubicBezTo>
                  <a:cubicBezTo>
                    <a:pt x="347" y="80"/>
                    <a:pt x="349" y="79"/>
                    <a:pt x="351" y="79"/>
                  </a:cubicBezTo>
                  <a:cubicBezTo>
                    <a:pt x="354" y="79"/>
                    <a:pt x="355" y="78"/>
                    <a:pt x="357" y="78"/>
                  </a:cubicBezTo>
                  <a:cubicBezTo>
                    <a:pt x="358" y="77"/>
                    <a:pt x="360" y="77"/>
                    <a:pt x="361" y="76"/>
                  </a:cubicBezTo>
                  <a:cubicBezTo>
                    <a:pt x="362" y="76"/>
                    <a:pt x="362" y="75"/>
                    <a:pt x="363" y="75"/>
                  </a:cubicBezTo>
                  <a:cubicBezTo>
                    <a:pt x="363" y="75"/>
                    <a:pt x="363" y="76"/>
                    <a:pt x="364" y="76"/>
                  </a:cubicBezTo>
                  <a:cubicBezTo>
                    <a:pt x="364" y="76"/>
                    <a:pt x="364" y="76"/>
                    <a:pt x="364" y="76"/>
                  </a:cubicBezTo>
                  <a:cubicBezTo>
                    <a:pt x="364" y="77"/>
                    <a:pt x="364" y="77"/>
                    <a:pt x="365" y="78"/>
                  </a:cubicBezTo>
                  <a:cubicBezTo>
                    <a:pt x="365" y="78"/>
                    <a:pt x="365" y="79"/>
                    <a:pt x="365" y="79"/>
                  </a:cubicBezTo>
                  <a:cubicBezTo>
                    <a:pt x="365" y="80"/>
                    <a:pt x="365" y="80"/>
                    <a:pt x="365" y="81"/>
                  </a:cubicBezTo>
                  <a:cubicBezTo>
                    <a:pt x="364" y="81"/>
                    <a:pt x="364" y="82"/>
                    <a:pt x="364" y="82"/>
                  </a:cubicBezTo>
                  <a:cubicBezTo>
                    <a:pt x="364" y="82"/>
                    <a:pt x="364" y="83"/>
                    <a:pt x="364" y="83"/>
                  </a:cubicBezTo>
                  <a:cubicBezTo>
                    <a:pt x="364" y="83"/>
                    <a:pt x="364" y="83"/>
                    <a:pt x="364" y="83"/>
                  </a:cubicBezTo>
                  <a:cubicBezTo>
                    <a:pt x="363" y="84"/>
                    <a:pt x="363" y="84"/>
                    <a:pt x="361" y="85"/>
                  </a:cubicBezTo>
                  <a:cubicBezTo>
                    <a:pt x="360" y="85"/>
                    <a:pt x="359" y="86"/>
                    <a:pt x="357" y="86"/>
                  </a:cubicBezTo>
                  <a:cubicBezTo>
                    <a:pt x="355" y="87"/>
                    <a:pt x="353" y="87"/>
                    <a:pt x="351" y="87"/>
                  </a:cubicBezTo>
                  <a:cubicBezTo>
                    <a:pt x="349" y="88"/>
                    <a:pt x="346" y="88"/>
                    <a:pt x="343" y="88"/>
                  </a:cubicBezTo>
                  <a:cubicBezTo>
                    <a:pt x="339" y="88"/>
                    <a:pt x="335" y="87"/>
                    <a:pt x="331" y="86"/>
                  </a:cubicBezTo>
                  <a:cubicBezTo>
                    <a:pt x="328" y="85"/>
                    <a:pt x="325" y="83"/>
                    <a:pt x="322" y="80"/>
                  </a:cubicBezTo>
                  <a:cubicBezTo>
                    <a:pt x="320" y="78"/>
                    <a:pt x="318" y="75"/>
                    <a:pt x="317" y="71"/>
                  </a:cubicBezTo>
                  <a:cubicBezTo>
                    <a:pt x="316" y="67"/>
                    <a:pt x="315" y="63"/>
                    <a:pt x="315" y="57"/>
                  </a:cubicBezTo>
                  <a:cubicBezTo>
                    <a:pt x="315" y="53"/>
                    <a:pt x="316" y="48"/>
                    <a:pt x="317" y="44"/>
                  </a:cubicBezTo>
                  <a:cubicBezTo>
                    <a:pt x="318" y="41"/>
                    <a:pt x="320" y="37"/>
                    <a:pt x="323" y="35"/>
                  </a:cubicBezTo>
                  <a:cubicBezTo>
                    <a:pt x="325" y="32"/>
                    <a:pt x="328" y="30"/>
                    <a:pt x="331" y="28"/>
                  </a:cubicBezTo>
                  <a:cubicBezTo>
                    <a:pt x="334" y="27"/>
                    <a:pt x="338" y="26"/>
                    <a:pt x="342" y="26"/>
                  </a:cubicBezTo>
                  <a:cubicBezTo>
                    <a:pt x="347" y="26"/>
                    <a:pt x="350" y="27"/>
                    <a:pt x="354" y="28"/>
                  </a:cubicBezTo>
                  <a:cubicBezTo>
                    <a:pt x="357" y="30"/>
                    <a:pt x="359" y="32"/>
                    <a:pt x="361" y="34"/>
                  </a:cubicBezTo>
                  <a:cubicBezTo>
                    <a:pt x="363" y="36"/>
                    <a:pt x="365" y="39"/>
                    <a:pt x="366" y="43"/>
                  </a:cubicBezTo>
                  <a:cubicBezTo>
                    <a:pt x="367" y="46"/>
                    <a:pt x="367" y="49"/>
                    <a:pt x="367" y="53"/>
                  </a:cubicBezTo>
                  <a:lnTo>
                    <a:pt x="367" y="55"/>
                  </a:lnTo>
                  <a:close/>
                  <a:moveTo>
                    <a:pt x="357" y="52"/>
                  </a:moveTo>
                  <a:cubicBezTo>
                    <a:pt x="357" y="46"/>
                    <a:pt x="356" y="42"/>
                    <a:pt x="353" y="39"/>
                  </a:cubicBezTo>
                  <a:cubicBezTo>
                    <a:pt x="350" y="36"/>
                    <a:pt x="347" y="34"/>
                    <a:pt x="342" y="34"/>
                  </a:cubicBezTo>
                  <a:cubicBezTo>
                    <a:pt x="339" y="34"/>
                    <a:pt x="337" y="35"/>
                    <a:pt x="335" y="36"/>
                  </a:cubicBezTo>
                  <a:cubicBezTo>
                    <a:pt x="333" y="37"/>
                    <a:pt x="331" y="38"/>
                    <a:pt x="330" y="40"/>
                  </a:cubicBezTo>
                  <a:cubicBezTo>
                    <a:pt x="329" y="41"/>
                    <a:pt x="328" y="43"/>
                    <a:pt x="327" y="45"/>
                  </a:cubicBezTo>
                  <a:cubicBezTo>
                    <a:pt x="326" y="47"/>
                    <a:pt x="326" y="49"/>
                    <a:pt x="326" y="52"/>
                  </a:cubicBezTo>
                  <a:lnTo>
                    <a:pt x="357" y="52"/>
                  </a:lnTo>
                  <a:close/>
                  <a:moveTo>
                    <a:pt x="452" y="46"/>
                  </a:moveTo>
                  <a:cubicBezTo>
                    <a:pt x="452" y="52"/>
                    <a:pt x="451" y="58"/>
                    <a:pt x="450" y="63"/>
                  </a:cubicBezTo>
                  <a:cubicBezTo>
                    <a:pt x="448" y="68"/>
                    <a:pt x="446" y="73"/>
                    <a:pt x="443" y="77"/>
                  </a:cubicBezTo>
                  <a:cubicBezTo>
                    <a:pt x="440" y="80"/>
                    <a:pt x="436" y="83"/>
                    <a:pt x="431" y="85"/>
                  </a:cubicBezTo>
                  <a:cubicBezTo>
                    <a:pt x="427" y="87"/>
                    <a:pt x="421" y="88"/>
                    <a:pt x="415" y="88"/>
                  </a:cubicBezTo>
                  <a:cubicBezTo>
                    <a:pt x="409" y="88"/>
                    <a:pt x="404" y="87"/>
                    <a:pt x="399" y="85"/>
                  </a:cubicBezTo>
                  <a:cubicBezTo>
                    <a:pt x="395" y="84"/>
                    <a:pt x="391" y="81"/>
                    <a:pt x="388" y="77"/>
                  </a:cubicBezTo>
                  <a:cubicBezTo>
                    <a:pt x="385" y="74"/>
                    <a:pt x="383" y="70"/>
                    <a:pt x="382" y="65"/>
                  </a:cubicBezTo>
                  <a:cubicBezTo>
                    <a:pt x="380" y="59"/>
                    <a:pt x="380" y="54"/>
                    <a:pt x="380" y="47"/>
                  </a:cubicBezTo>
                  <a:cubicBezTo>
                    <a:pt x="380" y="41"/>
                    <a:pt x="380" y="35"/>
                    <a:pt x="382" y="30"/>
                  </a:cubicBezTo>
                  <a:cubicBezTo>
                    <a:pt x="383" y="24"/>
                    <a:pt x="386" y="20"/>
                    <a:pt x="389" y="16"/>
                  </a:cubicBezTo>
                  <a:cubicBezTo>
                    <a:pt x="392" y="13"/>
                    <a:pt x="396" y="10"/>
                    <a:pt x="400" y="8"/>
                  </a:cubicBezTo>
                  <a:cubicBezTo>
                    <a:pt x="405" y="6"/>
                    <a:pt x="410" y="5"/>
                    <a:pt x="417" y="5"/>
                  </a:cubicBezTo>
                  <a:cubicBezTo>
                    <a:pt x="423" y="5"/>
                    <a:pt x="428" y="6"/>
                    <a:pt x="432" y="8"/>
                  </a:cubicBezTo>
                  <a:cubicBezTo>
                    <a:pt x="437" y="9"/>
                    <a:pt x="440" y="12"/>
                    <a:pt x="443" y="15"/>
                  </a:cubicBezTo>
                  <a:cubicBezTo>
                    <a:pt x="446" y="19"/>
                    <a:pt x="448" y="23"/>
                    <a:pt x="450" y="28"/>
                  </a:cubicBezTo>
                  <a:cubicBezTo>
                    <a:pt x="451" y="33"/>
                    <a:pt x="452" y="39"/>
                    <a:pt x="452" y="46"/>
                  </a:cubicBezTo>
                  <a:close/>
                  <a:moveTo>
                    <a:pt x="441" y="46"/>
                  </a:moveTo>
                  <a:cubicBezTo>
                    <a:pt x="441" y="42"/>
                    <a:pt x="440" y="37"/>
                    <a:pt x="439" y="33"/>
                  </a:cubicBezTo>
                  <a:cubicBezTo>
                    <a:pt x="439" y="30"/>
                    <a:pt x="437" y="26"/>
                    <a:pt x="435" y="23"/>
                  </a:cubicBezTo>
                  <a:cubicBezTo>
                    <a:pt x="433" y="20"/>
                    <a:pt x="431" y="18"/>
                    <a:pt x="428" y="16"/>
                  </a:cubicBezTo>
                  <a:cubicBezTo>
                    <a:pt x="425" y="15"/>
                    <a:pt x="421" y="14"/>
                    <a:pt x="416" y="14"/>
                  </a:cubicBezTo>
                  <a:cubicBezTo>
                    <a:pt x="411" y="14"/>
                    <a:pt x="407" y="15"/>
                    <a:pt x="404" y="17"/>
                  </a:cubicBezTo>
                  <a:cubicBezTo>
                    <a:pt x="401" y="18"/>
                    <a:pt x="398" y="21"/>
                    <a:pt x="397" y="24"/>
                  </a:cubicBezTo>
                  <a:cubicBezTo>
                    <a:pt x="395" y="27"/>
                    <a:pt x="393" y="30"/>
                    <a:pt x="392" y="34"/>
                  </a:cubicBezTo>
                  <a:cubicBezTo>
                    <a:pt x="391" y="38"/>
                    <a:pt x="391" y="42"/>
                    <a:pt x="391" y="46"/>
                  </a:cubicBezTo>
                  <a:cubicBezTo>
                    <a:pt x="391" y="51"/>
                    <a:pt x="391" y="55"/>
                    <a:pt x="392" y="59"/>
                  </a:cubicBezTo>
                  <a:cubicBezTo>
                    <a:pt x="393" y="63"/>
                    <a:pt x="394" y="67"/>
                    <a:pt x="396" y="70"/>
                  </a:cubicBezTo>
                  <a:cubicBezTo>
                    <a:pt x="398" y="72"/>
                    <a:pt x="401" y="75"/>
                    <a:pt x="404" y="76"/>
                  </a:cubicBezTo>
                  <a:cubicBezTo>
                    <a:pt x="407" y="78"/>
                    <a:pt x="411" y="79"/>
                    <a:pt x="416" y="79"/>
                  </a:cubicBezTo>
                  <a:cubicBezTo>
                    <a:pt x="420" y="79"/>
                    <a:pt x="424" y="78"/>
                    <a:pt x="427" y="76"/>
                  </a:cubicBezTo>
                  <a:cubicBezTo>
                    <a:pt x="431" y="74"/>
                    <a:pt x="433" y="72"/>
                    <a:pt x="435" y="69"/>
                  </a:cubicBezTo>
                  <a:cubicBezTo>
                    <a:pt x="437" y="66"/>
                    <a:pt x="438" y="63"/>
                    <a:pt x="439" y="59"/>
                  </a:cubicBezTo>
                  <a:cubicBezTo>
                    <a:pt x="440" y="55"/>
                    <a:pt x="441" y="51"/>
                    <a:pt x="441" y="46"/>
                  </a:cubicBezTo>
                  <a:close/>
                  <a:moveTo>
                    <a:pt x="496" y="33"/>
                  </a:moveTo>
                  <a:cubicBezTo>
                    <a:pt x="496" y="34"/>
                    <a:pt x="496" y="34"/>
                    <a:pt x="496" y="35"/>
                  </a:cubicBezTo>
                  <a:cubicBezTo>
                    <a:pt x="496" y="36"/>
                    <a:pt x="496" y="36"/>
                    <a:pt x="496" y="37"/>
                  </a:cubicBezTo>
                  <a:cubicBezTo>
                    <a:pt x="495" y="37"/>
                    <a:pt x="495" y="37"/>
                    <a:pt x="495" y="37"/>
                  </a:cubicBezTo>
                  <a:cubicBezTo>
                    <a:pt x="495" y="38"/>
                    <a:pt x="495" y="38"/>
                    <a:pt x="494" y="38"/>
                  </a:cubicBezTo>
                  <a:cubicBezTo>
                    <a:pt x="494" y="38"/>
                    <a:pt x="494" y="38"/>
                    <a:pt x="493" y="37"/>
                  </a:cubicBezTo>
                  <a:cubicBezTo>
                    <a:pt x="493" y="37"/>
                    <a:pt x="492" y="37"/>
                    <a:pt x="491" y="37"/>
                  </a:cubicBezTo>
                  <a:cubicBezTo>
                    <a:pt x="491" y="37"/>
                    <a:pt x="490" y="36"/>
                    <a:pt x="489" y="36"/>
                  </a:cubicBezTo>
                  <a:cubicBezTo>
                    <a:pt x="489" y="36"/>
                    <a:pt x="488" y="36"/>
                    <a:pt x="487" y="36"/>
                  </a:cubicBezTo>
                  <a:cubicBezTo>
                    <a:pt x="486" y="36"/>
                    <a:pt x="485" y="36"/>
                    <a:pt x="484" y="37"/>
                  </a:cubicBezTo>
                  <a:cubicBezTo>
                    <a:pt x="483" y="37"/>
                    <a:pt x="482" y="38"/>
                    <a:pt x="481" y="39"/>
                  </a:cubicBezTo>
                  <a:cubicBezTo>
                    <a:pt x="480" y="40"/>
                    <a:pt x="478" y="41"/>
                    <a:pt x="477" y="43"/>
                  </a:cubicBezTo>
                  <a:cubicBezTo>
                    <a:pt x="476" y="44"/>
                    <a:pt x="475" y="46"/>
                    <a:pt x="473" y="48"/>
                  </a:cubicBezTo>
                  <a:lnTo>
                    <a:pt x="473" y="85"/>
                  </a:lnTo>
                  <a:cubicBezTo>
                    <a:pt x="473" y="86"/>
                    <a:pt x="473" y="86"/>
                    <a:pt x="473" y="86"/>
                  </a:cubicBezTo>
                  <a:cubicBezTo>
                    <a:pt x="473" y="86"/>
                    <a:pt x="473" y="87"/>
                    <a:pt x="472" y="87"/>
                  </a:cubicBezTo>
                  <a:cubicBezTo>
                    <a:pt x="472" y="87"/>
                    <a:pt x="471" y="87"/>
                    <a:pt x="471" y="87"/>
                  </a:cubicBezTo>
                  <a:cubicBezTo>
                    <a:pt x="470" y="87"/>
                    <a:pt x="469" y="87"/>
                    <a:pt x="468" y="87"/>
                  </a:cubicBezTo>
                  <a:cubicBezTo>
                    <a:pt x="467" y="87"/>
                    <a:pt x="466" y="87"/>
                    <a:pt x="466" y="87"/>
                  </a:cubicBezTo>
                  <a:cubicBezTo>
                    <a:pt x="465" y="87"/>
                    <a:pt x="464" y="87"/>
                    <a:pt x="464" y="87"/>
                  </a:cubicBezTo>
                  <a:cubicBezTo>
                    <a:pt x="464" y="87"/>
                    <a:pt x="463" y="86"/>
                    <a:pt x="463" y="86"/>
                  </a:cubicBezTo>
                  <a:cubicBezTo>
                    <a:pt x="463" y="86"/>
                    <a:pt x="463" y="86"/>
                    <a:pt x="463" y="85"/>
                  </a:cubicBezTo>
                  <a:lnTo>
                    <a:pt x="463" y="29"/>
                  </a:lnTo>
                  <a:cubicBezTo>
                    <a:pt x="463" y="29"/>
                    <a:pt x="463" y="28"/>
                    <a:pt x="463" y="28"/>
                  </a:cubicBezTo>
                  <a:cubicBezTo>
                    <a:pt x="463" y="28"/>
                    <a:pt x="464" y="28"/>
                    <a:pt x="464" y="28"/>
                  </a:cubicBezTo>
                  <a:cubicBezTo>
                    <a:pt x="464" y="27"/>
                    <a:pt x="465" y="27"/>
                    <a:pt x="465" y="27"/>
                  </a:cubicBezTo>
                  <a:cubicBezTo>
                    <a:pt x="466" y="27"/>
                    <a:pt x="467" y="27"/>
                    <a:pt x="468" y="27"/>
                  </a:cubicBezTo>
                  <a:cubicBezTo>
                    <a:pt x="469" y="27"/>
                    <a:pt x="469" y="27"/>
                    <a:pt x="470" y="27"/>
                  </a:cubicBezTo>
                  <a:cubicBezTo>
                    <a:pt x="471" y="27"/>
                    <a:pt x="471" y="27"/>
                    <a:pt x="471" y="28"/>
                  </a:cubicBezTo>
                  <a:cubicBezTo>
                    <a:pt x="472" y="28"/>
                    <a:pt x="472" y="28"/>
                    <a:pt x="472" y="28"/>
                  </a:cubicBezTo>
                  <a:cubicBezTo>
                    <a:pt x="472" y="28"/>
                    <a:pt x="472" y="29"/>
                    <a:pt x="472" y="29"/>
                  </a:cubicBezTo>
                  <a:lnTo>
                    <a:pt x="472" y="37"/>
                  </a:lnTo>
                  <a:cubicBezTo>
                    <a:pt x="474" y="35"/>
                    <a:pt x="475" y="33"/>
                    <a:pt x="477" y="32"/>
                  </a:cubicBezTo>
                  <a:cubicBezTo>
                    <a:pt x="478" y="30"/>
                    <a:pt x="479" y="29"/>
                    <a:pt x="480" y="28"/>
                  </a:cubicBezTo>
                  <a:cubicBezTo>
                    <a:pt x="482" y="28"/>
                    <a:pt x="483" y="27"/>
                    <a:pt x="484" y="27"/>
                  </a:cubicBezTo>
                  <a:cubicBezTo>
                    <a:pt x="485" y="26"/>
                    <a:pt x="486" y="26"/>
                    <a:pt x="488" y="26"/>
                  </a:cubicBezTo>
                  <a:cubicBezTo>
                    <a:pt x="488" y="26"/>
                    <a:pt x="489" y="26"/>
                    <a:pt x="490" y="26"/>
                  </a:cubicBezTo>
                  <a:cubicBezTo>
                    <a:pt x="490" y="26"/>
                    <a:pt x="491" y="27"/>
                    <a:pt x="492" y="27"/>
                  </a:cubicBezTo>
                  <a:cubicBezTo>
                    <a:pt x="492" y="27"/>
                    <a:pt x="493" y="27"/>
                    <a:pt x="494" y="27"/>
                  </a:cubicBezTo>
                  <a:cubicBezTo>
                    <a:pt x="494" y="27"/>
                    <a:pt x="495" y="28"/>
                    <a:pt x="495" y="28"/>
                  </a:cubicBezTo>
                  <a:cubicBezTo>
                    <a:pt x="495" y="28"/>
                    <a:pt x="495" y="28"/>
                    <a:pt x="495" y="28"/>
                  </a:cubicBezTo>
                  <a:cubicBezTo>
                    <a:pt x="496" y="29"/>
                    <a:pt x="496" y="29"/>
                    <a:pt x="496" y="29"/>
                  </a:cubicBezTo>
                  <a:cubicBezTo>
                    <a:pt x="496" y="29"/>
                    <a:pt x="496" y="30"/>
                    <a:pt x="496" y="30"/>
                  </a:cubicBezTo>
                  <a:cubicBezTo>
                    <a:pt x="496" y="31"/>
                    <a:pt x="496" y="32"/>
                    <a:pt x="496" y="33"/>
                  </a:cubicBezTo>
                  <a:close/>
                  <a:moveTo>
                    <a:pt x="559" y="85"/>
                  </a:moveTo>
                  <a:cubicBezTo>
                    <a:pt x="559" y="86"/>
                    <a:pt x="559" y="86"/>
                    <a:pt x="559" y="86"/>
                  </a:cubicBezTo>
                  <a:cubicBezTo>
                    <a:pt x="559" y="86"/>
                    <a:pt x="559" y="87"/>
                    <a:pt x="558" y="87"/>
                  </a:cubicBezTo>
                  <a:cubicBezTo>
                    <a:pt x="558" y="87"/>
                    <a:pt x="557" y="87"/>
                    <a:pt x="557" y="87"/>
                  </a:cubicBezTo>
                  <a:cubicBezTo>
                    <a:pt x="556" y="87"/>
                    <a:pt x="555" y="87"/>
                    <a:pt x="555" y="87"/>
                  </a:cubicBezTo>
                  <a:cubicBezTo>
                    <a:pt x="554" y="87"/>
                    <a:pt x="553" y="87"/>
                    <a:pt x="552" y="87"/>
                  </a:cubicBezTo>
                  <a:cubicBezTo>
                    <a:pt x="552" y="87"/>
                    <a:pt x="551" y="87"/>
                    <a:pt x="551" y="87"/>
                  </a:cubicBezTo>
                  <a:cubicBezTo>
                    <a:pt x="551" y="87"/>
                    <a:pt x="550" y="86"/>
                    <a:pt x="550" y="86"/>
                  </a:cubicBezTo>
                  <a:cubicBezTo>
                    <a:pt x="550" y="86"/>
                    <a:pt x="550" y="86"/>
                    <a:pt x="550" y="85"/>
                  </a:cubicBezTo>
                  <a:lnTo>
                    <a:pt x="550" y="78"/>
                  </a:lnTo>
                  <a:cubicBezTo>
                    <a:pt x="547" y="81"/>
                    <a:pt x="544" y="84"/>
                    <a:pt x="541" y="85"/>
                  </a:cubicBezTo>
                  <a:cubicBezTo>
                    <a:pt x="538" y="87"/>
                    <a:pt x="534" y="88"/>
                    <a:pt x="530" y="88"/>
                  </a:cubicBezTo>
                  <a:cubicBezTo>
                    <a:pt x="526" y="88"/>
                    <a:pt x="523" y="87"/>
                    <a:pt x="520" y="86"/>
                  </a:cubicBezTo>
                  <a:cubicBezTo>
                    <a:pt x="517" y="84"/>
                    <a:pt x="514" y="82"/>
                    <a:pt x="513" y="79"/>
                  </a:cubicBezTo>
                  <a:cubicBezTo>
                    <a:pt x="511" y="76"/>
                    <a:pt x="509" y="73"/>
                    <a:pt x="509" y="70"/>
                  </a:cubicBezTo>
                  <a:cubicBezTo>
                    <a:pt x="508" y="66"/>
                    <a:pt x="507" y="62"/>
                    <a:pt x="507" y="58"/>
                  </a:cubicBezTo>
                  <a:cubicBezTo>
                    <a:pt x="507" y="53"/>
                    <a:pt x="508" y="49"/>
                    <a:pt x="509" y="45"/>
                  </a:cubicBezTo>
                  <a:cubicBezTo>
                    <a:pt x="510" y="41"/>
                    <a:pt x="512" y="38"/>
                    <a:pt x="514" y="35"/>
                  </a:cubicBezTo>
                  <a:cubicBezTo>
                    <a:pt x="516" y="32"/>
                    <a:pt x="518" y="30"/>
                    <a:pt x="521" y="28"/>
                  </a:cubicBezTo>
                  <a:cubicBezTo>
                    <a:pt x="524" y="27"/>
                    <a:pt x="528" y="26"/>
                    <a:pt x="532" y="26"/>
                  </a:cubicBezTo>
                  <a:cubicBezTo>
                    <a:pt x="535" y="26"/>
                    <a:pt x="538" y="27"/>
                    <a:pt x="541" y="28"/>
                  </a:cubicBezTo>
                  <a:cubicBezTo>
                    <a:pt x="543" y="30"/>
                    <a:pt x="546" y="32"/>
                    <a:pt x="549" y="35"/>
                  </a:cubicBezTo>
                  <a:lnTo>
                    <a:pt x="549" y="2"/>
                  </a:lnTo>
                  <a:cubicBezTo>
                    <a:pt x="549" y="2"/>
                    <a:pt x="549" y="1"/>
                    <a:pt x="549" y="1"/>
                  </a:cubicBezTo>
                  <a:cubicBezTo>
                    <a:pt x="549" y="1"/>
                    <a:pt x="549" y="1"/>
                    <a:pt x="550" y="1"/>
                  </a:cubicBezTo>
                  <a:cubicBezTo>
                    <a:pt x="550" y="0"/>
                    <a:pt x="551" y="0"/>
                    <a:pt x="551" y="0"/>
                  </a:cubicBezTo>
                  <a:cubicBezTo>
                    <a:pt x="552" y="0"/>
                    <a:pt x="553" y="0"/>
                    <a:pt x="554" y="0"/>
                  </a:cubicBezTo>
                  <a:cubicBezTo>
                    <a:pt x="555" y="0"/>
                    <a:pt x="556" y="0"/>
                    <a:pt x="556" y="0"/>
                  </a:cubicBezTo>
                  <a:cubicBezTo>
                    <a:pt x="557" y="0"/>
                    <a:pt x="558" y="0"/>
                    <a:pt x="558" y="1"/>
                  </a:cubicBezTo>
                  <a:cubicBezTo>
                    <a:pt x="558" y="1"/>
                    <a:pt x="559" y="1"/>
                    <a:pt x="559" y="1"/>
                  </a:cubicBezTo>
                  <a:cubicBezTo>
                    <a:pt x="559" y="1"/>
                    <a:pt x="559" y="2"/>
                    <a:pt x="559" y="2"/>
                  </a:cubicBezTo>
                  <a:lnTo>
                    <a:pt x="559" y="85"/>
                  </a:lnTo>
                  <a:close/>
                  <a:moveTo>
                    <a:pt x="549" y="46"/>
                  </a:moveTo>
                  <a:cubicBezTo>
                    <a:pt x="546" y="42"/>
                    <a:pt x="543" y="40"/>
                    <a:pt x="541" y="38"/>
                  </a:cubicBezTo>
                  <a:cubicBezTo>
                    <a:pt x="538" y="36"/>
                    <a:pt x="535" y="35"/>
                    <a:pt x="533" y="35"/>
                  </a:cubicBezTo>
                  <a:cubicBezTo>
                    <a:pt x="530" y="35"/>
                    <a:pt x="528" y="36"/>
                    <a:pt x="526" y="37"/>
                  </a:cubicBezTo>
                  <a:cubicBezTo>
                    <a:pt x="524" y="38"/>
                    <a:pt x="523" y="40"/>
                    <a:pt x="521" y="42"/>
                  </a:cubicBezTo>
                  <a:cubicBezTo>
                    <a:pt x="520" y="44"/>
                    <a:pt x="519" y="46"/>
                    <a:pt x="519" y="49"/>
                  </a:cubicBezTo>
                  <a:cubicBezTo>
                    <a:pt x="518" y="51"/>
                    <a:pt x="518" y="54"/>
                    <a:pt x="518" y="57"/>
                  </a:cubicBezTo>
                  <a:cubicBezTo>
                    <a:pt x="518" y="60"/>
                    <a:pt x="518" y="62"/>
                    <a:pt x="519" y="65"/>
                  </a:cubicBezTo>
                  <a:cubicBezTo>
                    <a:pt x="519" y="68"/>
                    <a:pt x="520" y="70"/>
                    <a:pt x="521" y="72"/>
                  </a:cubicBezTo>
                  <a:cubicBezTo>
                    <a:pt x="522" y="74"/>
                    <a:pt x="524" y="76"/>
                    <a:pt x="525" y="77"/>
                  </a:cubicBezTo>
                  <a:cubicBezTo>
                    <a:pt x="527" y="79"/>
                    <a:pt x="529" y="79"/>
                    <a:pt x="532" y="79"/>
                  </a:cubicBezTo>
                  <a:cubicBezTo>
                    <a:pt x="533" y="79"/>
                    <a:pt x="535" y="79"/>
                    <a:pt x="536" y="79"/>
                  </a:cubicBezTo>
                  <a:cubicBezTo>
                    <a:pt x="537" y="78"/>
                    <a:pt x="539" y="78"/>
                    <a:pt x="540" y="77"/>
                  </a:cubicBezTo>
                  <a:cubicBezTo>
                    <a:pt x="541" y="76"/>
                    <a:pt x="543" y="75"/>
                    <a:pt x="544" y="73"/>
                  </a:cubicBezTo>
                  <a:cubicBezTo>
                    <a:pt x="546" y="72"/>
                    <a:pt x="547" y="70"/>
                    <a:pt x="549" y="68"/>
                  </a:cubicBezTo>
                  <a:lnTo>
                    <a:pt x="549" y="46"/>
                  </a:lnTo>
                  <a:close/>
                  <a:moveTo>
                    <a:pt x="623" y="55"/>
                  </a:moveTo>
                  <a:cubicBezTo>
                    <a:pt x="623" y="56"/>
                    <a:pt x="623" y="58"/>
                    <a:pt x="622" y="58"/>
                  </a:cubicBezTo>
                  <a:cubicBezTo>
                    <a:pt x="621" y="59"/>
                    <a:pt x="620" y="59"/>
                    <a:pt x="619" y="59"/>
                  </a:cubicBezTo>
                  <a:lnTo>
                    <a:pt x="582" y="59"/>
                  </a:lnTo>
                  <a:cubicBezTo>
                    <a:pt x="582" y="62"/>
                    <a:pt x="582" y="65"/>
                    <a:pt x="583" y="68"/>
                  </a:cubicBezTo>
                  <a:cubicBezTo>
                    <a:pt x="583" y="70"/>
                    <a:pt x="585" y="72"/>
                    <a:pt x="586" y="74"/>
                  </a:cubicBezTo>
                  <a:cubicBezTo>
                    <a:pt x="587" y="76"/>
                    <a:pt x="589" y="77"/>
                    <a:pt x="592" y="78"/>
                  </a:cubicBezTo>
                  <a:cubicBezTo>
                    <a:pt x="594" y="79"/>
                    <a:pt x="597" y="80"/>
                    <a:pt x="600" y="80"/>
                  </a:cubicBezTo>
                  <a:cubicBezTo>
                    <a:pt x="603" y="80"/>
                    <a:pt x="605" y="79"/>
                    <a:pt x="607" y="79"/>
                  </a:cubicBezTo>
                  <a:cubicBezTo>
                    <a:pt x="610" y="79"/>
                    <a:pt x="611" y="78"/>
                    <a:pt x="613" y="78"/>
                  </a:cubicBezTo>
                  <a:cubicBezTo>
                    <a:pt x="614" y="77"/>
                    <a:pt x="616" y="77"/>
                    <a:pt x="617" y="76"/>
                  </a:cubicBezTo>
                  <a:cubicBezTo>
                    <a:pt x="618" y="76"/>
                    <a:pt x="618" y="75"/>
                    <a:pt x="619" y="75"/>
                  </a:cubicBezTo>
                  <a:cubicBezTo>
                    <a:pt x="619" y="75"/>
                    <a:pt x="619" y="76"/>
                    <a:pt x="620" y="76"/>
                  </a:cubicBezTo>
                  <a:cubicBezTo>
                    <a:pt x="620" y="76"/>
                    <a:pt x="620" y="76"/>
                    <a:pt x="620" y="76"/>
                  </a:cubicBezTo>
                  <a:cubicBezTo>
                    <a:pt x="620" y="77"/>
                    <a:pt x="620" y="77"/>
                    <a:pt x="621" y="78"/>
                  </a:cubicBezTo>
                  <a:cubicBezTo>
                    <a:pt x="621" y="78"/>
                    <a:pt x="621" y="79"/>
                    <a:pt x="621" y="79"/>
                  </a:cubicBezTo>
                  <a:cubicBezTo>
                    <a:pt x="621" y="80"/>
                    <a:pt x="621" y="80"/>
                    <a:pt x="621" y="81"/>
                  </a:cubicBezTo>
                  <a:cubicBezTo>
                    <a:pt x="620" y="81"/>
                    <a:pt x="620" y="82"/>
                    <a:pt x="620" y="82"/>
                  </a:cubicBezTo>
                  <a:cubicBezTo>
                    <a:pt x="620" y="82"/>
                    <a:pt x="620" y="83"/>
                    <a:pt x="620" y="83"/>
                  </a:cubicBezTo>
                  <a:cubicBezTo>
                    <a:pt x="620" y="83"/>
                    <a:pt x="620" y="83"/>
                    <a:pt x="620" y="83"/>
                  </a:cubicBezTo>
                  <a:cubicBezTo>
                    <a:pt x="619" y="84"/>
                    <a:pt x="619" y="84"/>
                    <a:pt x="617" y="85"/>
                  </a:cubicBezTo>
                  <a:cubicBezTo>
                    <a:pt x="616" y="85"/>
                    <a:pt x="615" y="86"/>
                    <a:pt x="613" y="86"/>
                  </a:cubicBezTo>
                  <a:cubicBezTo>
                    <a:pt x="611" y="87"/>
                    <a:pt x="609" y="87"/>
                    <a:pt x="607" y="87"/>
                  </a:cubicBezTo>
                  <a:cubicBezTo>
                    <a:pt x="605" y="88"/>
                    <a:pt x="602" y="88"/>
                    <a:pt x="599" y="88"/>
                  </a:cubicBezTo>
                  <a:cubicBezTo>
                    <a:pt x="595" y="88"/>
                    <a:pt x="591" y="87"/>
                    <a:pt x="587" y="86"/>
                  </a:cubicBezTo>
                  <a:cubicBezTo>
                    <a:pt x="584" y="85"/>
                    <a:pt x="581" y="83"/>
                    <a:pt x="578" y="80"/>
                  </a:cubicBezTo>
                  <a:cubicBezTo>
                    <a:pt x="576" y="78"/>
                    <a:pt x="574" y="75"/>
                    <a:pt x="573" y="71"/>
                  </a:cubicBezTo>
                  <a:cubicBezTo>
                    <a:pt x="572" y="67"/>
                    <a:pt x="571" y="63"/>
                    <a:pt x="571" y="57"/>
                  </a:cubicBezTo>
                  <a:cubicBezTo>
                    <a:pt x="571" y="53"/>
                    <a:pt x="572" y="48"/>
                    <a:pt x="573" y="44"/>
                  </a:cubicBezTo>
                  <a:cubicBezTo>
                    <a:pt x="574" y="41"/>
                    <a:pt x="576" y="37"/>
                    <a:pt x="579" y="35"/>
                  </a:cubicBezTo>
                  <a:cubicBezTo>
                    <a:pt x="581" y="32"/>
                    <a:pt x="584" y="30"/>
                    <a:pt x="587" y="28"/>
                  </a:cubicBezTo>
                  <a:cubicBezTo>
                    <a:pt x="590" y="27"/>
                    <a:pt x="594" y="26"/>
                    <a:pt x="598" y="26"/>
                  </a:cubicBezTo>
                  <a:cubicBezTo>
                    <a:pt x="603" y="26"/>
                    <a:pt x="606" y="27"/>
                    <a:pt x="610" y="28"/>
                  </a:cubicBezTo>
                  <a:cubicBezTo>
                    <a:pt x="613" y="30"/>
                    <a:pt x="615" y="32"/>
                    <a:pt x="617" y="34"/>
                  </a:cubicBezTo>
                  <a:cubicBezTo>
                    <a:pt x="619" y="36"/>
                    <a:pt x="621" y="39"/>
                    <a:pt x="622" y="43"/>
                  </a:cubicBezTo>
                  <a:cubicBezTo>
                    <a:pt x="623" y="46"/>
                    <a:pt x="623" y="49"/>
                    <a:pt x="623" y="53"/>
                  </a:cubicBezTo>
                  <a:lnTo>
                    <a:pt x="623" y="55"/>
                  </a:lnTo>
                  <a:close/>
                  <a:moveTo>
                    <a:pt x="613" y="52"/>
                  </a:moveTo>
                  <a:cubicBezTo>
                    <a:pt x="613" y="46"/>
                    <a:pt x="612" y="42"/>
                    <a:pt x="609" y="39"/>
                  </a:cubicBezTo>
                  <a:cubicBezTo>
                    <a:pt x="606" y="36"/>
                    <a:pt x="603" y="34"/>
                    <a:pt x="598" y="34"/>
                  </a:cubicBezTo>
                  <a:cubicBezTo>
                    <a:pt x="595" y="34"/>
                    <a:pt x="593" y="35"/>
                    <a:pt x="591" y="36"/>
                  </a:cubicBezTo>
                  <a:cubicBezTo>
                    <a:pt x="589" y="37"/>
                    <a:pt x="587" y="38"/>
                    <a:pt x="586" y="40"/>
                  </a:cubicBezTo>
                  <a:cubicBezTo>
                    <a:pt x="585" y="41"/>
                    <a:pt x="584" y="43"/>
                    <a:pt x="583" y="45"/>
                  </a:cubicBezTo>
                  <a:cubicBezTo>
                    <a:pt x="582" y="47"/>
                    <a:pt x="582" y="49"/>
                    <a:pt x="582" y="52"/>
                  </a:cubicBezTo>
                  <a:lnTo>
                    <a:pt x="613" y="52"/>
                  </a:lnTo>
                  <a:close/>
                  <a:moveTo>
                    <a:pt x="672" y="33"/>
                  </a:moveTo>
                  <a:cubicBezTo>
                    <a:pt x="672" y="34"/>
                    <a:pt x="672" y="34"/>
                    <a:pt x="672" y="35"/>
                  </a:cubicBezTo>
                  <a:cubicBezTo>
                    <a:pt x="672" y="36"/>
                    <a:pt x="672" y="36"/>
                    <a:pt x="672" y="37"/>
                  </a:cubicBezTo>
                  <a:cubicBezTo>
                    <a:pt x="671" y="37"/>
                    <a:pt x="671" y="37"/>
                    <a:pt x="671" y="37"/>
                  </a:cubicBezTo>
                  <a:cubicBezTo>
                    <a:pt x="671" y="38"/>
                    <a:pt x="671" y="38"/>
                    <a:pt x="670" y="38"/>
                  </a:cubicBezTo>
                  <a:cubicBezTo>
                    <a:pt x="670" y="38"/>
                    <a:pt x="670" y="38"/>
                    <a:pt x="669" y="37"/>
                  </a:cubicBezTo>
                  <a:cubicBezTo>
                    <a:pt x="669" y="37"/>
                    <a:pt x="668" y="37"/>
                    <a:pt x="667" y="37"/>
                  </a:cubicBezTo>
                  <a:cubicBezTo>
                    <a:pt x="667" y="37"/>
                    <a:pt x="666" y="36"/>
                    <a:pt x="665" y="36"/>
                  </a:cubicBezTo>
                  <a:cubicBezTo>
                    <a:pt x="665" y="36"/>
                    <a:pt x="664" y="36"/>
                    <a:pt x="663" y="36"/>
                  </a:cubicBezTo>
                  <a:cubicBezTo>
                    <a:pt x="662" y="36"/>
                    <a:pt x="661" y="36"/>
                    <a:pt x="660" y="37"/>
                  </a:cubicBezTo>
                  <a:cubicBezTo>
                    <a:pt x="659" y="37"/>
                    <a:pt x="658" y="38"/>
                    <a:pt x="657" y="39"/>
                  </a:cubicBezTo>
                  <a:cubicBezTo>
                    <a:pt x="656" y="40"/>
                    <a:pt x="654" y="41"/>
                    <a:pt x="653" y="43"/>
                  </a:cubicBezTo>
                  <a:cubicBezTo>
                    <a:pt x="652" y="44"/>
                    <a:pt x="651" y="46"/>
                    <a:pt x="649" y="48"/>
                  </a:cubicBezTo>
                  <a:lnTo>
                    <a:pt x="649" y="85"/>
                  </a:lnTo>
                  <a:cubicBezTo>
                    <a:pt x="649" y="86"/>
                    <a:pt x="649" y="86"/>
                    <a:pt x="649" y="86"/>
                  </a:cubicBezTo>
                  <a:cubicBezTo>
                    <a:pt x="649" y="86"/>
                    <a:pt x="649" y="87"/>
                    <a:pt x="648" y="87"/>
                  </a:cubicBezTo>
                  <a:cubicBezTo>
                    <a:pt x="648" y="87"/>
                    <a:pt x="647" y="87"/>
                    <a:pt x="647" y="87"/>
                  </a:cubicBezTo>
                  <a:cubicBezTo>
                    <a:pt x="646" y="87"/>
                    <a:pt x="645" y="87"/>
                    <a:pt x="644" y="87"/>
                  </a:cubicBezTo>
                  <a:cubicBezTo>
                    <a:pt x="643" y="87"/>
                    <a:pt x="642" y="87"/>
                    <a:pt x="642" y="87"/>
                  </a:cubicBezTo>
                  <a:cubicBezTo>
                    <a:pt x="641" y="87"/>
                    <a:pt x="640" y="87"/>
                    <a:pt x="640" y="87"/>
                  </a:cubicBezTo>
                  <a:cubicBezTo>
                    <a:pt x="640" y="87"/>
                    <a:pt x="639" y="86"/>
                    <a:pt x="639" y="86"/>
                  </a:cubicBezTo>
                  <a:cubicBezTo>
                    <a:pt x="639" y="86"/>
                    <a:pt x="639" y="86"/>
                    <a:pt x="639" y="85"/>
                  </a:cubicBezTo>
                  <a:lnTo>
                    <a:pt x="639" y="29"/>
                  </a:lnTo>
                  <a:cubicBezTo>
                    <a:pt x="639" y="29"/>
                    <a:pt x="639" y="28"/>
                    <a:pt x="639" y="28"/>
                  </a:cubicBezTo>
                  <a:cubicBezTo>
                    <a:pt x="639" y="28"/>
                    <a:pt x="640" y="28"/>
                    <a:pt x="640" y="28"/>
                  </a:cubicBezTo>
                  <a:cubicBezTo>
                    <a:pt x="640" y="27"/>
                    <a:pt x="641" y="27"/>
                    <a:pt x="641" y="27"/>
                  </a:cubicBezTo>
                  <a:cubicBezTo>
                    <a:pt x="642" y="27"/>
                    <a:pt x="643" y="27"/>
                    <a:pt x="644" y="27"/>
                  </a:cubicBezTo>
                  <a:cubicBezTo>
                    <a:pt x="645" y="27"/>
                    <a:pt x="645" y="27"/>
                    <a:pt x="646" y="27"/>
                  </a:cubicBezTo>
                  <a:cubicBezTo>
                    <a:pt x="647" y="27"/>
                    <a:pt x="647" y="27"/>
                    <a:pt x="647" y="28"/>
                  </a:cubicBezTo>
                  <a:cubicBezTo>
                    <a:pt x="648" y="28"/>
                    <a:pt x="648" y="28"/>
                    <a:pt x="648" y="28"/>
                  </a:cubicBezTo>
                  <a:cubicBezTo>
                    <a:pt x="648" y="28"/>
                    <a:pt x="648" y="29"/>
                    <a:pt x="648" y="29"/>
                  </a:cubicBezTo>
                  <a:lnTo>
                    <a:pt x="648" y="37"/>
                  </a:lnTo>
                  <a:cubicBezTo>
                    <a:pt x="650" y="35"/>
                    <a:pt x="651" y="33"/>
                    <a:pt x="653" y="32"/>
                  </a:cubicBezTo>
                  <a:cubicBezTo>
                    <a:pt x="654" y="30"/>
                    <a:pt x="655" y="29"/>
                    <a:pt x="656" y="28"/>
                  </a:cubicBezTo>
                  <a:cubicBezTo>
                    <a:pt x="658" y="28"/>
                    <a:pt x="659" y="27"/>
                    <a:pt x="660" y="27"/>
                  </a:cubicBezTo>
                  <a:cubicBezTo>
                    <a:pt x="661" y="26"/>
                    <a:pt x="662" y="26"/>
                    <a:pt x="664" y="26"/>
                  </a:cubicBezTo>
                  <a:cubicBezTo>
                    <a:pt x="664" y="26"/>
                    <a:pt x="665" y="26"/>
                    <a:pt x="666" y="26"/>
                  </a:cubicBezTo>
                  <a:cubicBezTo>
                    <a:pt x="666" y="26"/>
                    <a:pt x="667" y="27"/>
                    <a:pt x="668" y="27"/>
                  </a:cubicBezTo>
                  <a:cubicBezTo>
                    <a:pt x="668" y="27"/>
                    <a:pt x="669" y="27"/>
                    <a:pt x="670" y="27"/>
                  </a:cubicBezTo>
                  <a:cubicBezTo>
                    <a:pt x="670" y="27"/>
                    <a:pt x="671" y="28"/>
                    <a:pt x="671" y="28"/>
                  </a:cubicBezTo>
                  <a:cubicBezTo>
                    <a:pt x="671" y="28"/>
                    <a:pt x="671" y="28"/>
                    <a:pt x="671" y="28"/>
                  </a:cubicBezTo>
                  <a:cubicBezTo>
                    <a:pt x="672" y="29"/>
                    <a:pt x="672" y="29"/>
                    <a:pt x="672" y="29"/>
                  </a:cubicBezTo>
                  <a:cubicBezTo>
                    <a:pt x="672" y="29"/>
                    <a:pt x="672" y="30"/>
                    <a:pt x="672" y="30"/>
                  </a:cubicBezTo>
                  <a:cubicBezTo>
                    <a:pt x="672" y="31"/>
                    <a:pt x="672" y="32"/>
                    <a:pt x="672" y="33"/>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26" name="Freeform 148">
              <a:extLst>
                <a:ext uri="{FF2B5EF4-FFF2-40B4-BE49-F238E27FC236}">
                  <a16:creationId xmlns:a16="http://schemas.microsoft.com/office/drawing/2014/main" id="{17B515DF-39DA-4BCC-91C2-9F77CC01905E}"/>
                </a:ext>
              </a:extLst>
            </p:cNvPr>
            <p:cNvSpPr>
              <a:spLocks noEditPoints="1"/>
            </p:cNvSpPr>
            <p:nvPr/>
          </p:nvSpPr>
          <p:spPr bwMode="auto">
            <a:xfrm>
              <a:off x="2554" y="2393"/>
              <a:ext cx="1263" cy="1205"/>
            </a:xfrm>
            <a:custGeom>
              <a:avLst/>
              <a:gdLst>
                <a:gd name="T0" fmla="*/ 11 w 2821"/>
                <a:gd name="T1" fmla="*/ 99 h 2689"/>
                <a:gd name="T2" fmla="*/ 13 w 2821"/>
                <a:gd name="T3" fmla="*/ 163 h 2689"/>
                <a:gd name="T4" fmla="*/ 16 w 2821"/>
                <a:gd name="T5" fmla="*/ 222 h 2689"/>
                <a:gd name="T6" fmla="*/ 23 w 2821"/>
                <a:gd name="T7" fmla="*/ 283 h 2689"/>
                <a:gd name="T8" fmla="*/ 29 w 2821"/>
                <a:gd name="T9" fmla="*/ 306 h 2689"/>
                <a:gd name="T10" fmla="*/ 52 w 2821"/>
                <a:gd name="T11" fmla="*/ 429 h 2689"/>
                <a:gd name="T12" fmla="*/ 71 w 2821"/>
                <a:gd name="T13" fmla="*/ 527 h 2689"/>
                <a:gd name="T14" fmla="*/ 82 w 2821"/>
                <a:gd name="T15" fmla="*/ 585 h 2689"/>
                <a:gd name="T16" fmla="*/ 89 w 2821"/>
                <a:gd name="T17" fmla="*/ 610 h 2689"/>
                <a:gd name="T18" fmla="*/ 104 w 2821"/>
                <a:gd name="T19" fmla="*/ 669 h 2689"/>
                <a:gd name="T20" fmla="*/ 127 w 2821"/>
                <a:gd name="T21" fmla="*/ 727 h 2689"/>
                <a:gd name="T22" fmla="*/ 145 w 2821"/>
                <a:gd name="T23" fmla="*/ 785 h 2689"/>
                <a:gd name="T24" fmla="*/ 199 w 2821"/>
                <a:gd name="T25" fmla="*/ 934 h 2689"/>
                <a:gd name="T26" fmla="*/ 219 w 2821"/>
                <a:gd name="T27" fmla="*/ 993 h 2689"/>
                <a:gd name="T28" fmla="*/ 230 w 2821"/>
                <a:gd name="T29" fmla="*/ 1013 h 2689"/>
                <a:gd name="T30" fmla="*/ 286 w 2821"/>
                <a:gd name="T31" fmla="*/ 1125 h 2689"/>
                <a:gd name="T32" fmla="*/ 330 w 2821"/>
                <a:gd name="T33" fmla="*/ 1215 h 2689"/>
                <a:gd name="T34" fmla="*/ 338 w 2821"/>
                <a:gd name="T35" fmla="*/ 1236 h 2689"/>
                <a:gd name="T36" fmla="*/ 366 w 2821"/>
                <a:gd name="T37" fmla="*/ 1291 h 2689"/>
                <a:gd name="T38" fmla="*/ 403 w 2821"/>
                <a:gd name="T39" fmla="*/ 1340 h 2689"/>
                <a:gd name="T40" fmla="*/ 489 w 2821"/>
                <a:gd name="T41" fmla="*/ 1474 h 2689"/>
                <a:gd name="T42" fmla="*/ 522 w 2821"/>
                <a:gd name="T43" fmla="*/ 1529 h 2689"/>
                <a:gd name="T44" fmla="*/ 557 w 2821"/>
                <a:gd name="T45" fmla="*/ 1576 h 2689"/>
                <a:gd name="T46" fmla="*/ 573 w 2821"/>
                <a:gd name="T47" fmla="*/ 1593 h 2689"/>
                <a:gd name="T48" fmla="*/ 652 w 2821"/>
                <a:gd name="T49" fmla="*/ 1690 h 2689"/>
                <a:gd name="T50" fmla="*/ 716 w 2821"/>
                <a:gd name="T51" fmla="*/ 1767 h 2689"/>
                <a:gd name="T52" fmla="*/ 730 w 2821"/>
                <a:gd name="T53" fmla="*/ 1785 h 2689"/>
                <a:gd name="T54" fmla="*/ 776 w 2821"/>
                <a:gd name="T55" fmla="*/ 1826 h 2689"/>
                <a:gd name="T56" fmla="*/ 864 w 2821"/>
                <a:gd name="T57" fmla="*/ 1918 h 2689"/>
                <a:gd name="T58" fmla="*/ 934 w 2821"/>
                <a:gd name="T59" fmla="*/ 1978 h 2689"/>
                <a:gd name="T60" fmla="*/ 977 w 2821"/>
                <a:gd name="T61" fmla="*/ 2023 h 2689"/>
                <a:gd name="T62" fmla="*/ 996 w 2821"/>
                <a:gd name="T63" fmla="*/ 2036 h 2689"/>
                <a:gd name="T64" fmla="*/ 1043 w 2821"/>
                <a:gd name="T65" fmla="*/ 2076 h 2689"/>
                <a:gd name="T66" fmla="*/ 1145 w 2821"/>
                <a:gd name="T67" fmla="*/ 2149 h 2689"/>
                <a:gd name="T68" fmla="*/ 1225 w 2821"/>
                <a:gd name="T69" fmla="*/ 2209 h 2689"/>
                <a:gd name="T70" fmla="*/ 1242 w 2821"/>
                <a:gd name="T71" fmla="*/ 2224 h 2689"/>
                <a:gd name="T72" fmla="*/ 1296 w 2821"/>
                <a:gd name="T73" fmla="*/ 2254 h 2689"/>
                <a:gd name="T74" fmla="*/ 1433 w 2821"/>
                <a:gd name="T75" fmla="*/ 2333 h 2689"/>
                <a:gd name="T76" fmla="*/ 1484 w 2821"/>
                <a:gd name="T77" fmla="*/ 2369 h 2689"/>
                <a:gd name="T78" fmla="*/ 1505 w 2821"/>
                <a:gd name="T79" fmla="*/ 2378 h 2689"/>
                <a:gd name="T80" fmla="*/ 1620 w 2821"/>
                <a:gd name="T81" fmla="*/ 2428 h 2689"/>
                <a:gd name="T82" fmla="*/ 1710 w 2821"/>
                <a:gd name="T83" fmla="*/ 2472 h 2689"/>
                <a:gd name="T84" fmla="*/ 1763 w 2821"/>
                <a:gd name="T85" fmla="*/ 2498 h 2689"/>
                <a:gd name="T86" fmla="*/ 1787 w 2821"/>
                <a:gd name="T87" fmla="*/ 2507 h 2689"/>
                <a:gd name="T88" fmla="*/ 1844 w 2821"/>
                <a:gd name="T89" fmla="*/ 2528 h 2689"/>
                <a:gd name="T90" fmla="*/ 1904 w 2821"/>
                <a:gd name="T91" fmla="*/ 2543 h 2689"/>
                <a:gd name="T92" fmla="*/ 2056 w 2821"/>
                <a:gd name="T93" fmla="*/ 2589 h 2689"/>
                <a:gd name="T94" fmla="*/ 2114 w 2821"/>
                <a:gd name="T95" fmla="*/ 2609 h 2689"/>
                <a:gd name="T96" fmla="*/ 2137 w 2821"/>
                <a:gd name="T97" fmla="*/ 2613 h 2689"/>
                <a:gd name="T98" fmla="*/ 2260 w 2821"/>
                <a:gd name="T99" fmla="*/ 2636 h 2689"/>
                <a:gd name="T100" fmla="*/ 2321 w 2821"/>
                <a:gd name="T101" fmla="*/ 2646 h 2689"/>
                <a:gd name="T102" fmla="*/ 2401 w 2821"/>
                <a:gd name="T103" fmla="*/ 2659 h 2689"/>
                <a:gd name="T104" fmla="*/ 2478 w 2821"/>
                <a:gd name="T105" fmla="*/ 2667 h 2689"/>
                <a:gd name="T106" fmla="*/ 2541 w 2821"/>
                <a:gd name="T107" fmla="*/ 2677 h 2689"/>
                <a:gd name="T108" fmla="*/ 2600 w 2821"/>
                <a:gd name="T109" fmla="*/ 2683 h 2689"/>
                <a:gd name="T110" fmla="*/ 2623 w 2821"/>
                <a:gd name="T111" fmla="*/ 2682 h 2689"/>
                <a:gd name="T112" fmla="*/ 2748 w 2821"/>
                <a:gd name="T113" fmla="*/ 2683 h 2689"/>
                <a:gd name="T114" fmla="*/ 2821 w 2821"/>
                <a:gd name="T115" fmla="*/ 2686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21" h="2689">
                  <a:moveTo>
                    <a:pt x="5" y="2"/>
                  </a:moveTo>
                  <a:lnTo>
                    <a:pt x="7" y="38"/>
                  </a:lnTo>
                  <a:cubicBezTo>
                    <a:pt x="7" y="40"/>
                    <a:pt x="6" y="41"/>
                    <a:pt x="5" y="41"/>
                  </a:cubicBezTo>
                  <a:cubicBezTo>
                    <a:pt x="3" y="41"/>
                    <a:pt x="2" y="40"/>
                    <a:pt x="2" y="38"/>
                  </a:cubicBezTo>
                  <a:lnTo>
                    <a:pt x="0" y="3"/>
                  </a:lnTo>
                  <a:cubicBezTo>
                    <a:pt x="0" y="1"/>
                    <a:pt x="1" y="0"/>
                    <a:pt x="2" y="0"/>
                  </a:cubicBezTo>
                  <a:cubicBezTo>
                    <a:pt x="4" y="0"/>
                    <a:pt x="5" y="1"/>
                    <a:pt x="5" y="2"/>
                  </a:cubicBezTo>
                  <a:close/>
                  <a:moveTo>
                    <a:pt x="9" y="64"/>
                  </a:moveTo>
                  <a:lnTo>
                    <a:pt x="11" y="99"/>
                  </a:lnTo>
                  <a:cubicBezTo>
                    <a:pt x="11" y="101"/>
                    <a:pt x="10" y="102"/>
                    <a:pt x="8" y="102"/>
                  </a:cubicBezTo>
                  <a:cubicBezTo>
                    <a:pt x="7" y="102"/>
                    <a:pt x="6" y="101"/>
                    <a:pt x="5" y="100"/>
                  </a:cubicBezTo>
                  <a:lnTo>
                    <a:pt x="3" y="64"/>
                  </a:lnTo>
                  <a:cubicBezTo>
                    <a:pt x="3" y="63"/>
                    <a:pt x="4" y="61"/>
                    <a:pt x="6" y="61"/>
                  </a:cubicBezTo>
                  <a:cubicBezTo>
                    <a:pt x="7" y="61"/>
                    <a:pt x="8" y="62"/>
                    <a:pt x="9" y="64"/>
                  </a:cubicBezTo>
                  <a:close/>
                  <a:moveTo>
                    <a:pt x="12" y="125"/>
                  </a:moveTo>
                  <a:lnTo>
                    <a:pt x="13" y="143"/>
                  </a:lnTo>
                  <a:lnTo>
                    <a:pt x="15" y="161"/>
                  </a:lnTo>
                  <a:cubicBezTo>
                    <a:pt x="15" y="162"/>
                    <a:pt x="14" y="163"/>
                    <a:pt x="13" y="163"/>
                  </a:cubicBezTo>
                  <a:cubicBezTo>
                    <a:pt x="11" y="164"/>
                    <a:pt x="10" y="163"/>
                    <a:pt x="10" y="161"/>
                  </a:cubicBezTo>
                  <a:lnTo>
                    <a:pt x="8" y="144"/>
                  </a:lnTo>
                  <a:lnTo>
                    <a:pt x="7" y="125"/>
                  </a:lnTo>
                  <a:cubicBezTo>
                    <a:pt x="7" y="124"/>
                    <a:pt x="8" y="123"/>
                    <a:pt x="9" y="123"/>
                  </a:cubicBezTo>
                  <a:cubicBezTo>
                    <a:pt x="11" y="123"/>
                    <a:pt x="12" y="124"/>
                    <a:pt x="12" y="125"/>
                  </a:cubicBezTo>
                  <a:close/>
                  <a:moveTo>
                    <a:pt x="18" y="186"/>
                  </a:moveTo>
                  <a:lnTo>
                    <a:pt x="21" y="222"/>
                  </a:lnTo>
                  <a:cubicBezTo>
                    <a:pt x="22" y="223"/>
                    <a:pt x="21" y="224"/>
                    <a:pt x="19" y="224"/>
                  </a:cubicBezTo>
                  <a:cubicBezTo>
                    <a:pt x="18" y="225"/>
                    <a:pt x="17" y="224"/>
                    <a:pt x="16" y="222"/>
                  </a:cubicBezTo>
                  <a:lnTo>
                    <a:pt x="13" y="187"/>
                  </a:lnTo>
                  <a:cubicBezTo>
                    <a:pt x="12" y="185"/>
                    <a:pt x="13" y="184"/>
                    <a:pt x="15" y="184"/>
                  </a:cubicBezTo>
                  <a:cubicBezTo>
                    <a:pt x="16" y="184"/>
                    <a:pt x="17" y="185"/>
                    <a:pt x="18" y="186"/>
                  </a:cubicBezTo>
                  <a:close/>
                  <a:moveTo>
                    <a:pt x="24" y="247"/>
                  </a:moveTo>
                  <a:lnTo>
                    <a:pt x="28" y="282"/>
                  </a:lnTo>
                  <a:lnTo>
                    <a:pt x="28" y="283"/>
                  </a:lnTo>
                  <a:cubicBezTo>
                    <a:pt x="28" y="284"/>
                    <a:pt x="27" y="285"/>
                    <a:pt x="26" y="286"/>
                  </a:cubicBezTo>
                  <a:cubicBezTo>
                    <a:pt x="25" y="286"/>
                    <a:pt x="23" y="285"/>
                    <a:pt x="23" y="283"/>
                  </a:cubicBezTo>
                  <a:lnTo>
                    <a:pt x="23" y="283"/>
                  </a:lnTo>
                  <a:lnTo>
                    <a:pt x="19" y="248"/>
                  </a:lnTo>
                  <a:cubicBezTo>
                    <a:pt x="19" y="246"/>
                    <a:pt x="20" y="245"/>
                    <a:pt x="21" y="245"/>
                  </a:cubicBezTo>
                  <a:cubicBezTo>
                    <a:pt x="23" y="245"/>
                    <a:pt x="24" y="246"/>
                    <a:pt x="24" y="247"/>
                  </a:cubicBezTo>
                  <a:close/>
                  <a:moveTo>
                    <a:pt x="32" y="308"/>
                  </a:moveTo>
                  <a:lnTo>
                    <a:pt x="38" y="343"/>
                  </a:lnTo>
                  <a:cubicBezTo>
                    <a:pt x="38" y="345"/>
                    <a:pt x="37" y="346"/>
                    <a:pt x="36" y="346"/>
                  </a:cubicBezTo>
                  <a:cubicBezTo>
                    <a:pt x="34" y="346"/>
                    <a:pt x="33" y="345"/>
                    <a:pt x="33" y="344"/>
                  </a:cubicBezTo>
                  <a:lnTo>
                    <a:pt x="27" y="309"/>
                  </a:lnTo>
                  <a:cubicBezTo>
                    <a:pt x="27" y="307"/>
                    <a:pt x="28" y="306"/>
                    <a:pt x="29" y="306"/>
                  </a:cubicBezTo>
                  <a:cubicBezTo>
                    <a:pt x="31" y="306"/>
                    <a:pt x="32" y="306"/>
                    <a:pt x="32" y="308"/>
                  </a:cubicBezTo>
                  <a:close/>
                  <a:moveTo>
                    <a:pt x="42" y="369"/>
                  </a:moveTo>
                  <a:lnTo>
                    <a:pt x="48" y="404"/>
                  </a:lnTo>
                  <a:cubicBezTo>
                    <a:pt x="48" y="405"/>
                    <a:pt x="47" y="407"/>
                    <a:pt x="46" y="407"/>
                  </a:cubicBezTo>
                  <a:cubicBezTo>
                    <a:pt x="44" y="407"/>
                    <a:pt x="43" y="406"/>
                    <a:pt x="43" y="405"/>
                  </a:cubicBezTo>
                  <a:lnTo>
                    <a:pt x="37" y="369"/>
                  </a:lnTo>
                  <a:cubicBezTo>
                    <a:pt x="37" y="368"/>
                    <a:pt x="38" y="367"/>
                    <a:pt x="39" y="366"/>
                  </a:cubicBezTo>
                  <a:cubicBezTo>
                    <a:pt x="40" y="366"/>
                    <a:pt x="42" y="367"/>
                    <a:pt x="42" y="369"/>
                  </a:cubicBezTo>
                  <a:close/>
                  <a:moveTo>
                    <a:pt x="52" y="429"/>
                  </a:moveTo>
                  <a:lnTo>
                    <a:pt x="60" y="464"/>
                  </a:lnTo>
                  <a:cubicBezTo>
                    <a:pt x="60" y="465"/>
                    <a:pt x="59" y="467"/>
                    <a:pt x="58" y="467"/>
                  </a:cubicBezTo>
                  <a:cubicBezTo>
                    <a:pt x="57" y="467"/>
                    <a:pt x="55" y="466"/>
                    <a:pt x="55" y="465"/>
                  </a:cubicBezTo>
                  <a:lnTo>
                    <a:pt x="47" y="430"/>
                  </a:lnTo>
                  <a:cubicBezTo>
                    <a:pt x="47" y="429"/>
                    <a:pt x="48" y="427"/>
                    <a:pt x="49" y="427"/>
                  </a:cubicBezTo>
                  <a:cubicBezTo>
                    <a:pt x="51" y="427"/>
                    <a:pt x="52" y="428"/>
                    <a:pt x="52" y="429"/>
                  </a:cubicBezTo>
                  <a:close/>
                  <a:moveTo>
                    <a:pt x="65" y="489"/>
                  </a:moveTo>
                  <a:lnTo>
                    <a:pt x="73" y="524"/>
                  </a:lnTo>
                  <a:cubicBezTo>
                    <a:pt x="73" y="525"/>
                    <a:pt x="72" y="527"/>
                    <a:pt x="71" y="527"/>
                  </a:cubicBezTo>
                  <a:cubicBezTo>
                    <a:pt x="70" y="527"/>
                    <a:pt x="68" y="526"/>
                    <a:pt x="68" y="525"/>
                  </a:cubicBezTo>
                  <a:lnTo>
                    <a:pt x="60" y="490"/>
                  </a:lnTo>
                  <a:cubicBezTo>
                    <a:pt x="60" y="489"/>
                    <a:pt x="61" y="487"/>
                    <a:pt x="62" y="487"/>
                  </a:cubicBezTo>
                  <a:cubicBezTo>
                    <a:pt x="64" y="487"/>
                    <a:pt x="65" y="488"/>
                    <a:pt x="65" y="489"/>
                  </a:cubicBezTo>
                  <a:close/>
                  <a:moveTo>
                    <a:pt x="78" y="549"/>
                  </a:moveTo>
                  <a:lnTo>
                    <a:pt x="79" y="552"/>
                  </a:lnTo>
                  <a:lnTo>
                    <a:pt x="87" y="584"/>
                  </a:lnTo>
                  <a:cubicBezTo>
                    <a:pt x="87" y="585"/>
                    <a:pt x="87" y="586"/>
                    <a:pt x="85" y="587"/>
                  </a:cubicBezTo>
                  <a:cubicBezTo>
                    <a:pt x="84" y="587"/>
                    <a:pt x="83" y="586"/>
                    <a:pt x="82" y="585"/>
                  </a:cubicBezTo>
                  <a:lnTo>
                    <a:pt x="74" y="553"/>
                  </a:lnTo>
                  <a:lnTo>
                    <a:pt x="73" y="550"/>
                  </a:lnTo>
                  <a:cubicBezTo>
                    <a:pt x="73" y="549"/>
                    <a:pt x="74" y="547"/>
                    <a:pt x="75" y="547"/>
                  </a:cubicBezTo>
                  <a:cubicBezTo>
                    <a:pt x="77" y="547"/>
                    <a:pt x="78" y="548"/>
                    <a:pt x="78" y="549"/>
                  </a:cubicBezTo>
                  <a:close/>
                  <a:moveTo>
                    <a:pt x="94" y="608"/>
                  </a:moveTo>
                  <a:lnTo>
                    <a:pt x="102" y="643"/>
                  </a:lnTo>
                  <a:cubicBezTo>
                    <a:pt x="103" y="644"/>
                    <a:pt x="102" y="646"/>
                    <a:pt x="101" y="646"/>
                  </a:cubicBezTo>
                  <a:cubicBezTo>
                    <a:pt x="99" y="647"/>
                    <a:pt x="98" y="646"/>
                    <a:pt x="98" y="644"/>
                  </a:cubicBezTo>
                  <a:lnTo>
                    <a:pt x="89" y="610"/>
                  </a:lnTo>
                  <a:cubicBezTo>
                    <a:pt x="88" y="608"/>
                    <a:pt x="89" y="607"/>
                    <a:pt x="90" y="607"/>
                  </a:cubicBezTo>
                  <a:cubicBezTo>
                    <a:pt x="92" y="606"/>
                    <a:pt x="93" y="607"/>
                    <a:pt x="94" y="608"/>
                  </a:cubicBezTo>
                  <a:close/>
                  <a:moveTo>
                    <a:pt x="109" y="668"/>
                  </a:moveTo>
                  <a:lnTo>
                    <a:pt x="113" y="684"/>
                  </a:lnTo>
                  <a:lnTo>
                    <a:pt x="119" y="702"/>
                  </a:lnTo>
                  <a:cubicBezTo>
                    <a:pt x="119" y="704"/>
                    <a:pt x="118" y="705"/>
                    <a:pt x="117" y="705"/>
                  </a:cubicBezTo>
                  <a:cubicBezTo>
                    <a:pt x="116" y="706"/>
                    <a:pt x="114" y="705"/>
                    <a:pt x="114" y="704"/>
                  </a:cubicBezTo>
                  <a:lnTo>
                    <a:pt x="108" y="685"/>
                  </a:lnTo>
                  <a:lnTo>
                    <a:pt x="104" y="669"/>
                  </a:lnTo>
                  <a:cubicBezTo>
                    <a:pt x="104" y="668"/>
                    <a:pt x="104" y="666"/>
                    <a:pt x="106" y="666"/>
                  </a:cubicBezTo>
                  <a:cubicBezTo>
                    <a:pt x="107" y="666"/>
                    <a:pt x="108" y="667"/>
                    <a:pt x="109" y="668"/>
                  </a:cubicBezTo>
                  <a:close/>
                  <a:moveTo>
                    <a:pt x="127" y="727"/>
                  </a:moveTo>
                  <a:lnTo>
                    <a:pt x="137" y="761"/>
                  </a:lnTo>
                  <a:cubicBezTo>
                    <a:pt x="138" y="762"/>
                    <a:pt x="137" y="764"/>
                    <a:pt x="136" y="764"/>
                  </a:cubicBezTo>
                  <a:cubicBezTo>
                    <a:pt x="134" y="764"/>
                    <a:pt x="133" y="764"/>
                    <a:pt x="133" y="762"/>
                  </a:cubicBezTo>
                  <a:lnTo>
                    <a:pt x="122" y="728"/>
                  </a:lnTo>
                  <a:cubicBezTo>
                    <a:pt x="121" y="727"/>
                    <a:pt x="122" y="725"/>
                    <a:pt x="123" y="725"/>
                  </a:cubicBezTo>
                  <a:cubicBezTo>
                    <a:pt x="125" y="724"/>
                    <a:pt x="126" y="725"/>
                    <a:pt x="127" y="727"/>
                  </a:cubicBezTo>
                  <a:close/>
                  <a:moveTo>
                    <a:pt x="145" y="785"/>
                  </a:moveTo>
                  <a:lnTo>
                    <a:pt x="154" y="813"/>
                  </a:lnTo>
                  <a:lnTo>
                    <a:pt x="156" y="819"/>
                  </a:lnTo>
                  <a:cubicBezTo>
                    <a:pt x="157" y="820"/>
                    <a:pt x="156" y="822"/>
                    <a:pt x="155" y="822"/>
                  </a:cubicBezTo>
                  <a:cubicBezTo>
                    <a:pt x="153" y="823"/>
                    <a:pt x="152" y="822"/>
                    <a:pt x="151" y="821"/>
                  </a:cubicBezTo>
                  <a:lnTo>
                    <a:pt x="149" y="814"/>
                  </a:lnTo>
                  <a:lnTo>
                    <a:pt x="140" y="787"/>
                  </a:lnTo>
                  <a:cubicBezTo>
                    <a:pt x="140" y="785"/>
                    <a:pt x="141" y="784"/>
                    <a:pt x="142" y="783"/>
                  </a:cubicBezTo>
                  <a:cubicBezTo>
                    <a:pt x="143" y="783"/>
                    <a:pt x="145" y="784"/>
                    <a:pt x="145" y="785"/>
                  </a:cubicBezTo>
                  <a:close/>
                  <a:moveTo>
                    <a:pt x="165" y="843"/>
                  </a:moveTo>
                  <a:lnTo>
                    <a:pt x="178" y="877"/>
                  </a:lnTo>
                  <a:cubicBezTo>
                    <a:pt x="178" y="878"/>
                    <a:pt x="178" y="879"/>
                    <a:pt x="176" y="880"/>
                  </a:cubicBezTo>
                  <a:cubicBezTo>
                    <a:pt x="175" y="880"/>
                    <a:pt x="173" y="880"/>
                    <a:pt x="173" y="878"/>
                  </a:cubicBezTo>
                  <a:lnTo>
                    <a:pt x="160" y="845"/>
                  </a:lnTo>
                  <a:cubicBezTo>
                    <a:pt x="160" y="843"/>
                    <a:pt x="161" y="842"/>
                    <a:pt x="162" y="842"/>
                  </a:cubicBezTo>
                  <a:cubicBezTo>
                    <a:pt x="163" y="841"/>
                    <a:pt x="165" y="842"/>
                    <a:pt x="165" y="843"/>
                  </a:cubicBezTo>
                  <a:close/>
                  <a:moveTo>
                    <a:pt x="187" y="901"/>
                  </a:moveTo>
                  <a:lnTo>
                    <a:pt x="199" y="934"/>
                  </a:lnTo>
                  <a:cubicBezTo>
                    <a:pt x="200" y="935"/>
                    <a:pt x="199" y="937"/>
                    <a:pt x="198" y="937"/>
                  </a:cubicBezTo>
                  <a:cubicBezTo>
                    <a:pt x="196" y="938"/>
                    <a:pt x="195" y="937"/>
                    <a:pt x="194" y="936"/>
                  </a:cubicBezTo>
                  <a:lnTo>
                    <a:pt x="182" y="902"/>
                  </a:lnTo>
                  <a:cubicBezTo>
                    <a:pt x="181" y="901"/>
                    <a:pt x="182" y="900"/>
                    <a:pt x="183" y="899"/>
                  </a:cubicBezTo>
                  <a:cubicBezTo>
                    <a:pt x="185" y="899"/>
                    <a:pt x="186" y="899"/>
                    <a:pt x="187" y="901"/>
                  </a:cubicBezTo>
                  <a:close/>
                  <a:moveTo>
                    <a:pt x="209" y="958"/>
                  </a:moveTo>
                  <a:lnTo>
                    <a:pt x="223" y="991"/>
                  </a:lnTo>
                  <a:cubicBezTo>
                    <a:pt x="224" y="992"/>
                    <a:pt x="223" y="993"/>
                    <a:pt x="222" y="994"/>
                  </a:cubicBezTo>
                  <a:cubicBezTo>
                    <a:pt x="221" y="994"/>
                    <a:pt x="219" y="994"/>
                    <a:pt x="219" y="993"/>
                  </a:cubicBezTo>
                  <a:lnTo>
                    <a:pt x="204" y="960"/>
                  </a:lnTo>
                  <a:cubicBezTo>
                    <a:pt x="204" y="958"/>
                    <a:pt x="204" y="957"/>
                    <a:pt x="206" y="956"/>
                  </a:cubicBezTo>
                  <a:cubicBezTo>
                    <a:pt x="207" y="956"/>
                    <a:pt x="209" y="956"/>
                    <a:pt x="209" y="958"/>
                  </a:cubicBezTo>
                  <a:close/>
                  <a:moveTo>
                    <a:pt x="233" y="1014"/>
                  </a:moveTo>
                  <a:lnTo>
                    <a:pt x="248" y="1047"/>
                  </a:lnTo>
                  <a:cubicBezTo>
                    <a:pt x="248" y="1048"/>
                    <a:pt x="248" y="1050"/>
                    <a:pt x="246" y="1050"/>
                  </a:cubicBezTo>
                  <a:cubicBezTo>
                    <a:pt x="245" y="1051"/>
                    <a:pt x="243" y="1050"/>
                    <a:pt x="243" y="1049"/>
                  </a:cubicBezTo>
                  <a:lnTo>
                    <a:pt x="229" y="1016"/>
                  </a:lnTo>
                  <a:cubicBezTo>
                    <a:pt x="228" y="1015"/>
                    <a:pt x="229" y="1013"/>
                    <a:pt x="230" y="1013"/>
                  </a:cubicBezTo>
                  <a:cubicBezTo>
                    <a:pt x="231" y="1012"/>
                    <a:pt x="233" y="1013"/>
                    <a:pt x="233" y="1014"/>
                  </a:cubicBezTo>
                  <a:close/>
                  <a:moveTo>
                    <a:pt x="258" y="1070"/>
                  </a:moveTo>
                  <a:lnTo>
                    <a:pt x="275" y="1102"/>
                  </a:lnTo>
                  <a:cubicBezTo>
                    <a:pt x="275" y="1103"/>
                    <a:pt x="275" y="1105"/>
                    <a:pt x="274" y="1105"/>
                  </a:cubicBezTo>
                  <a:cubicBezTo>
                    <a:pt x="272" y="1106"/>
                    <a:pt x="271" y="1105"/>
                    <a:pt x="270" y="1104"/>
                  </a:cubicBezTo>
                  <a:lnTo>
                    <a:pt x="254" y="1072"/>
                  </a:lnTo>
                  <a:cubicBezTo>
                    <a:pt x="253" y="1071"/>
                    <a:pt x="254" y="1070"/>
                    <a:pt x="255" y="1069"/>
                  </a:cubicBezTo>
                  <a:cubicBezTo>
                    <a:pt x="256" y="1068"/>
                    <a:pt x="258" y="1069"/>
                    <a:pt x="258" y="1070"/>
                  </a:cubicBezTo>
                  <a:close/>
                  <a:moveTo>
                    <a:pt x="286" y="1125"/>
                  </a:moveTo>
                  <a:lnTo>
                    <a:pt x="303" y="1157"/>
                  </a:lnTo>
                  <a:cubicBezTo>
                    <a:pt x="303" y="1158"/>
                    <a:pt x="303" y="1159"/>
                    <a:pt x="302" y="1160"/>
                  </a:cubicBezTo>
                  <a:cubicBezTo>
                    <a:pt x="300" y="1161"/>
                    <a:pt x="299" y="1160"/>
                    <a:pt x="298" y="1159"/>
                  </a:cubicBezTo>
                  <a:lnTo>
                    <a:pt x="282" y="1127"/>
                  </a:lnTo>
                  <a:cubicBezTo>
                    <a:pt x="281" y="1126"/>
                    <a:pt x="282" y="1124"/>
                    <a:pt x="283" y="1124"/>
                  </a:cubicBezTo>
                  <a:cubicBezTo>
                    <a:pt x="284" y="1123"/>
                    <a:pt x="286" y="1123"/>
                    <a:pt x="286" y="1125"/>
                  </a:cubicBezTo>
                  <a:close/>
                  <a:moveTo>
                    <a:pt x="314" y="1179"/>
                  </a:moveTo>
                  <a:lnTo>
                    <a:pt x="331" y="1211"/>
                  </a:lnTo>
                  <a:cubicBezTo>
                    <a:pt x="332" y="1212"/>
                    <a:pt x="331" y="1214"/>
                    <a:pt x="330" y="1215"/>
                  </a:cubicBezTo>
                  <a:cubicBezTo>
                    <a:pt x="329" y="1215"/>
                    <a:pt x="327" y="1215"/>
                    <a:pt x="326" y="1213"/>
                  </a:cubicBezTo>
                  <a:lnTo>
                    <a:pt x="310" y="1182"/>
                  </a:lnTo>
                  <a:cubicBezTo>
                    <a:pt x="309" y="1180"/>
                    <a:pt x="310" y="1179"/>
                    <a:pt x="311" y="1178"/>
                  </a:cubicBezTo>
                  <a:cubicBezTo>
                    <a:pt x="312" y="1178"/>
                    <a:pt x="314" y="1178"/>
                    <a:pt x="314" y="1179"/>
                  </a:cubicBezTo>
                  <a:close/>
                  <a:moveTo>
                    <a:pt x="343" y="1234"/>
                  </a:moveTo>
                  <a:lnTo>
                    <a:pt x="359" y="1266"/>
                  </a:lnTo>
                  <a:cubicBezTo>
                    <a:pt x="360" y="1267"/>
                    <a:pt x="359" y="1269"/>
                    <a:pt x="358" y="1269"/>
                  </a:cubicBezTo>
                  <a:cubicBezTo>
                    <a:pt x="357" y="1270"/>
                    <a:pt x="355" y="1269"/>
                    <a:pt x="354" y="1268"/>
                  </a:cubicBezTo>
                  <a:lnTo>
                    <a:pt x="338" y="1236"/>
                  </a:lnTo>
                  <a:cubicBezTo>
                    <a:pt x="337" y="1235"/>
                    <a:pt x="338" y="1233"/>
                    <a:pt x="339" y="1233"/>
                  </a:cubicBezTo>
                  <a:cubicBezTo>
                    <a:pt x="340" y="1232"/>
                    <a:pt x="342" y="1233"/>
                    <a:pt x="343" y="1234"/>
                  </a:cubicBezTo>
                  <a:close/>
                  <a:moveTo>
                    <a:pt x="371" y="1289"/>
                  </a:moveTo>
                  <a:lnTo>
                    <a:pt x="376" y="1298"/>
                  </a:lnTo>
                  <a:lnTo>
                    <a:pt x="389" y="1319"/>
                  </a:lnTo>
                  <a:cubicBezTo>
                    <a:pt x="390" y="1320"/>
                    <a:pt x="389" y="1322"/>
                    <a:pt x="388" y="1323"/>
                  </a:cubicBezTo>
                  <a:cubicBezTo>
                    <a:pt x="387" y="1323"/>
                    <a:pt x="386" y="1323"/>
                    <a:pt x="385" y="1322"/>
                  </a:cubicBezTo>
                  <a:lnTo>
                    <a:pt x="371" y="1301"/>
                  </a:lnTo>
                  <a:lnTo>
                    <a:pt x="366" y="1291"/>
                  </a:lnTo>
                  <a:cubicBezTo>
                    <a:pt x="366" y="1290"/>
                    <a:pt x="366" y="1288"/>
                    <a:pt x="367" y="1287"/>
                  </a:cubicBezTo>
                  <a:cubicBezTo>
                    <a:pt x="369" y="1287"/>
                    <a:pt x="370" y="1287"/>
                    <a:pt x="371" y="1289"/>
                  </a:cubicBezTo>
                  <a:close/>
                  <a:moveTo>
                    <a:pt x="403" y="1340"/>
                  </a:moveTo>
                  <a:lnTo>
                    <a:pt x="422" y="1371"/>
                  </a:lnTo>
                  <a:cubicBezTo>
                    <a:pt x="423" y="1372"/>
                    <a:pt x="423" y="1373"/>
                    <a:pt x="422" y="1374"/>
                  </a:cubicBezTo>
                  <a:cubicBezTo>
                    <a:pt x="420" y="1375"/>
                    <a:pt x="419" y="1375"/>
                    <a:pt x="418" y="1373"/>
                  </a:cubicBezTo>
                  <a:lnTo>
                    <a:pt x="399" y="1343"/>
                  </a:lnTo>
                  <a:cubicBezTo>
                    <a:pt x="398" y="1342"/>
                    <a:pt x="398" y="1340"/>
                    <a:pt x="399" y="1340"/>
                  </a:cubicBezTo>
                  <a:cubicBezTo>
                    <a:pt x="401" y="1339"/>
                    <a:pt x="402" y="1339"/>
                    <a:pt x="403" y="1340"/>
                  </a:cubicBezTo>
                  <a:close/>
                  <a:moveTo>
                    <a:pt x="436" y="1392"/>
                  </a:moveTo>
                  <a:lnTo>
                    <a:pt x="456" y="1422"/>
                  </a:lnTo>
                  <a:cubicBezTo>
                    <a:pt x="456" y="1423"/>
                    <a:pt x="456" y="1425"/>
                    <a:pt x="455" y="1426"/>
                  </a:cubicBezTo>
                  <a:cubicBezTo>
                    <a:pt x="454" y="1427"/>
                    <a:pt x="452" y="1426"/>
                    <a:pt x="451" y="1425"/>
                  </a:cubicBezTo>
                  <a:lnTo>
                    <a:pt x="432" y="1395"/>
                  </a:lnTo>
                  <a:cubicBezTo>
                    <a:pt x="431" y="1394"/>
                    <a:pt x="431" y="1392"/>
                    <a:pt x="433" y="1391"/>
                  </a:cubicBezTo>
                  <a:cubicBezTo>
                    <a:pt x="434" y="1391"/>
                    <a:pt x="435" y="1391"/>
                    <a:pt x="436" y="1392"/>
                  </a:cubicBezTo>
                  <a:close/>
                  <a:moveTo>
                    <a:pt x="469" y="1444"/>
                  </a:moveTo>
                  <a:lnTo>
                    <a:pt x="489" y="1474"/>
                  </a:lnTo>
                  <a:cubicBezTo>
                    <a:pt x="490" y="1475"/>
                    <a:pt x="489" y="1477"/>
                    <a:pt x="488" y="1477"/>
                  </a:cubicBezTo>
                  <a:cubicBezTo>
                    <a:pt x="487" y="1478"/>
                    <a:pt x="485" y="1478"/>
                    <a:pt x="485" y="1477"/>
                  </a:cubicBezTo>
                  <a:lnTo>
                    <a:pt x="465" y="1447"/>
                  </a:lnTo>
                  <a:cubicBezTo>
                    <a:pt x="464" y="1445"/>
                    <a:pt x="465" y="1444"/>
                    <a:pt x="466" y="1443"/>
                  </a:cubicBezTo>
                  <a:cubicBezTo>
                    <a:pt x="467" y="1442"/>
                    <a:pt x="469" y="1443"/>
                    <a:pt x="469" y="1444"/>
                  </a:cubicBezTo>
                  <a:close/>
                  <a:moveTo>
                    <a:pt x="503" y="1495"/>
                  </a:moveTo>
                  <a:lnTo>
                    <a:pt x="519" y="1520"/>
                  </a:lnTo>
                  <a:lnTo>
                    <a:pt x="523" y="1525"/>
                  </a:lnTo>
                  <a:cubicBezTo>
                    <a:pt x="523" y="1526"/>
                    <a:pt x="523" y="1528"/>
                    <a:pt x="522" y="1529"/>
                  </a:cubicBezTo>
                  <a:cubicBezTo>
                    <a:pt x="521" y="1529"/>
                    <a:pt x="519" y="1529"/>
                    <a:pt x="518" y="1528"/>
                  </a:cubicBezTo>
                  <a:lnTo>
                    <a:pt x="514" y="1523"/>
                  </a:lnTo>
                  <a:lnTo>
                    <a:pt x="498" y="1498"/>
                  </a:lnTo>
                  <a:cubicBezTo>
                    <a:pt x="498" y="1497"/>
                    <a:pt x="498" y="1495"/>
                    <a:pt x="499" y="1495"/>
                  </a:cubicBezTo>
                  <a:cubicBezTo>
                    <a:pt x="500" y="1494"/>
                    <a:pt x="502" y="1494"/>
                    <a:pt x="503" y="1495"/>
                  </a:cubicBezTo>
                  <a:close/>
                  <a:moveTo>
                    <a:pt x="538" y="1545"/>
                  </a:moveTo>
                  <a:lnTo>
                    <a:pt x="561" y="1573"/>
                  </a:lnTo>
                  <a:cubicBezTo>
                    <a:pt x="561" y="1574"/>
                    <a:pt x="561" y="1576"/>
                    <a:pt x="560" y="1577"/>
                  </a:cubicBezTo>
                  <a:cubicBezTo>
                    <a:pt x="559" y="1578"/>
                    <a:pt x="557" y="1578"/>
                    <a:pt x="557" y="1576"/>
                  </a:cubicBezTo>
                  <a:lnTo>
                    <a:pt x="534" y="1548"/>
                  </a:lnTo>
                  <a:cubicBezTo>
                    <a:pt x="533" y="1547"/>
                    <a:pt x="534" y="1546"/>
                    <a:pt x="535" y="1545"/>
                  </a:cubicBezTo>
                  <a:cubicBezTo>
                    <a:pt x="536" y="1544"/>
                    <a:pt x="537" y="1544"/>
                    <a:pt x="538" y="1545"/>
                  </a:cubicBezTo>
                  <a:close/>
                  <a:moveTo>
                    <a:pt x="576" y="1593"/>
                  </a:moveTo>
                  <a:lnTo>
                    <a:pt x="599" y="1621"/>
                  </a:lnTo>
                  <a:cubicBezTo>
                    <a:pt x="599" y="1623"/>
                    <a:pt x="599" y="1624"/>
                    <a:pt x="598" y="1625"/>
                  </a:cubicBezTo>
                  <a:cubicBezTo>
                    <a:pt x="597" y="1626"/>
                    <a:pt x="595" y="1626"/>
                    <a:pt x="595" y="1625"/>
                  </a:cubicBezTo>
                  <a:lnTo>
                    <a:pt x="572" y="1597"/>
                  </a:lnTo>
                  <a:cubicBezTo>
                    <a:pt x="571" y="1595"/>
                    <a:pt x="572" y="1594"/>
                    <a:pt x="573" y="1593"/>
                  </a:cubicBezTo>
                  <a:cubicBezTo>
                    <a:pt x="574" y="1592"/>
                    <a:pt x="576" y="1592"/>
                    <a:pt x="576" y="1593"/>
                  </a:cubicBezTo>
                  <a:close/>
                  <a:moveTo>
                    <a:pt x="614" y="1642"/>
                  </a:moveTo>
                  <a:lnTo>
                    <a:pt x="637" y="1670"/>
                  </a:lnTo>
                  <a:cubicBezTo>
                    <a:pt x="637" y="1671"/>
                    <a:pt x="637" y="1672"/>
                    <a:pt x="636" y="1673"/>
                  </a:cubicBezTo>
                  <a:cubicBezTo>
                    <a:pt x="635" y="1674"/>
                    <a:pt x="633" y="1674"/>
                    <a:pt x="633" y="1673"/>
                  </a:cubicBezTo>
                  <a:lnTo>
                    <a:pt x="610" y="1645"/>
                  </a:lnTo>
                  <a:cubicBezTo>
                    <a:pt x="610" y="1644"/>
                    <a:pt x="610" y="1642"/>
                    <a:pt x="611" y="1641"/>
                  </a:cubicBezTo>
                  <a:cubicBezTo>
                    <a:pt x="612" y="1640"/>
                    <a:pt x="614" y="1640"/>
                    <a:pt x="614" y="1642"/>
                  </a:cubicBezTo>
                  <a:close/>
                  <a:moveTo>
                    <a:pt x="652" y="1690"/>
                  </a:moveTo>
                  <a:lnTo>
                    <a:pt x="675" y="1718"/>
                  </a:lnTo>
                  <a:cubicBezTo>
                    <a:pt x="676" y="1719"/>
                    <a:pt x="675" y="1721"/>
                    <a:pt x="674" y="1722"/>
                  </a:cubicBezTo>
                  <a:cubicBezTo>
                    <a:pt x="673" y="1722"/>
                    <a:pt x="672" y="1722"/>
                    <a:pt x="671" y="1721"/>
                  </a:cubicBezTo>
                  <a:lnTo>
                    <a:pt x="648" y="1693"/>
                  </a:lnTo>
                  <a:cubicBezTo>
                    <a:pt x="648" y="1692"/>
                    <a:pt x="648" y="1690"/>
                    <a:pt x="649" y="1689"/>
                  </a:cubicBezTo>
                  <a:cubicBezTo>
                    <a:pt x="650" y="1689"/>
                    <a:pt x="652" y="1689"/>
                    <a:pt x="652" y="1690"/>
                  </a:cubicBezTo>
                  <a:close/>
                  <a:moveTo>
                    <a:pt x="691" y="1737"/>
                  </a:moveTo>
                  <a:lnTo>
                    <a:pt x="716" y="1763"/>
                  </a:lnTo>
                  <a:cubicBezTo>
                    <a:pt x="717" y="1764"/>
                    <a:pt x="717" y="1766"/>
                    <a:pt x="716" y="1767"/>
                  </a:cubicBezTo>
                  <a:cubicBezTo>
                    <a:pt x="715" y="1768"/>
                    <a:pt x="713" y="1768"/>
                    <a:pt x="712" y="1766"/>
                  </a:cubicBezTo>
                  <a:lnTo>
                    <a:pt x="688" y="1741"/>
                  </a:lnTo>
                  <a:cubicBezTo>
                    <a:pt x="687" y="1740"/>
                    <a:pt x="687" y="1738"/>
                    <a:pt x="688" y="1737"/>
                  </a:cubicBezTo>
                  <a:cubicBezTo>
                    <a:pt x="689" y="1736"/>
                    <a:pt x="690" y="1736"/>
                    <a:pt x="691" y="1737"/>
                  </a:cubicBezTo>
                  <a:close/>
                  <a:moveTo>
                    <a:pt x="734" y="1781"/>
                  </a:moveTo>
                  <a:lnTo>
                    <a:pt x="759" y="1807"/>
                  </a:lnTo>
                  <a:cubicBezTo>
                    <a:pt x="760" y="1808"/>
                    <a:pt x="760" y="1810"/>
                    <a:pt x="758" y="1811"/>
                  </a:cubicBezTo>
                  <a:cubicBezTo>
                    <a:pt x="757" y="1812"/>
                    <a:pt x="756" y="1812"/>
                    <a:pt x="755" y="1811"/>
                  </a:cubicBezTo>
                  <a:lnTo>
                    <a:pt x="730" y="1785"/>
                  </a:lnTo>
                  <a:cubicBezTo>
                    <a:pt x="729" y="1784"/>
                    <a:pt x="729" y="1782"/>
                    <a:pt x="730" y="1781"/>
                  </a:cubicBezTo>
                  <a:cubicBezTo>
                    <a:pt x="731" y="1780"/>
                    <a:pt x="733" y="1780"/>
                    <a:pt x="734" y="1781"/>
                  </a:cubicBezTo>
                  <a:close/>
                  <a:moveTo>
                    <a:pt x="776" y="1826"/>
                  </a:moveTo>
                  <a:lnTo>
                    <a:pt x="801" y="1852"/>
                  </a:lnTo>
                  <a:cubicBezTo>
                    <a:pt x="802" y="1853"/>
                    <a:pt x="802" y="1854"/>
                    <a:pt x="801" y="1855"/>
                  </a:cubicBezTo>
                  <a:cubicBezTo>
                    <a:pt x="800" y="1856"/>
                    <a:pt x="798" y="1856"/>
                    <a:pt x="797" y="1855"/>
                  </a:cubicBezTo>
                  <a:lnTo>
                    <a:pt x="773" y="1829"/>
                  </a:lnTo>
                  <a:cubicBezTo>
                    <a:pt x="772" y="1828"/>
                    <a:pt x="772" y="1827"/>
                    <a:pt x="773" y="1826"/>
                  </a:cubicBezTo>
                  <a:cubicBezTo>
                    <a:pt x="774" y="1825"/>
                    <a:pt x="775" y="1825"/>
                    <a:pt x="776" y="1826"/>
                  </a:cubicBezTo>
                  <a:close/>
                  <a:moveTo>
                    <a:pt x="819" y="1870"/>
                  </a:moveTo>
                  <a:lnTo>
                    <a:pt x="844" y="1896"/>
                  </a:lnTo>
                  <a:cubicBezTo>
                    <a:pt x="845" y="1897"/>
                    <a:pt x="845" y="1899"/>
                    <a:pt x="843" y="1900"/>
                  </a:cubicBezTo>
                  <a:cubicBezTo>
                    <a:pt x="842" y="1901"/>
                    <a:pt x="841" y="1901"/>
                    <a:pt x="840" y="1900"/>
                  </a:cubicBezTo>
                  <a:lnTo>
                    <a:pt x="815" y="1874"/>
                  </a:lnTo>
                  <a:cubicBezTo>
                    <a:pt x="814" y="1873"/>
                    <a:pt x="814" y="1871"/>
                    <a:pt x="815" y="1870"/>
                  </a:cubicBezTo>
                  <a:cubicBezTo>
                    <a:pt x="816" y="1869"/>
                    <a:pt x="818" y="1869"/>
                    <a:pt x="819" y="1870"/>
                  </a:cubicBezTo>
                  <a:close/>
                  <a:moveTo>
                    <a:pt x="861" y="1915"/>
                  </a:moveTo>
                  <a:lnTo>
                    <a:pt x="864" y="1918"/>
                  </a:lnTo>
                  <a:lnTo>
                    <a:pt x="888" y="1938"/>
                  </a:lnTo>
                  <a:cubicBezTo>
                    <a:pt x="889" y="1939"/>
                    <a:pt x="889" y="1941"/>
                    <a:pt x="888" y="1942"/>
                  </a:cubicBezTo>
                  <a:cubicBezTo>
                    <a:pt x="887" y="1943"/>
                    <a:pt x="886" y="1943"/>
                    <a:pt x="885" y="1942"/>
                  </a:cubicBezTo>
                  <a:lnTo>
                    <a:pt x="861" y="1921"/>
                  </a:lnTo>
                  <a:lnTo>
                    <a:pt x="858" y="1918"/>
                  </a:lnTo>
                  <a:cubicBezTo>
                    <a:pt x="857" y="1917"/>
                    <a:pt x="857" y="1915"/>
                    <a:pt x="858" y="1914"/>
                  </a:cubicBezTo>
                  <a:cubicBezTo>
                    <a:pt x="859" y="1913"/>
                    <a:pt x="860" y="1913"/>
                    <a:pt x="861" y="1915"/>
                  </a:cubicBezTo>
                  <a:close/>
                  <a:moveTo>
                    <a:pt x="907" y="1955"/>
                  </a:moveTo>
                  <a:lnTo>
                    <a:pt x="934" y="1978"/>
                  </a:lnTo>
                  <a:cubicBezTo>
                    <a:pt x="935" y="1979"/>
                    <a:pt x="935" y="1981"/>
                    <a:pt x="934" y="1982"/>
                  </a:cubicBezTo>
                  <a:cubicBezTo>
                    <a:pt x="934" y="1983"/>
                    <a:pt x="932" y="1983"/>
                    <a:pt x="931" y="1982"/>
                  </a:cubicBezTo>
                  <a:lnTo>
                    <a:pt x="904" y="1959"/>
                  </a:lnTo>
                  <a:cubicBezTo>
                    <a:pt x="903" y="1958"/>
                    <a:pt x="903" y="1956"/>
                    <a:pt x="904" y="1955"/>
                  </a:cubicBezTo>
                  <a:cubicBezTo>
                    <a:pt x="905" y="1954"/>
                    <a:pt x="906" y="1954"/>
                    <a:pt x="907" y="1955"/>
                  </a:cubicBezTo>
                  <a:close/>
                  <a:moveTo>
                    <a:pt x="954" y="1995"/>
                  </a:moveTo>
                  <a:lnTo>
                    <a:pt x="981" y="2019"/>
                  </a:lnTo>
                  <a:cubicBezTo>
                    <a:pt x="982" y="2020"/>
                    <a:pt x="982" y="2021"/>
                    <a:pt x="981" y="2022"/>
                  </a:cubicBezTo>
                  <a:cubicBezTo>
                    <a:pt x="980" y="2023"/>
                    <a:pt x="978" y="2024"/>
                    <a:pt x="977" y="2023"/>
                  </a:cubicBezTo>
                  <a:lnTo>
                    <a:pt x="950" y="1999"/>
                  </a:lnTo>
                  <a:cubicBezTo>
                    <a:pt x="949" y="1998"/>
                    <a:pt x="949" y="1997"/>
                    <a:pt x="950" y="1996"/>
                  </a:cubicBezTo>
                  <a:cubicBezTo>
                    <a:pt x="951" y="1994"/>
                    <a:pt x="952" y="1994"/>
                    <a:pt x="954" y="1995"/>
                  </a:cubicBezTo>
                  <a:close/>
                  <a:moveTo>
                    <a:pt x="1000" y="2036"/>
                  </a:moveTo>
                  <a:lnTo>
                    <a:pt x="1027" y="2059"/>
                  </a:lnTo>
                  <a:cubicBezTo>
                    <a:pt x="1028" y="2060"/>
                    <a:pt x="1028" y="2062"/>
                    <a:pt x="1027" y="2063"/>
                  </a:cubicBezTo>
                  <a:cubicBezTo>
                    <a:pt x="1026" y="2064"/>
                    <a:pt x="1025" y="2064"/>
                    <a:pt x="1024" y="2063"/>
                  </a:cubicBezTo>
                  <a:lnTo>
                    <a:pt x="997" y="2039"/>
                  </a:lnTo>
                  <a:cubicBezTo>
                    <a:pt x="995" y="2038"/>
                    <a:pt x="995" y="2037"/>
                    <a:pt x="996" y="2036"/>
                  </a:cubicBezTo>
                  <a:cubicBezTo>
                    <a:pt x="997" y="2035"/>
                    <a:pt x="999" y="2035"/>
                    <a:pt x="1000" y="2036"/>
                  </a:cubicBezTo>
                  <a:close/>
                  <a:moveTo>
                    <a:pt x="1046" y="2076"/>
                  </a:moveTo>
                  <a:lnTo>
                    <a:pt x="1063" y="2091"/>
                  </a:lnTo>
                  <a:lnTo>
                    <a:pt x="1074" y="2098"/>
                  </a:lnTo>
                  <a:cubicBezTo>
                    <a:pt x="1075" y="2099"/>
                    <a:pt x="1075" y="2101"/>
                    <a:pt x="1075" y="2102"/>
                  </a:cubicBezTo>
                  <a:cubicBezTo>
                    <a:pt x="1074" y="2103"/>
                    <a:pt x="1072" y="2103"/>
                    <a:pt x="1071" y="2102"/>
                  </a:cubicBezTo>
                  <a:lnTo>
                    <a:pt x="1060" y="2094"/>
                  </a:lnTo>
                  <a:lnTo>
                    <a:pt x="1043" y="2080"/>
                  </a:lnTo>
                  <a:cubicBezTo>
                    <a:pt x="1042" y="2079"/>
                    <a:pt x="1042" y="2077"/>
                    <a:pt x="1043" y="2076"/>
                  </a:cubicBezTo>
                  <a:cubicBezTo>
                    <a:pt x="1044" y="2075"/>
                    <a:pt x="1045" y="2075"/>
                    <a:pt x="1046" y="2076"/>
                  </a:cubicBezTo>
                  <a:close/>
                  <a:moveTo>
                    <a:pt x="1095" y="2113"/>
                  </a:moveTo>
                  <a:lnTo>
                    <a:pt x="1124" y="2134"/>
                  </a:lnTo>
                  <a:cubicBezTo>
                    <a:pt x="1125" y="2135"/>
                    <a:pt x="1125" y="2136"/>
                    <a:pt x="1125" y="2137"/>
                  </a:cubicBezTo>
                  <a:cubicBezTo>
                    <a:pt x="1124" y="2139"/>
                    <a:pt x="1122" y="2139"/>
                    <a:pt x="1121" y="2138"/>
                  </a:cubicBezTo>
                  <a:lnTo>
                    <a:pt x="1092" y="2117"/>
                  </a:lnTo>
                  <a:cubicBezTo>
                    <a:pt x="1091" y="2116"/>
                    <a:pt x="1090" y="2115"/>
                    <a:pt x="1091" y="2114"/>
                  </a:cubicBezTo>
                  <a:cubicBezTo>
                    <a:pt x="1092" y="2112"/>
                    <a:pt x="1094" y="2112"/>
                    <a:pt x="1095" y="2113"/>
                  </a:cubicBezTo>
                  <a:close/>
                  <a:moveTo>
                    <a:pt x="1145" y="2149"/>
                  </a:moveTo>
                  <a:lnTo>
                    <a:pt x="1174" y="2169"/>
                  </a:lnTo>
                  <a:cubicBezTo>
                    <a:pt x="1175" y="2170"/>
                    <a:pt x="1175" y="2172"/>
                    <a:pt x="1175" y="2173"/>
                  </a:cubicBezTo>
                  <a:cubicBezTo>
                    <a:pt x="1174" y="2174"/>
                    <a:pt x="1172" y="2174"/>
                    <a:pt x="1171" y="2174"/>
                  </a:cubicBezTo>
                  <a:lnTo>
                    <a:pt x="1142" y="2153"/>
                  </a:lnTo>
                  <a:cubicBezTo>
                    <a:pt x="1141" y="2152"/>
                    <a:pt x="1140" y="2150"/>
                    <a:pt x="1141" y="2149"/>
                  </a:cubicBezTo>
                  <a:cubicBezTo>
                    <a:pt x="1142" y="2148"/>
                    <a:pt x="1144" y="2148"/>
                    <a:pt x="1145" y="2149"/>
                  </a:cubicBezTo>
                  <a:close/>
                  <a:moveTo>
                    <a:pt x="1195" y="2184"/>
                  </a:moveTo>
                  <a:lnTo>
                    <a:pt x="1224" y="2205"/>
                  </a:lnTo>
                  <a:cubicBezTo>
                    <a:pt x="1225" y="2206"/>
                    <a:pt x="1226" y="2207"/>
                    <a:pt x="1225" y="2209"/>
                  </a:cubicBezTo>
                  <a:cubicBezTo>
                    <a:pt x="1224" y="2210"/>
                    <a:pt x="1222" y="2210"/>
                    <a:pt x="1221" y="2209"/>
                  </a:cubicBezTo>
                  <a:lnTo>
                    <a:pt x="1192" y="2188"/>
                  </a:lnTo>
                  <a:cubicBezTo>
                    <a:pt x="1191" y="2188"/>
                    <a:pt x="1191" y="2186"/>
                    <a:pt x="1191" y="2185"/>
                  </a:cubicBezTo>
                  <a:cubicBezTo>
                    <a:pt x="1192" y="2184"/>
                    <a:pt x="1194" y="2183"/>
                    <a:pt x="1195" y="2184"/>
                  </a:cubicBezTo>
                  <a:close/>
                  <a:moveTo>
                    <a:pt x="1245" y="2220"/>
                  </a:moveTo>
                  <a:lnTo>
                    <a:pt x="1274" y="2241"/>
                  </a:lnTo>
                  <a:cubicBezTo>
                    <a:pt x="1275" y="2241"/>
                    <a:pt x="1276" y="2243"/>
                    <a:pt x="1275" y="2244"/>
                  </a:cubicBezTo>
                  <a:cubicBezTo>
                    <a:pt x="1274" y="2245"/>
                    <a:pt x="1272" y="2246"/>
                    <a:pt x="1271" y="2245"/>
                  </a:cubicBezTo>
                  <a:lnTo>
                    <a:pt x="1242" y="2224"/>
                  </a:lnTo>
                  <a:cubicBezTo>
                    <a:pt x="1241" y="2223"/>
                    <a:pt x="1241" y="2222"/>
                    <a:pt x="1241" y="2221"/>
                  </a:cubicBezTo>
                  <a:cubicBezTo>
                    <a:pt x="1242" y="2219"/>
                    <a:pt x="1244" y="2219"/>
                    <a:pt x="1245" y="2220"/>
                  </a:cubicBezTo>
                  <a:close/>
                  <a:moveTo>
                    <a:pt x="1296" y="2254"/>
                  </a:moveTo>
                  <a:lnTo>
                    <a:pt x="1327" y="2272"/>
                  </a:lnTo>
                  <a:cubicBezTo>
                    <a:pt x="1328" y="2272"/>
                    <a:pt x="1328" y="2274"/>
                    <a:pt x="1328" y="2275"/>
                  </a:cubicBezTo>
                  <a:cubicBezTo>
                    <a:pt x="1327" y="2276"/>
                    <a:pt x="1325" y="2277"/>
                    <a:pt x="1324" y="2276"/>
                  </a:cubicBezTo>
                  <a:lnTo>
                    <a:pt x="1293" y="2258"/>
                  </a:lnTo>
                  <a:cubicBezTo>
                    <a:pt x="1292" y="2257"/>
                    <a:pt x="1292" y="2256"/>
                    <a:pt x="1292" y="2255"/>
                  </a:cubicBezTo>
                  <a:cubicBezTo>
                    <a:pt x="1293" y="2253"/>
                    <a:pt x="1295" y="2253"/>
                    <a:pt x="1296" y="2254"/>
                  </a:cubicBezTo>
                  <a:close/>
                  <a:moveTo>
                    <a:pt x="1349" y="2285"/>
                  </a:moveTo>
                  <a:lnTo>
                    <a:pt x="1380" y="2303"/>
                  </a:lnTo>
                  <a:cubicBezTo>
                    <a:pt x="1381" y="2303"/>
                    <a:pt x="1382" y="2305"/>
                    <a:pt x="1381" y="2306"/>
                  </a:cubicBezTo>
                  <a:cubicBezTo>
                    <a:pt x="1380" y="2307"/>
                    <a:pt x="1379" y="2308"/>
                    <a:pt x="1377" y="2307"/>
                  </a:cubicBezTo>
                  <a:lnTo>
                    <a:pt x="1346" y="2289"/>
                  </a:lnTo>
                  <a:cubicBezTo>
                    <a:pt x="1345" y="2288"/>
                    <a:pt x="1345" y="2287"/>
                    <a:pt x="1345" y="2286"/>
                  </a:cubicBezTo>
                  <a:cubicBezTo>
                    <a:pt x="1346" y="2284"/>
                    <a:pt x="1348" y="2284"/>
                    <a:pt x="1349" y="2285"/>
                  </a:cubicBezTo>
                  <a:close/>
                  <a:moveTo>
                    <a:pt x="1402" y="2315"/>
                  </a:moveTo>
                  <a:lnTo>
                    <a:pt x="1433" y="2333"/>
                  </a:lnTo>
                  <a:cubicBezTo>
                    <a:pt x="1434" y="2334"/>
                    <a:pt x="1435" y="2336"/>
                    <a:pt x="1434" y="2337"/>
                  </a:cubicBezTo>
                  <a:cubicBezTo>
                    <a:pt x="1433" y="2338"/>
                    <a:pt x="1432" y="2339"/>
                    <a:pt x="1431" y="2338"/>
                  </a:cubicBezTo>
                  <a:lnTo>
                    <a:pt x="1400" y="2320"/>
                  </a:lnTo>
                  <a:cubicBezTo>
                    <a:pt x="1398" y="2319"/>
                    <a:pt x="1398" y="2318"/>
                    <a:pt x="1399" y="2316"/>
                  </a:cubicBezTo>
                  <a:cubicBezTo>
                    <a:pt x="1399" y="2315"/>
                    <a:pt x="1401" y="2315"/>
                    <a:pt x="1402" y="2315"/>
                  </a:cubicBezTo>
                  <a:close/>
                  <a:moveTo>
                    <a:pt x="1455" y="2346"/>
                  </a:moveTo>
                  <a:lnTo>
                    <a:pt x="1486" y="2364"/>
                  </a:lnTo>
                  <a:cubicBezTo>
                    <a:pt x="1487" y="2365"/>
                    <a:pt x="1488" y="2367"/>
                    <a:pt x="1487" y="2368"/>
                  </a:cubicBezTo>
                  <a:cubicBezTo>
                    <a:pt x="1486" y="2369"/>
                    <a:pt x="1485" y="2369"/>
                    <a:pt x="1484" y="2369"/>
                  </a:cubicBezTo>
                  <a:lnTo>
                    <a:pt x="1453" y="2351"/>
                  </a:lnTo>
                  <a:cubicBezTo>
                    <a:pt x="1451" y="2350"/>
                    <a:pt x="1451" y="2348"/>
                    <a:pt x="1452" y="2347"/>
                  </a:cubicBezTo>
                  <a:cubicBezTo>
                    <a:pt x="1452" y="2346"/>
                    <a:pt x="1454" y="2346"/>
                    <a:pt x="1455" y="2346"/>
                  </a:cubicBezTo>
                  <a:close/>
                  <a:moveTo>
                    <a:pt x="1508" y="2377"/>
                  </a:moveTo>
                  <a:lnTo>
                    <a:pt x="1541" y="2392"/>
                  </a:lnTo>
                  <a:cubicBezTo>
                    <a:pt x="1542" y="2392"/>
                    <a:pt x="1543" y="2394"/>
                    <a:pt x="1542" y="2395"/>
                  </a:cubicBezTo>
                  <a:cubicBezTo>
                    <a:pt x="1541" y="2397"/>
                    <a:pt x="1540" y="2397"/>
                    <a:pt x="1539" y="2397"/>
                  </a:cubicBezTo>
                  <a:lnTo>
                    <a:pt x="1506" y="2382"/>
                  </a:lnTo>
                  <a:cubicBezTo>
                    <a:pt x="1505" y="2381"/>
                    <a:pt x="1504" y="2379"/>
                    <a:pt x="1505" y="2378"/>
                  </a:cubicBezTo>
                  <a:cubicBezTo>
                    <a:pt x="1505" y="2377"/>
                    <a:pt x="1507" y="2376"/>
                    <a:pt x="1508" y="2377"/>
                  </a:cubicBezTo>
                  <a:close/>
                  <a:moveTo>
                    <a:pt x="1564" y="2403"/>
                  </a:moveTo>
                  <a:lnTo>
                    <a:pt x="1597" y="2417"/>
                  </a:lnTo>
                  <a:cubicBezTo>
                    <a:pt x="1598" y="2418"/>
                    <a:pt x="1598" y="2420"/>
                    <a:pt x="1598" y="2421"/>
                  </a:cubicBezTo>
                  <a:cubicBezTo>
                    <a:pt x="1597" y="2422"/>
                    <a:pt x="1596" y="2423"/>
                    <a:pt x="1594" y="2422"/>
                  </a:cubicBezTo>
                  <a:lnTo>
                    <a:pt x="1562" y="2407"/>
                  </a:lnTo>
                  <a:cubicBezTo>
                    <a:pt x="1561" y="2407"/>
                    <a:pt x="1560" y="2405"/>
                    <a:pt x="1561" y="2404"/>
                  </a:cubicBezTo>
                  <a:cubicBezTo>
                    <a:pt x="1561" y="2402"/>
                    <a:pt x="1563" y="2402"/>
                    <a:pt x="1564" y="2403"/>
                  </a:cubicBezTo>
                  <a:close/>
                  <a:moveTo>
                    <a:pt x="1620" y="2428"/>
                  </a:moveTo>
                  <a:lnTo>
                    <a:pt x="1652" y="2443"/>
                  </a:lnTo>
                  <a:cubicBezTo>
                    <a:pt x="1654" y="2444"/>
                    <a:pt x="1654" y="2445"/>
                    <a:pt x="1654" y="2446"/>
                  </a:cubicBezTo>
                  <a:cubicBezTo>
                    <a:pt x="1653" y="2448"/>
                    <a:pt x="1652" y="2448"/>
                    <a:pt x="1650" y="2448"/>
                  </a:cubicBezTo>
                  <a:lnTo>
                    <a:pt x="1618" y="2433"/>
                  </a:lnTo>
                  <a:cubicBezTo>
                    <a:pt x="1616" y="2432"/>
                    <a:pt x="1616" y="2431"/>
                    <a:pt x="1616" y="2429"/>
                  </a:cubicBezTo>
                  <a:cubicBezTo>
                    <a:pt x="1617" y="2428"/>
                    <a:pt x="1619" y="2428"/>
                    <a:pt x="1620" y="2428"/>
                  </a:cubicBezTo>
                  <a:close/>
                  <a:moveTo>
                    <a:pt x="1676" y="2454"/>
                  </a:moveTo>
                  <a:lnTo>
                    <a:pt x="1708" y="2469"/>
                  </a:lnTo>
                  <a:cubicBezTo>
                    <a:pt x="1710" y="2469"/>
                    <a:pt x="1710" y="2471"/>
                    <a:pt x="1710" y="2472"/>
                  </a:cubicBezTo>
                  <a:cubicBezTo>
                    <a:pt x="1709" y="2473"/>
                    <a:pt x="1707" y="2474"/>
                    <a:pt x="1706" y="2473"/>
                  </a:cubicBezTo>
                  <a:lnTo>
                    <a:pt x="1674" y="2458"/>
                  </a:lnTo>
                  <a:cubicBezTo>
                    <a:pt x="1672" y="2458"/>
                    <a:pt x="1672" y="2456"/>
                    <a:pt x="1672" y="2455"/>
                  </a:cubicBezTo>
                  <a:cubicBezTo>
                    <a:pt x="1673" y="2454"/>
                    <a:pt x="1674" y="2453"/>
                    <a:pt x="1676" y="2454"/>
                  </a:cubicBezTo>
                  <a:close/>
                  <a:moveTo>
                    <a:pt x="1732" y="2479"/>
                  </a:moveTo>
                  <a:lnTo>
                    <a:pt x="1749" y="2487"/>
                  </a:lnTo>
                  <a:lnTo>
                    <a:pt x="1764" y="2493"/>
                  </a:lnTo>
                  <a:cubicBezTo>
                    <a:pt x="1766" y="2493"/>
                    <a:pt x="1766" y="2495"/>
                    <a:pt x="1766" y="2496"/>
                  </a:cubicBezTo>
                  <a:cubicBezTo>
                    <a:pt x="1765" y="2498"/>
                    <a:pt x="1764" y="2498"/>
                    <a:pt x="1763" y="2498"/>
                  </a:cubicBezTo>
                  <a:lnTo>
                    <a:pt x="1746" y="2492"/>
                  </a:lnTo>
                  <a:lnTo>
                    <a:pt x="1729" y="2484"/>
                  </a:lnTo>
                  <a:cubicBezTo>
                    <a:pt x="1728" y="2483"/>
                    <a:pt x="1728" y="2482"/>
                    <a:pt x="1728" y="2481"/>
                  </a:cubicBezTo>
                  <a:cubicBezTo>
                    <a:pt x="1729" y="2479"/>
                    <a:pt x="1730" y="2479"/>
                    <a:pt x="1732" y="2479"/>
                  </a:cubicBezTo>
                  <a:close/>
                  <a:moveTo>
                    <a:pt x="1788" y="2502"/>
                  </a:moveTo>
                  <a:lnTo>
                    <a:pt x="1822" y="2514"/>
                  </a:lnTo>
                  <a:cubicBezTo>
                    <a:pt x="1823" y="2515"/>
                    <a:pt x="1824" y="2516"/>
                    <a:pt x="1824" y="2518"/>
                  </a:cubicBezTo>
                  <a:cubicBezTo>
                    <a:pt x="1823" y="2519"/>
                    <a:pt x="1822" y="2520"/>
                    <a:pt x="1820" y="2519"/>
                  </a:cubicBezTo>
                  <a:lnTo>
                    <a:pt x="1787" y="2507"/>
                  </a:lnTo>
                  <a:cubicBezTo>
                    <a:pt x="1785" y="2506"/>
                    <a:pt x="1785" y="2505"/>
                    <a:pt x="1785" y="2503"/>
                  </a:cubicBezTo>
                  <a:cubicBezTo>
                    <a:pt x="1786" y="2502"/>
                    <a:pt x="1787" y="2501"/>
                    <a:pt x="1788" y="2502"/>
                  </a:cubicBezTo>
                  <a:close/>
                  <a:moveTo>
                    <a:pt x="1846" y="2523"/>
                  </a:moveTo>
                  <a:lnTo>
                    <a:pt x="1873" y="2533"/>
                  </a:lnTo>
                  <a:lnTo>
                    <a:pt x="1880" y="2535"/>
                  </a:lnTo>
                  <a:cubicBezTo>
                    <a:pt x="1881" y="2536"/>
                    <a:pt x="1882" y="2537"/>
                    <a:pt x="1881" y="2538"/>
                  </a:cubicBezTo>
                  <a:cubicBezTo>
                    <a:pt x="1881" y="2540"/>
                    <a:pt x="1880" y="2540"/>
                    <a:pt x="1878" y="2540"/>
                  </a:cubicBezTo>
                  <a:lnTo>
                    <a:pt x="1872" y="2538"/>
                  </a:lnTo>
                  <a:lnTo>
                    <a:pt x="1844" y="2528"/>
                  </a:lnTo>
                  <a:cubicBezTo>
                    <a:pt x="1843" y="2527"/>
                    <a:pt x="1842" y="2526"/>
                    <a:pt x="1843" y="2525"/>
                  </a:cubicBezTo>
                  <a:cubicBezTo>
                    <a:pt x="1843" y="2523"/>
                    <a:pt x="1845" y="2523"/>
                    <a:pt x="1846" y="2523"/>
                  </a:cubicBezTo>
                  <a:close/>
                  <a:moveTo>
                    <a:pt x="1904" y="2543"/>
                  </a:moveTo>
                  <a:lnTo>
                    <a:pt x="1938" y="2554"/>
                  </a:lnTo>
                  <a:cubicBezTo>
                    <a:pt x="1940" y="2554"/>
                    <a:pt x="1940" y="2556"/>
                    <a:pt x="1940" y="2557"/>
                  </a:cubicBezTo>
                  <a:cubicBezTo>
                    <a:pt x="1940" y="2558"/>
                    <a:pt x="1938" y="2559"/>
                    <a:pt x="1937" y="2559"/>
                  </a:cubicBezTo>
                  <a:lnTo>
                    <a:pt x="1903" y="2548"/>
                  </a:lnTo>
                  <a:cubicBezTo>
                    <a:pt x="1901" y="2547"/>
                    <a:pt x="1901" y="2546"/>
                    <a:pt x="1901" y="2545"/>
                  </a:cubicBezTo>
                  <a:cubicBezTo>
                    <a:pt x="1901" y="2543"/>
                    <a:pt x="1903" y="2542"/>
                    <a:pt x="1904" y="2543"/>
                  </a:cubicBezTo>
                  <a:close/>
                  <a:moveTo>
                    <a:pt x="1963" y="2561"/>
                  </a:moveTo>
                  <a:lnTo>
                    <a:pt x="1997" y="2572"/>
                  </a:lnTo>
                  <a:cubicBezTo>
                    <a:pt x="1998" y="2573"/>
                    <a:pt x="1999" y="2574"/>
                    <a:pt x="1999" y="2576"/>
                  </a:cubicBezTo>
                  <a:cubicBezTo>
                    <a:pt x="1998" y="2577"/>
                    <a:pt x="1997" y="2578"/>
                    <a:pt x="1995" y="2577"/>
                  </a:cubicBezTo>
                  <a:lnTo>
                    <a:pt x="1961" y="2566"/>
                  </a:lnTo>
                  <a:cubicBezTo>
                    <a:pt x="1960" y="2566"/>
                    <a:pt x="1959" y="2564"/>
                    <a:pt x="1959" y="2563"/>
                  </a:cubicBezTo>
                  <a:cubicBezTo>
                    <a:pt x="1960" y="2562"/>
                    <a:pt x="1961" y="2561"/>
                    <a:pt x="1963" y="2561"/>
                  </a:cubicBezTo>
                  <a:close/>
                  <a:moveTo>
                    <a:pt x="2021" y="2579"/>
                  </a:moveTo>
                  <a:lnTo>
                    <a:pt x="2056" y="2589"/>
                  </a:lnTo>
                  <a:cubicBezTo>
                    <a:pt x="2057" y="2589"/>
                    <a:pt x="2058" y="2590"/>
                    <a:pt x="2058" y="2592"/>
                  </a:cubicBezTo>
                  <a:cubicBezTo>
                    <a:pt x="2057" y="2593"/>
                    <a:pt x="2056" y="2594"/>
                    <a:pt x="2055" y="2593"/>
                  </a:cubicBezTo>
                  <a:lnTo>
                    <a:pt x="2020" y="2584"/>
                  </a:lnTo>
                  <a:cubicBezTo>
                    <a:pt x="2019" y="2584"/>
                    <a:pt x="2018" y="2582"/>
                    <a:pt x="2018" y="2581"/>
                  </a:cubicBezTo>
                  <a:cubicBezTo>
                    <a:pt x="2019" y="2580"/>
                    <a:pt x="2020" y="2579"/>
                    <a:pt x="2021" y="2579"/>
                  </a:cubicBezTo>
                  <a:close/>
                  <a:moveTo>
                    <a:pt x="2081" y="2595"/>
                  </a:moveTo>
                  <a:lnTo>
                    <a:pt x="2115" y="2604"/>
                  </a:lnTo>
                  <a:cubicBezTo>
                    <a:pt x="2117" y="2605"/>
                    <a:pt x="2117" y="2606"/>
                    <a:pt x="2117" y="2608"/>
                  </a:cubicBezTo>
                  <a:cubicBezTo>
                    <a:pt x="2117" y="2609"/>
                    <a:pt x="2115" y="2610"/>
                    <a:pt x="2114" y="2609"/>
                  </a:cubicBezTo>
                  <a:lnTo>
                    <a:pt x="2079" y="2600"/>
                  </a:lnTo>
                  <a:cubicBezTo>
                    <a:pt x="2078" y="2600"/>
                    <a:pt x="2077" y="2598"/>
                    <a:pt x="2078" y="2597"/>
                  </a:cubicBezTo>
                  <a:cubicBezTo>
                    <a:pt x="2078" y="2596"/>
                    <a:pt x="2079" y="2595"/>
                    <a:pt x="2081" y="2595"/>
                  </a:cubicBezTo>
                  <a:close/>
                  <a:moveTo>
                    <a:pt x="2140" y="2611"/>
                  </a:moveTo>
                  <a:lnTo>
                    <a:pt x="2175" y="2618"/>
                  </a:lnTo>
                  <a:cubicBezTo>
                    <a:pt x="2176" y="2618"/>
                    <a:pt x="2177" y="2620"/>
                    <a:pt x="2177" y="2621"/>
                  </a:cubicBezTo>
                  <a:cubicBezTo>
                    <a:pt x="2177" y="2622"/>
                    <a:pt x="2175" y="2623"/>
                    <a:pt x="2174" y="2623"/>
                  </a:cubicBezTo>
                  <a:lnTo>
                    <a:pt x="2139" y="2616"/>
                  </a:lnTo>
                  <a:cubicBezTo>
                    <a:pt x="2138" y="2615"/>
                    <a:pt x="2137" y="2614"/>
                    <a:pt x="2137" y="2613"/>
                  </a:cubicBezTo>
                  <a:cubicBezTo>
                    <a:pt x="2137" y="2611"/>
                    <a:pt x="2139" y="2610"/>
                    <a:pt x="2140" y="2611"/>
                  </a:cubicBezTo>
                  <a:close/>
                  <a:moveTo>
                    <a:pt x="2200" y="2623"/>
                  </a:moveTo>
                  <a:lnTo>
                    <a:pt x="2235" y="2631"/>
                  </a:lnTo>
                  <a:cubicBezTo>
                    <a:pt x="2237" y="2631"/>
                    <a:pt x="2237" y="2632"/>
                    <a:pt x="2237" y="2634"/>
                  </a:cubicBezTo>
                  <a:cubicBezTo>
                    <a:pt x="2237" y="2635"/>
                    <a:pt x="2236" y="2636"/>
                    <a:pt x="2234" y="2636"/>
                  </a:cubicBezTo>
                  <a:lnTo>
                    <a:pt x="2199" y="2628"/>
                  </a:lnTo>
                  <a:cubicBezTo>
                    <a:pt x="2198" y="2628"/>
                    <a:pt x="2197" y="2627"/>
                    <a:pt x="2197" y="2625"/>
                  </a:cubicBezTo>
                  <a:cubicBezTo>
                    <a:pt x="2197" y="2624"/>
                    <a:pt x="2199" y="2623"/>
                    <a:pt x="2200" y="2623"/>
                  </a:cubicBezTo>
                  <a:close/>
                  <a:moveTo>
                    <a:pt x="2260" y="2636"/>
                  </a:moveTo>
                  <a:lnTo>
                    <a:pt x="2266" y="2637"/>
                  </a:lnTo>
                  <a:lnTo>
                    <a:pt x="2295" y="2642"/>
                  </a:lnTo>
                  <a:cubicBezTo>
                    <a:pt x="2297" y="2642"/>
                    <a:pt x="2298" y="2643"/>
                    <a:pt x="2298" y="2645"/>
                  </a:cubicBezTo>
                  <a:cubicBezTo>
                    <a:pt x="2297" y="2646"/>
                    <a:pt x="2296" y="2647"/>
                    <a:pt x="2295" y="2647"/>
                  </a:cubicBezTo>
                  <a:lnTo>
                    <a:pt x="2265" y="2642"/>
                  </a:lnTo>
                  <a:lnTo>
                    <a:pt x="2259" y="2641"/>
                  </a:lnTo>
                  <a:cubicBezTo>
                    <a:pt x="2258" y="2640"/>
                    <a:pt x="2257" y="2639"/>
                    <a:pt x="2257" y="2638"/>
                  </a:cubicBezTo>
                  <a:cubicBezTo>
                    <a:pt x="2258" y="2636"/>
                    <a:pt x="2259" y="2635"/>
                    <a:pt x="2260" y="2636"/>
                  </a:cubicBezTo>
                  <a:close/>
                  <a:moveTo>
                    <a:pt x="2321" y="2646"/>
                  </a:moveTo>
                  <a:lnTo>
                    <a:pt x="2356" y="2652"/>
                  </a:lnTo>
                  <a:cubicBezTo>
                    <a:pt x="2358" y="2652"/>
                    <a:pt x="2358" y="2653"/>
                    <a:pt x="2358" y="2655"/>
                  </a:cubicBezTo>
                  <a:cubicBezTo>
                    <a:pt x="2358" y="2656"/>
                    <a:pt x="2357" y="2657"/>
                    <a:pt x="2355" y="2657"/>
                  </a:cubicBezTo>
                  <a:lnTo>
                    <a:pt x="2355" y="2657"/>
                  </a:lnTo>
                  <a:lnTo>
                    <a:pt x="2320" y="2651"/>
                  </a:lnTo>
                  <a:cubicBezTo>
                    <a:pt x="2319" y="2651"/>
                    <a:pt x="2318" y="2649"/>
                    <a:pt x="2318" y="2648"/>
                  </a:cubicBezTo>
                  <a:cubicBezTo>
                    <a:pt x="2318" y="2647"/>
                    <a:pt x="2319" y="2646"/>
                    <a:pt x="2321" y="2646"/>
                  </a:cubicBezTo>
                  <a:close/>
                  <a:moveTo>
                    <a:pt x="2381" y="2656"/>
                  </a:moveTo>
                  <a:lnTo>
                    <a:pt x="2401" y="2659"/>
                  </a:lnTo>
                  <a:lnTo>
                    <a:pt x="2417" y="2661"/>
                  </a:lnTo>
                  <a:cubicBezTo>
                    <a:pt x="2418" y="2661"/>
                    <a:pt x="2419" y="2662"/>
                    <a:pt x="2419" y="2663"/>
                  </a:cubicBezTo>
                  <a:cubicBezTo>
                    <a:pt x="2419" y="2665"/>
                    <a:pt x="2418" y="2666"/>
                    <a:pt x="2416" y="2666"/>
                  </a:cubicBezTo>
                  <a:lnTo>
                    <a:pt x="2400" y="2664"/>
                  </a:lnTo>
                  <a:lnTo>
                    <a:pt x="2381" y="2661"/>
                  </a:lnTo>
                  <a:cubicBezTo>
                    <a:pt x="2379" y="2661"/>
                    <a:pt x="2378" y="2659"/>
                    <a:pt x="2378" y="2658"/>
                  </a:cubicBezTo>
                  <a:cubicBezTo>
                    <a:pt x="2379" y="2656"/>
                    <a:pt x="2380" y="2656"/>
                    <a:pt x="2381" y="2656"/>
                  </a:cubicBezTo>
                  <a:close/>
                  <a:moveTo>
                    <a:pt x="2442" y="2663"/>
                  </a:moveTo>
                  <a:lnTo>
                    <a:pt x="2478" y="2667"/>
                  </a:lnTo>
                  <a:cubicBezTo>
                    <a:pt x="2479" y="2667"/>
                    <a:pt x="2480" y="2669"/>
                    <a:pt x="2480" y="2670"/>
                  </a:cubicBezTo>
                  <a:cubicBezTo>
                    <a:pt x="2480" y="2672"/>
                    <a:pt x="2479" y="2673"/>
                    <a:pt x="2477" y="2672"/>
                  </a:cubicBezTo>
                  <a:lnTo>
                    <a:pt x="2442" y="2669"/>
                  </a:lnTo>
                  <a:cubicBezTo>
                    <a:pt x="2440" y="2668"/>
                    <a:pt x="2439" y="2667"/>
                    <a:pt x="2439" y="2666"/>
                  </a:cubicBezTo>
                  <a:cubicBezTo>
                    <a:pt x="2440" y="2664"/>
                    <a:pt x="2441" y="2663"/>
                    <a:pt x="2442" y="2663"/>
                  </a:cubicBezTo>
                  <a:close/>
                  <a:moveTo>
                    <a:pt x="2503" y="2670"/>
                  </a:moveTo>
                  <a:lnTo>
                    <a:pt x="2539" y="2674"/>
                  </a:lnTo>
                  <a:lnTo>
                    <a:pt x="2539" y="2674"/>
                  </a:lnTo>
                  <a:cubicBezTo>
                    <a:pt x="2540" y="2674"/>
                    <a:pt x="2541" y="2675"/>
                    <a:pt x="2541" y="2677"/>
                  </a:cubicBezTo>
                  <a:cubicBezTo>
                    <a:pt x="2541" y="2678"/>
                    <a:pt x="2540" y="2679"/>
                    <a:pt x="2538" y="2679"/>
                  </a:cubicBezTo>
                  <a:lnTo>
                    <a:pt x="2538" y="2679"/>
                  </a:lnTo>
                  <a:lnTo>
                    <a:pt x="2503" y="2675"/>
                  </a:lnTo>
                  <a:cubicBezTo>
                    <a:pt x="2501" y="2675"/>
                    <a:pt x="2500" y="2674"/>
                    <a:pt x="2500" y="2672"/>
                  </a:cubicBezTo>
                  <a:cubicBezTo>
                    <a:pt x="2501" y="2671"/>
                    <a:pt x="2502" y="2670"/>
                    <a:pt x="2503" y="2670"/>
                  </a:cubicBezTo>
                  <a:close/>
                  <a:moveTo>
                    <a:pt x="2564" y="2676"/>
                  </a:moveTo>
                  <a:lnTo>
                    <a:pt x="2600" y="2678"/>
                  </a:lnTo>
                  <a:cubicBezTo>
                    <a:pt x="2601" y="2678"/>
                    <a:pt x="2603" y="2679"/>
                    <a:pt x="2602" y="2681"/>
                  </a:cubicBezTo>
                  <a:cubicBezTo>
                    <a:pt x="2602" y="2682"/>
                    <a:pt x="2601" y="2683"/>
                    <a:pt x="2600" y="2683"/>
                  </a:cubicBezTo>
                  <a:lnTo>
                    <a:pt x="2564" y="2681"/>
                  </a:lnTo>
                  <a:cubicBezTo>
                    <a:pt x="2563" y="2681"/>
                    <a:pt x="2562" y="2679"/>
                    <a:pt x="2562" y="2678"/>
                  </a:cubicBezTo>
                  <a:cubicBezTo>
                    <a:pt x="2562" y="2677"/>
                    <a:pt x="2563" y="2675"/>
                    <a:pt x="2564" y="2676"/>
                  </a:cubicBezTo>
                  <a:close/>
                  <a:moveTo>
                    <a:pt x="2626" y="2680"/>
                  </a:moveTo>
                  <a:lnTo>
                    <a:pt x="2661" y="2682"/>
                  </a:lnTo>
                  <a:cubicBezTo>
                    <a:pt x="2663" y="2682"/>
                    <a:pt x="2664" y="2683"/>
                    <a:pt x="2664" y="2685"/>
                  </a:cubicBezTo>
                  <a:cubicBezTo>
                    <a:pt x="2664" y="2686"/>
                    <a:pt x="2662" y="2687"/>
                    <a:pt x="2661" y="2687"/>
                  </a:cubicBezTo>
                  <a:lnTo>
                    <a:pt x="2625" y="2685"/>
                  </a:lnTo>
                  <a:cubicBezTo>
                    <a:pt x="2624" y="2685"/>
                    <a:pt x="2623" y="2683"/>
                    <a:pt x="2623" y="2682"/>
                  </a:cubicBezTo>
                  <a:cubicBezTo>
                    <a:pt x="2623" y="2681"/>
                    <a:pt x="2624" y="2679"/>
                    <a:pt x="2626" y="2680"/>
                  </a:cubicBezTo>
                  <a:close/>
                  <a:moveTo>
                    <a:pt x="2687" y="2683"/>
                  </a:moveTo>
                  <a:lnTo>
                    <a:pt x="2723" y="2683"/>
                  </a:lnTo>
                  <a:cubicBezTo>
                    <a:pt x="2724" y="2683"/>
                    <a:pt x="2725" y="2684"/>
                    <a:pt x="2725" y="2686"/>
                  </a:cubicBezTo>
                  <a:cubicBezTo>
                    <a:pt x="2725" y="2687"/>
                    <a:pt x="2724" y="2688"/>
                    <a:pt x="2723" y="2688"/>
                  </a:cubicBezTo>
                  <a:lnTo>
                    <a:pt x="2687" y="2688"/>
                  </a:lnTo>
                  <a:cubicBezTo>
                    <a:pt x="2685" y="2688"/>
                    <a:pt x="2684" y="2687"/>
                    <a:pt x="2684" y="2686"/>
                  </a:cubicBezTo>
                  <a:cubicBezTo>
                    <a:pt x="2684" y="2684"/>
                    <a:pt x="2685" y="2683"/>
                    <a:pt x="2687" y="2683"/>
                  </a:cubicBezTo>
                  <a:close/>
                  <a:moveTo>
                    <a:pt x="2748" y="2683"/>
                  </a:moveTo>
                  <a:lnTo>
                    <a:pt x="2784" y="2684"/>
                  </a:lnTo>
                  <a:cubicBezTo>
                    <a:pt x="2785" y="2684"/>
                    <a:pt x="2787" y="2685"/>
                    <a:pt x="2787" y="2686"/>
                  </a:cubicBezTo>
                  <a:cubicBezTo>
                    <a:pt x="2787" y="2688"/>
                    <a:pt x="2785" y="2689"/>
                    <a:pt x="2784" y="2689"/>
                  </a:cubicBezTo>
                  <a:lnTo>
                    <a:pt x="2748" y="2689"/>
                  </a:lnTo>
                  <a:cubicBezTo>
                    <a:pt x="2747" y="2689"/>
                    <a:pt x="2746" y="2687"/>
                    <a:pt x="2746" y="2686"/>
                  </a:cubicBezTo>
                  <a:cubicBezTo>
                    <a:pt x="2746" y="2685"/>
                    <a:pt x="2747" y="2683"/>
                    <a:pt x="2748" y="2683"/>
                  </a:cubicBezTo>
                  <a:close/>
                  <a:moveTo>
                    <a:pt x="2810" y="2684"/>
                  </a:moveTo>
                  <a:lnTo>
                    <a:pt x="2818" y="2684"/>
                  </a:lnTo>
                  <a:cubicBezTo>
                    <a:pt x="2820" y="2684"/>
                    <a:pt x="2821" y="2685"/>
                    <a:pt x="2821" y="2686"/>
                  </a:cubicBezTo>
                  <a:cubicBezTo>
                    <a:pt x="2821" y="2688"/>
                    <a:pt x="2820" y="2689"/>
                    <a:pt x="2818" y="2689"/>
                  </a:cubicBezTo>
                  <a:lnTo>
                    <a:pt x="2810" y="2689"/>
                  </a:lnTo>
                  <a:cubicBezTo>
                    <a:pt x="2808" y="2689"/>
                    <a:pt x="2807" y="2688"/>
                    <a:pt x="2807" y="2686"/>
                  </a:cubicBezTo>
                  <a:cubicBezTo>
                    <a:pt x="2807" y="2685"/>
                    <a:pt x="2808" y="2684"/>
                    <a:pt x="2810" y="2684"/>
                  </a:cubicBezTo>
                  <a:close/>
                </a:path>
              </a:pathLst>
            </a:custGeom>
            <a:solidFill>
              <a:srgbClr val="C00000"/>
            </a:solidFill>
            <a:ln w="0" cap="flat">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27" name="Freeform 149">
              <a:extLst>
                <a:ext uri="{FF2B5EF4-FFF2-40B4-BE49-F238E27FC236}">
                  <a16:creationId xmlns:a16="http://schemas.microsoft.com/office/drawing/2014/main" id="{3F84171A-CB8B-4D94-9A2C-09D8FE4C0D81}"/>
                </a:ext>
              </a:extLst>
            </p:cNvPr>
            <p:cNvSpPr>
              <a:spLocks/>
            </p:cNvSpPr>
            <p:nvPr/>
          </p:nvSpPr>
          <p:spPr bwMode="auto">
            <a:xfrm>
              <a:off x="3808" y="3570"/>
              <a:ext cx="53" cy="53"/>
            </a:xfrm>
            <a:custGeom>
              <a:avLst/>
              <a:gdLst>
                <a:gd name="T0" fmla="*/ 0 w 53"/>
                <a:gd name="T1" fmla="*/ 0 h 53"/>
                <a:gd name="T2" fmla="*/ 53 w 53"/>
                <a:gd name="T3" fmla="*/ 24 h 53"/>
                <a:gd name="T4" fmla="*/ 2 w 53"/>
                <a:gd name="T5" fmla="*/ 53 h 53"/>
                <a:gd name="T6" fmla="*/ 0 w 53"/>
                <a:gd name="T7" fmla="*/ 0 h 53"/>
              </a:gdLst>
              <a:ahLst/>
              <a:cxnLst>
                <a:cxn ang="0">
                  <a:pos x="T0" y="T1"/>
                </a:cxn>
                <a:cxn ang="0">
                  <a:pos x="T2" y="T3"/>
                </a:cxn>
                <a:cxn ang="0">
                  <a:pos x="T4" y="T5"/>
                </a:cxn>
                <a:cxn ang="0">
                  <a:pos x="T6" y="T7"/>
                </a:cxn>
              </a:cxnLst>
              <a:rect l="0" t="0" r="r" b="b"/>
              <a:pathLst>
                <a:path w="53" h="53">
                  <a:moveTo>
                    <a:pt x="0" y="0"/>
                  </a:moveTo>
                  <a:lnTo>
                    <a:pt x="53" y="24"/>
                  </a:lnTo>
                  <a:lnTo>
                    <a:pt x="2" y="53"/>
                  </a:ln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28" name="Rectangle 150">
              <a:extLst>
                <a:ext uri="{FF2B5EF4-FFF2-40B4-BE49-F238E27FC236}">
                  <a16:creationId xmlns:a16="http://schemas.microsoft.com/office/drawing/2014/main" id="{9E095118-4302-47AD-9626-0D07E106A9E8}"/>
                </a:ext>
              </a:extLst>
            </p:cNvPr>
            <p:cNvSpPr>
              <a:spLocks noChangeArrowheads="1"/>
            </p:cNvSpPr>
            <p:nvPr/>
          </p:nvSpPr>
          <p:spPr bwMode="auto">
            <a:xfrm>
              <a:off x="2847" y="3234"/>
              <a:ext cx="220" cy="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29" name="Freeform 151">
              <a:extLst>
                <a:ext uri="{FF2B5EF4-FFF2-40B4-BE49-F238E27FC236}">
                  <a16:creationId xmlns:a16="http://schemas.microsoft.com/office/drawing/2014/main" id="{48F4A907-CDD3-46F4-99F9-F5C8AFA005FB}"/>
                </a:ext>
              </a:extLst>
            </p:cNvPr>
            <p:cNvSpPr>
              <a:spLocks noEditPoints="1"/>
            </p:cNvSpPr>
            <p:nvPr/>
          </p:nvSpPr>
          <p:spPr bwMode="auto">
            <a:xfrm>
              <a:off x="2849" y="3247"/>
              <a:ext cx="217" cy="39"/>
            </a:xfrm>
            <a:custGeom>
              <a:avLst/>
              <a:gdLst>
                <a:gd name="T0" fmla="*/ 61 w 485"/>
                <a:gd name="T1" fmla="*/ 20 h 88"/>
                <a:gd name="T2" fmla="*/ 13 w 485"/>
                <a:gd name="T3" fmla="*/ 33 h 88"/>
                <a:gd name="T4" fmla="*/ 48 w 485"/>
                <a:gd name="T5" fmla="*/ 78 h 88"/>
                <a:gd name="T6" fmla="*/ 34 w 485"/>
                <a:gd name="T7" fmla="*/ 45 h 88"/>
                <a:gd name="T8" fmla="*/ 65 w 485"/>
                <a:gd name="T9" fmla="*/ 44 h 88"/>
                <a:gd name="T10" fmla="*/ 58 w 485"/>
                <a:gd name="T11" fmla="*/ 85 h 88"/>
                <a:gd name="T12" fmla="*/ 3 w 485"/>
                <a:gd name="T13" fmla="*/ 64 h 88"/>
                <a:gd name="T14" fmla="*/ 49 w 485"/>
                <a:gd name="T15" fmla="*/ 6 h 88"/>
                <a:gd name="T16" fmla="*/ 132 w 485"/>
                <a:gd name="T17" fmla="*/ 55 h 88"/>
                <a:gd name="T18" fmla="*/ 101 w 485"/>
                <a:gd name="T19" fmla="*/ 78 h 88"/>
                <a:gd name="T20" fmla="*/ 129 w 485"/>
                <a:gd name="T21" fmla="*/ 76 h 88"/>
                <a:gd name="T22" fmla="*/ 129 w 485"/>
                <a:gd name="T23" fmla="*/ 83 h 88"/>
                <a:gd name="T24" fmla="*/ 96 w 485"/>
                <a:gd name="T25" fmla="*/ 86 h 88"/>
                <a:gd name="T26" fmla="*/ 96 w 485"/>
                <a:gd name="T27" fmla="*/ 28 h 88"/>
                <a:gd name="T28" fmla="*/ 132 w 485"/>
                <a:gd name="T29" fmla="*/ 55 h 88"/>
                <a:gd name="T30" fmla="*/ 92 w 485"/>
                <a:gd name="T31" fmla="*/ 45 h 88"/>
                <a:gd name="T32" fmla="*/ 175 w 485"/>
                <a:gd name="T33" fmla="*/ 87 h 88"/>
                <a:gd name="T34" fmla="*/ 151 w 485"/>
                <a:gd name="T35" fmla="*/ 77 h 88"/>
                <a:gd name="T36" fmla="*/ 141 w 485"/>
                <a:gd name="T37" fmla="*/ 30 h 88"/>
                <a:gd name="T38" fmla="*/ 151 w 485"/>
                <a:gd name="T39" fmla="*/ 13 h 88"/>
                <a:gd name="T40" fmla="*/ 160 w 485"/>
                <a:gd name="T41" fmla="*/ 13 h 88"/>
                <a:gd name="T42" fmla="*/ 177 w 485"/>
                <a:gd name="T43" fmla="*/ 30 h 88"/>
                <a:gd name="T44" fmla="*/ 162 w 485"/>
                <a:gd name="T45" fmla="*/ 76 h 88"/>
                <a:gd name="T46" fmla="*/ 176 w 485"/>
                <a:gd name="T47" fmla="*/ 78 h 88"/>
                <a:gd name="T48" fmla="*/ 256 w 485"/>
                <a:gd name="T49" fmla="*/ 77 h 88"/>
                <a:gd name="T50" fmla="*/ 193 w 485"/>
                <a:gd name="T51" fmla="*/ 47 h 88"/>
                <a:gd name="T52" fmla="*/ 256 w 485"/>
                <a:gd name="T53" fmla="*/ 15 h 88"/>
                <a:gd name="T54" fmla="*/ 241 w 485"/>
                <a:gd name="T55" fmla="*/ 16 h 88"/>
                <a:gd name="T56" fmla="*/ 205 w 485"/>
                <a:gd name="T57" fmla="*/ 59 h 88"/>
                <a:gd name="T58" fmla="*/ 252 w 485"/>
                <a:gd name="T59" fmla="*/ 59 h 88"/>
                <a:gd name="T60" fmla="*/ 307 w 485"/>
                <a:gd name="T61" fmla="*/ 38 h 88"/>
                <a:gd name="T62" fmla="*/ 294 w 485"/>
                <a:gd name="T63" fmla="*/ 39 h 88"/>
                <a:gd name="T64" fmla="*/ 284 w 485"/>
                <a:gd name="T65" fmla="*/ 87 h 88"/>
                <a:gd name="T66" fmla="*/ 276 w 485"/>
                <a:gd name="T67" fmla="*/ 29 h 88"/>
                <a:gd name="T68" fmla="*/ 284 w 485"/>
                <a:gd name="T69" fmla="*/ 28 h 88"/>
                <a:gd name="T70" fmla="*/ 297 w 485"/>
                <a:gd name="T71" fmla="*/ 27 h 88"/>
                <a:gd name="T72" fmla="*/ 308 w 485"/>
                <a:gd name="T73" fmla="*/ 28 h 88"/>
                <a:gd name="T74" fmla="*/ 371 w 485"/>
                <a:gd name="T75" fmla="*/ 87 h 88"/>
                <a:gd name="T76" fmla="*/ 363 w 485"/>
                <a:gd name="T77" fmla="*/ 85 h 88"/>
                <a:gd name="T78" fmla="*/ 322 w 485"/>
                <a:gd name="T79" fmla="*/ 70 h 88"/>
                <a:gd name="T80" fmla="*/ 354 w 485"/>
                <a:gd name="T81" fmla="*/ 28 h 88"/>
                <a:gd name="T82" fmla="*/ 367 w 485"/>
                <a:gd name="T83" fmla="*/ 0 h 88"/>
                <a:gd name="T84" fmla="*/ 362 w 485"/>
                <a:gd name="T85" fmla="*/ 46 h 88"/>
                <a:gd name="T86" fmla="*/ 331 w 485"/>
                <a:gd name="T87" fmla="*/ 57 h 88"/>
                <a:gd name="T88" fmla="*/ 353 w 485"/>
                <a:gd name="T89" fmla="*/ 77 h 88"/>
                <a:gd name="T90" fmla="*/ 432 w 485"/>
                <a:gd name="T91" fmla="*/ 59 h 88"/>
                <a:gd name="T92" fmla="*/ 420 w 485"/>
                <a:gd name="T93" fmla="*/ 79 h 88"/>
                <a:gd name="T94" fmla="*/ 434 w 485"/>
                <a:gd name="T95" fmla="*/ 78 h 88"/>
                <a:gd name="T96" fmla="*/ 430 w 485"/>
                <a:gd name="T97" fmla="*/ 85 h 88"/>
                <a:gd name="T98" fmla="*/ 386 w 485"/>
                <a:gd name="T99" fmla="*/ 71 h 88"/>
                <a:gd name="T100" fmla="*/ 423 w 485"/>
                <a:gd name="T101" fmla="*/ 28 h 88"/>
                <a:gd name="T102" fmla="*/ 422 w 485"/>
                <a:gd name="T103" fmla="*/ 39 h 88"/>
                <a:gd name="T104" fmla="*/ 426 w 485"/>
                <a:gd name="T105" fmla="*/ 52 h 88"/>
                <a:gd name="T106" fmla="*/ 482 w 485"/>
                <a:gd name="T107" fmla="*/ 37 h 88"/>
                <a:gd name="T108" fmla="*/ 466 w 485"/>
                <a:gd name="T109" fmla="*/ 42 h 88"/>
                <a:gd name="T110" fmla="*/ 457 w 485"/>
                <a:gd name="T111" fmla="*/ 87 h 88"/>
                <a:gd name="T112" fmla="*/ 452 w 485"/>
                <a:gd name="T113" fmla="*/ 28 h 88"/>
                <a:gd name="T114" fmla="*/ 461 w 485"/>
                <a:gd name="T115" fmla="*/ 28 h 88"/>
                <a:gd name="T116" fmla="*/ 477 w 485"/>
                <a:gd name="T117" fmla="*/ 26 h 88"/>
                <a:gd name="T118" fmla="*/ 485 w 485"/>
                <a:gd name="T119"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5" h="88">
                  <a:moveTo>
                    <a:pt x="66" y="17"/>
                  </a:moveTo>
                  <a:cubicBezTo>
                    <a:pt x="66" y="18"/>
                    <a:pt x="66" y="18"/>
                    <a:pt x="66" y="19"/>
                  </a:cubicBezTo>
                  <a:cubicBezTo>
                    <a:pt x="66" y="20"/>
                    <a:pt x="66" y="20"/>
                    <a:pt x="65" y="21"/>
                  </a:cubicBezTo>
                  <a:cubicBezTo>
                    <a:pt x="65" y="21"/>
                    <a:pt x="65" y="21"/>
                    <a:pt x="65" y="21"/>
                  </a:cubicBezTo>
                  <a:cubicBezTo>
                    <a:pt x="65" y="22"/>
                    <a:pt x="64" y="22"/>
                    <a:pt x="64" y="22"/>
                  </a:cubicBezTo>
                  <a:cubicBezTo>
                    <a:pt x="63" y="22"/>
                    <a:pt x="63" y="21"/>
                    <a:pt x="61" y="20"/>
                  </a:cubicBezTo>
                  <a:cubicBezTo>
                    <a:pt x="60" y="20"/>
                    <a:pt x="59" y="19"/>
                    <a:pt x="57" y="18"/>
                  </a:cubicBezTo>
                  <a:cubicBezTo>
                    <a:pt x="55" y="17"/>
                    <a:pt x="52" y="16"/>
                    <a:pt x="50" y="15"/>
                  </a:cubicBezTo>
                  <a:cubicBezTo>
                    <a:pt x="47" y="14"/>
                    <a:pt x="44" y="14"/>
                    <a:pt x="40" y="14"/>
                  </a:cubicBezTo>
                  <a:cubicBezTo>
                    <a:pt x="36" y="14"/>
                    <a:pt x="32" y="15"/>
                    <a:pt x="28" y="16"/>
                  </a:cubicBezTo>
                  <a:cubicBezTo>
                    <a:pt x="25" y="18"/>
                    <a:pt x="22" y="20"/>
                    <a:pt x="19" y="23"/>
                  </a:cubicBezTo>
                  <a:cubicBezTo>
                    <a:pt x="17" y="26"/>
                    <a:pt x="15" y="30"/>
                    <a:pt x="13" y="33"/>
                  </a:cubicBezTo>
                  <a:cubicBezTo>
                    <a:pt x="12" y="37"/>
                    <a:pt x="11" y="42"/>
                    <a:pt x="11" y="46"/>
                  </a:cubicBezTo>
                  <a:cubicBezTo>
                    <a:pt x="11" y="52"/>
                    <a:pt x="12" y="56"/>
                    <a:pt x="14" y="60"/>
                  </a:cubicBezTo>
                  <a:cubicBezTo>
                    <a:pt x="15" y="64"/>
                    <a:pt x="17" y="67"/>
                    <a:pt x="20" y="70"/>
                  </a:cubicBezTo>
                  <a:cubicBezTo>
                    <a:pt x="22" y="73"/>
                    <a:pt x="25" y="75"/>
                    <a:pt x="29" y="76"/>
                  </a:cubicBezTo>
                  <a:cubicBezTo>
                    <a:pt x="32" y="78"/>
                    <a:pt x="36" y="79"/>
                    <a:pt x="40" y="79"/>
                  </a:cubicBezTo>
                  <a:cubicBezTo>
                    <a:pt x="43" y="79"/>
                    <a:pt x="45" y="78"/>
                    <a:pt x="48" y="78"/>
                  </a:cubicBezTo>
                  <a:cubicBezTo>
                    <a:pt x="50" y="77"/>
                    <a:pt x="53" y="76"/>
                    <a:pt x="55" y="75"/>
                  </a:cubicBezTo>
                  <a:lnTo>
                    <a:pt x="55" y="51"/>
                  </a:lnTo>
                  <a:lnTo>
                    <a:pt x="36" y="51"/>
                  </a:lnTo>
                  <a:cubicBezTo>
                    <a:pt x="36" y="51"/>
                    <a:pt x="35" y="51"/>
                    <a:pt x="35" y="50"/>
                  </a:cubicBezTo>
                  <a:cubicBezTo>
                    <a:pt x="34" y="50"/>
                    <a:pt x="34" y="49"/>
                    <a:pt x="34" y="47"/>
                  </a:cubicBezTo>
                  <a:cubicBezTo>
                    <a:pt x="34" y="46"/>
                    <a:pt x="34" y="46"/>
                    <a:pt x="34" y="45"/>
                  </a:cubicBezTo>
                  <a:cubicBezTo>
                    <a:pt x="34" y="44"/>
                    <a:pt x="34" y="44"/>
                    <a:pt x="35" y="44"/>
                  </a:cubicBezTo>
                  <a:cubicBezTo>
                    <a:pt x="35" y="43"/>
                    <a:pt x="35" y="43"/>
                    <a:pt x="35" y="43"/>
                  </a:cubicBezTo>
                  <a:cubicBezTo>
                    <a:pt x="36" y="43"/>
                    <a:pt x="36" y="43"/>
                    <a:pt x="36" y="43"/>
                  </a:cubicBezTo>
                  <a:lnTo>
                    <a:pt x="62" y="43"/>
                  </a:lnTo>
                  <a:cubicBezTo>
                    <a:pt x="62" y="43"/>
                    <a:pt x="63" y="43"/>
                    <a:pt x="63" y="43"/>
                  </a:cubicBezTo>
                  <a:cubicBezTo>
                    <a:pt x="64" y="43"/>
                    <a:pt x="64" y="43"/>
                    <a:pt x="65" y="44"/>
                  </a:cubicBezTo>
                  <a:cubicBezTo>
                    <a:pt x="65" y="44"/>
                    <a:pt x="65" y="44"/>
                    <a:pt x="65" y="45"/>
                  </a:cubicBezTo>
                  <a:cubicBezTo>
                    <a:pt x="66" y="46"/>
                    <a:pt x="66" y="46"/>
                    <a:pt x="66" y="47"/>
                  </a:cubicBezTo>
                  <a:lnTo>
                    <a:pt x="66" y="78"/>
                  </a:lnTo>
                  <a:cubicBezTo>
                    <a:pt x="66" y="79"/>
                    <a:pt x="66" y="80"/>
                    <a:pt x="65" y="81"/>
                  </a:cubicBezTo>
                  <a:cubicBezTo>
                    <a:pt x="65" y="81"/>
                    <a:pt x="64" y="82"/>
                    <a:pt x="63" y="83"/>
                  </a:cubicBezTo>
                  <a:cubicBezTo>
                    <a:pt x="62" y="83"/>
                    <a:pt x="60" y="84"/>
                    <a:pt x="58" y="85"/>
                  </a:cubicBezTo>
                  <a:cubicBezTo>
                    <a:pt x="56" y="85"/>
                    <a:pt x="54" y="86"/>
                    <a:pt x="52" y="86"/>
                  </a:cubicBezTo>
                  <a:cubicBezTo>
                    <a:pt x="50" y="87"/>
                    <a:pt x="48" y="87"/>
                    <a:pt x="46" y="88"/>
                  </a:cubicBezTo>
                  <a:cubicBezTo>
                    <a:pt x="44" y="88"/>
                    <a:pt x="42" y="88"/>
                    <a:pt x="40" y="88"/>
                  </a:cubicBezTo>
                  <a:cubicBezTo>
                    <a:pt x="34" y="88"/>
                    <a:pt x="28" y="87"/>
                    <a:pt x="23" y="85"/>
                  </a:cubicBezTo>
                  <a:cubicBezTo>
                    <a:pt x="18" y="83"/>
                    <a:pt x="14" y="80"/>
                    <a:pt x="11" y="77"/>
                  </a:cubicBezTo>
                  <a:cubicBezTo>
                    <a:pt x="7" y="73"/>
                    <a:pt x="5" y="69"/>
                    <a:pt x="3" y="64"/>
                  </a:cubicBezTo>
                  <a:cubicBezTo>
                    <a:pt x="1" y="59"/>
                    <a:pt x="0" y="53"/>
                    <a:pt x="0" y="47"/>
                  </a:cubicBezTo>
                  <a:cubicBezTo>
                    <a:pt x="0" y="41"/>
                    <a:pt x="1" y="35"/>
                    <a:pt x="3" y="30"/>
                  </a:cubicBezTo>
                  <a:cubicBezTo>
                    <a:pt x="5" y="25"/>
                    <a:pt x="8" y="20"/>
                    <a:pt x="11" y="16"/>
                  </a:cubicBezTo>
                  <a:cubicBezTo>
                    <a:pt x="15" y="13"/>
                    <a:pt x="19" y="10"/>
                    <a:pt x="24" y="8"/>
                  </a:cubicBezTo>
                  <a:cubicBezTo>
                    <a:pt x="29" y="6"/>
                    <a:pt x="34" y="5"/>
                    <a:pt x="40" y="5"/>
                  </a:cubicBezTo>
                  <a:cubicBezTo>
                    <a:pt x="43" y="5"/>
                    <a:pt x="46" y="5"/>
                    <a:pt x="49" y="6"/>
                  </a:cubicBezTo>
                  <a:cubicBezTo>
                    <a:pt x="52" y="6"/>
                    <a:pt x="54" y="7"/>
                    <a:pt x="56" y="8"/>
                  </a:cubicBezTo>
                  <a:cubicBezTo>
                    <a:pt x="58" y="8"/>
                    <a:pt x="60" y="9"/>
                    <a:pt x="62" y="10"/>
                  </a:cubicBezTo>
                  <a:cubicBezTo>
                    <a:pt x="63" y="11"/>
                    <a:pt x="64" y="12"/>
                    <a:pt x="64" y="12"/>
                  </a:cubicBezTo>
                  <a:cubicBezTo>
                    <a:pt x="65" y="13"/>
                    <a:pt x="65" y="13"/>
                    <a:pt x="66" y="14"/>
                  </a:cubicBezTo>
                  <a:cubicBezTo>
                    <a:pt x="66" y="15"/>
                    <a:pt x="66" y="16"/>
                    <a:pt x="66" y="17"/>
                  </a:cubicBezTo>
                  <a:close/>
                  <a:moveTo>
                    <a:pt x="132" y="55"/>
                  </a:moveTo>
                  <a:cubicBezTo>
                    <a:pt x="132" y="56"/>
                    <a:pt x="132" y="58"/>
                    <a:pt x="131" y="58"/>
                  </a:cubicBezTo>
                  <a:cubicBezTo>
                    <a:pt x="130" y="59"/>
                    <a:pt x="129" y="59"/>
                    <a:pt x="128" y="59"/>
                  </a:cubicBezTo>
                  <a:lnTo>
                    <a:pt x="91" y="59"/>
                  </a:lnTo>
                  <a:cubicBezTo>
                    <a:pt x="91" y="62"/>
                    <a:pt x="91" y="65"/>
                    <a:pt x="92" y="68"/>
                  </a:cubicBezTo>
                  <a:cubicBezTo>
                    <a:pt x="92" y="70"/>
                    <a:pt x="94" y="72"/>
                    <a:pt x="95" y="74"/>
                  </a:cubicBezTo>
                  <a:cubicBezTo>
                    <a:pt x="96" y="76"/>
                    <a:pt x="98" y="77"/>
                    <a:pt x="101" y="78"/>
                  </a:cubicBezTo>
                  <a:cubicBezTo>
                    <a:pt x="103" y="79"/>
                    <a:pt x="106" y="80"/>
                    <a:pt x="109" y="80"/>
                  </a:cubicBezTo>
                  <a:cubicBezTo>
                    <a:pt x="112" y="80"/>
                    <a:pt x="114" y="79"/>
                    <a:pt x="116" y="79"/>
                  </a:cubicBezTo>
                  <a:cubicBezTo>
                    <a:pt x="119" y="79"/>
                    <a:pt x="120" y="78"/>
                    <a:pt x="122" y="78"/>
                  </a:cubicBezTo>
                  <a:cubicBezTo>
                    <a:pt x="123" y="77"/>
                    <a:pt x="125" y="77"/>
                    <a:pt x="126" y="76"/>
                  </a:cubicBezTo>
                  <a:cubicBezTo>
                    <a:pt x="127" y="76"/>
                    <a:pt x="127" y="75"/>
                    <a:pt x="128" y="75"/>
                  </a:cubicBezTo>
                  <a:cubicBezTo>
                    <a:pt x="128" y="75"/>
                    <a:pt x="128" y="76"/>
                    <a:pt x="129" y="76"/>
                  </a:cubicBezTo>
                  <a:cubicBezTo>
                    <a:pt x="129" y="76"/>
                    <a:pt x="129" y="76"/>
                    <a:pt x="129" y="76"/>
                  </a:cubicBezTo>
                  <a:cubicBezTo>
                    <a:pt x="129" y="77"/>
                    <a:pt x="129" y="77"/>
                    <a:pt x="130" y="78"/>
                  </a:cubicBezTo>
                  <a:cubicBezTo>
                    <a:pt x="130" y="78"/>
                    <a:pt x="130" y="79"/>
                    <a:pt x="130" y="79"/>
                  </a:cubicBezTo>
                  <a:cubicBezTo>
                    <a:pt x="130" y="80"/>
                    <a:pt x="130" y="80"/>
                    <a:pt x="130" y="81"/>
                  </a:cubicBezTo>
                  <a:cubicBezTo>
                    <a:pt x="130" y="81"/>
                    <a:pt x="129" y="82"/>
                    <a:pt x="129" y="82"/>
                  </a:cubicBezTo>
                  <a:cubicBezTo>
                    <a:pt x="129" y="82"/>
                    <a:pt x="129" y="82"/>
                    <a:pt x="129" y="83"/>
                  </a:cubicBezTo>
                  <a:cubicBezTo>
                    <a:pt x="129" y="83"/>
                    <a:pt x="129" y="83"/>
                    <a:pt x="129" y="83"/>
                  </a:cubicBezTo>
                  <a:cubicBezTo>
                    <a:pt x="128" y="84"/>
                    <a:pt x="128" y="84"/>
                    <a:pt x="126" y="85"/>
                  </a:cubicBezTo>
                  <a:cubicBezTo>
                    <a:pt x="125" y="85"/>
                    <a:pt x="124" y="86"/>
                    <a:pt x="122" y="86"/>
                  </a:cubicBezTo>
                  <a:cubicBezTo>
                    <a:pt x="120" y="87"/>
                    <a:pt x="118" y="87"/>
                    <a:pt x="116" y="87"/>
                  </a:cubicBezTo>
                  <a:cubicBezTo>
                    <a:pt x="114" y="88"/>
                    <a:pt x="111" y="88"/>
                    <a:pt x="108" y="88"/>
                  </a:cubicBezTo>
                  <a:cubicBezTo>
                    <a:pt x="104" y="88"/>
                    <a:pt x="100" y="87"/>
                    <a:pt x="96" y="86"/>
                  </a:cubicBezTo>
                  <a:cubicBezTo>
                    <a:pt x="93" y="85"/>
                    <a:pt x="90" y="83"/>
                    <a:pt x="87" y="80"/>
                  </a:cubicBezTo>
                  <a:cubicBezTo>
                    <a:pt x="85" y="78"/>
                    <a:pt x="83" y="75"/>
                    <a:pt x="82" y="71"/>
                  </a:cubicBezTo>
                  <a:cubicBezTo>
                    <a:pt x="81" y="67"/>
                    <a:pt x="80" y="63"/>
                    <a:pt x="80" y="57"/>
                  </a:cubicBezTo>
                  <a:cubicBezTo>
                    <a:pt x="80" y="53"/>
                    <a:pt x="81" y="48"/>
                    <a:pt x="82" y="44"/>
                  </a:cubicBezTo>
                  <a:cubicBezTo>
                    <a:pt x="83" y="41"/>
                    <a:pt x="85" y="37"/>
                    <a:pt x="88" y="35"/>
                  </a:cubicBezTo>
                  <a:cubicBezTo>
                    <a:pt x="90" y="32"/>
                    <a:pt x="93" y="30"/>
                    <a:pt x="96" y="28"/>
                  </a:cubicBezTo>
                  <a:cubicBezTo>
                    <a:pt x="99" y="27"/>
                    <a:pt x="103" y="26"/>
                    <a:pt x="107" y="26"/>
                  </a:cubicBezTo>
                  <a:cubicBezTo>
                    <a:pt x="112" y="26"/>
                    <a:pt x="115" y="27"/>
                    <a:pt x="119" y="28"/>
                  </a:cubicBezTo>
                  <a:cubicBezTo>
                    <a:pt x="122" y="30"/>
                    <a:pt x="124" y="32"/>
                    <a:pt x="126" y="34"/>
                  </a:cubicBezTo>
                  <a:cubicBezTo>
                    <a:pt x="128" y="36"/>
                    <a:pt x="130" y="39"/>
                    <a:pt x="131" y="43"/>
                  </a:cubicBezTo>
                  <a:cubicBezTo>
                    <a:pt x="132" y="46"/>
                    <a:pt x="132" y="49"/>
                    <a:pt x="132" y="53"/>
                  </a:cubicBezTo>
                  <a:lnTo>
                    <a:pt x="132" y="55"/>
                  </a:lnTo>
                  <a:close/>
                  <a:moveTo>
                    <a:pt x="122" y="52"/>
                  </a:moveTo>
                  <a:cubicBezTo>
                    <a:pt x="122" y="46"/>
                    <a:pt x="121" y="42"/>
                    <a:pt x="118" y="39"/>
                  </a:cubicBezTo>
                  <a:cubicBezTo>
                    <a:pt x="115" y="36"/>
                    <a:pt x="112" y="34"/>
                    <a:pt x="107" y="34"/>
                  </a:cubicBezTo>
                  <a:cubicBezTo>
                    <a:pt x="104" y="34"/>
                    <a:pt x="102" y="35"/>
                    <a:pt x="100" y="36"/>
                  </a:cubicBezTo>
                  <a:cubicBezTo>
                    <a:pt x="98" y="37"/>
                    <a:pt x="96" y="38"/>
                    <a:pt x="95" y="40"/>
                  </a:cubicBezTo>
                  <a:cubicBezTo>
                    <a:pt x="94" y="41"/>
                    <a:pt x="93" y="43"/>
                    <a:pt x="92" y="45"/>
                  </a:cubicBezTo>
                  <a:cubicBezTo>
                    <a:pt x="91" y="47"/>
                    <a:pt x="91" y="49"/>
                    <a:pt x="91" y="52"/>
                  </a:cubicBezTo>
                  <a:lnTo>
                    <a:pt x="122" y="52"/>
                  </a:lnTo>
                  <a:close/>
                  <a:moveTo>
                    <a:pt x="177" y="81"/>
                  </a:moveTo>
                  <a:cubicBezTo>
                    <a:pt x="177" y="82"/>
                    <a:pt x="177" y="83"/>
                    <a:pt x="177" y="84"/>
                  </a:cubicBezTo>
                  <a:cubicBezTo>
                    <a:pt x="177" y="85"/>
                    <a:pt x="177" y="85"/>
                    <a:pt x="176" y="86"/>
                  </a:cubicBezTo>
                  <a:cubicBezTo>
                    <a:pt x="176" y="86"/>
                    <a:pt x="175" y="86"/>
                    <a:pt x="175" y="87"/>
                  </a:cubicBezTo>
                  <a:cubicBezTo>
                    <a:pt x="174" y="87"/>
                    <a:pt x="173" y="87"/>
                    <a:pt x="172" y="87"/>
                  </a:cubicBezTo>
                  <a:cubicBezTo>
                    <a:pt x="172" y="87"/>
                    <a:pt x="171" y="88"/>
                    <a:pt x="170" y="88"/>
                  </a:cubicBezTo>
                  <a:cubicBezTo>
                    <a:pt x="169" y="88"/>
                    <a:pt x="168" y="88"/>
                    <a:pt x="167" y="88"/>
                  </a:cubicBezTo>
                  <a:cubicBezTo>
                    <a:pt x="164" y="88"/>
                    <a:pt x="161" y="88"/>
                    <a:pt x="159" y="87"/>
                  </a:cubicBezTo>
                  <a:cubicBezTo>
                    <a:pt x="157" y="86"/>
                    <a:pt x="156" y="85"/>
                    <a:pt x="154" y="83"/>
                  </a:cubicBezTo>
                  <a:cubicBezTo>
                    <a:pt x="153" y="82"/>
                    <a:pt x="152" y="80"/>
                    <a:pt x="151" y="77"/>
                  </a:cubicBezTo>
                  <a:cubicBezTo>
                    <a:pt x="151" y="75"/>
                    <a:pt x="150" y="72"/>
                    <a:pt x="150" y="69"/>
                  </a:cubicBezTo>
                  <a:lnTo>
                    <a:pt x="150" y="36"/>
                  </a:lnTo>
                  <a:lnTo>
                    <a:pt x="143" y="36"/>
                  </a:lnTo>
                  <a:cubicBezTo>
                    <a:pt x="142" y="36"/>
                    <a:pt x="141" y="36"/>
                    <a:pt x="141" y="35"/>
                  </a:cubicBezTo>
                  <a:cubicBezTo>
                    <a:pt x="141" y="34"/>
                    <a:pt x="140" y="33"/>
                    <a:pt x="140" y="32"/>
                  </a:cubicBezTo>
                  <a:cubicBezTo>
                    <a:pt x="140" y="31"/>
                    <a:pt x="141" y="30"/>
                    <a:pt x="141" y="30"/>
                  </a:cubicBezTo>
                  <a:cubicBezTo>
                    <a:pt x="141" y="29"/>
                    <a:pt x="141" y="29"/>
                    <a:pt x="141" y="28"/>
                  </a:cubicBezTo>
                  <a:cubicBezTo>
                    <a:pt x="141" y="28"/>
                    <a:pt x="141" y="28"/>
                    <a:pt x="142" y="28"/>
                  </a:cubicBezTo>
                  <a:cubicBezTo>
                    <a:pt x="142" y="28"/>
                    <a:pt x="142" y="27"/>
                    <a:pt x="143" y="27"/>
                  </a:cubicBezTo>
                  <a:lnTo>
                    <a:pt x="150" y="27"/>
                  </a:lnTo>
                  <a:lnTo>
                    <a:pt x="150" y="14"/>
                  </a:lnTo>
                  <a:cubicBezTo>
                    <a:pt x="150" y="14"/>
                    <a:pt x="150" y="13"/>
                    <a:pt x="151" y="13"/>
                  </a:cubicBezTo>
                  <a:cubicBezTo>
                    <a:pt x="151" y="13"/>
                    <a:pt x="151" y="13"/>
                    <a:pt x="151" y="13"/>
                  </a:cubicBezTo>
                  <a:cubicBezTo>
                    <a:pt x="152" y="12"/>
                    <a:pt x="152" y="12"/>
                    <a:pt x="153" y="12"/>
                  </a:cubicBezTo>
                  <a:cubicBezTo>
                    <a:pt x="154" y="12"/>
                    <a:pt x="155" y="12"/>
                    <a:pt x="156" y="12"/>
                  </a:cubicBezTo>
                  <a:cubicBezTo>
                    <a:pt x="157" y="12"/>
                    <a:pt x="157" y="12"/>
                    <a:pt x="158" y="12"/>
                  </a:cubicBezTo>
                  <a:cubicBezTo>
                    <a:pt x="159" y="12"/>
                    <a:pt x="159" y="12"/>
                    <a:pt x="160" y="13"/>
                  </a:cubicBezTo>
                  <a:cubicBezTo>
                    <a:pt x="160" y="13"/>
                    <a:pt x="160" y="13"/>
                    <a:pt x="160" y="13"/>
                  </a:cubicBezTo>
                  <a:cubicBezTo>
                    <a:pt x="161" y="13"/>
                    <a:pt x="161" y="14"/>
                    <a:pt x="161" y="14"/>
                  </a:cubicBezTo>
                  <a:lnTo>
                    <a:pt x="161" y="27"/>
                  </a:lnTo>
                  <a:lnTo>
                    <a:pt x="175" y="27"/>
                  </a:lnTo>
                  <a:cubicBezTo>
                    <a:pt x="176" y="27"/>
                    <a:pt x="176" y="28"/>
                    <a:pt x="176" y="28"/>
                  </a:cubicBezTo>
                  <a:cubicBezTo>
                    <a:pt x="176" y="28"/>
                    <a:pt x="177" y="28"/>
                    <a:pt x="177" y="28"/>
                  </a:cubicBezTo>
                  <a:cubicBezTo>
                    <a:pt x="177" y="29"/>
                    <a:pt x="177" y="29"/>
                    <a:pt x="177" y="30"/>
                  </a:cubicBezTo>
                  <a:cubicBezTo>
                    <a:pt x="177" y="30"/>
                    <a:pt x="177" y="31"/>
                    <a:pt x="177" y="32"/>
                  </a:cubicBezTo>
                  <a:cubicBezTo>
                    <a:pt x="177" y="33"/>
                    <a:pt x="177" y="34"/>
                    <a:pt x="177" y="35"/>
                  </a:cubicBezTo>
                  <a:cubicBezTo>
                    <a:pt x="176" y="36"/>
                    <a:pt x="176" y="36"/>
                    <a:pt x="175" y="36"/>
                  </a:cubicBezTo>
                  <a:lnTo>
                    <a:pt x="161" y="36"/>
                  </a:lnTo>
                  <a:lnTo>
                    <a:pt x="161" y="67"/>
                  </a:lnTo>
                  <a:cubicBezTo>
                    <a:pt x="161" y="71"/>
                    <a:pt x="161" y="74"/>
                    <a:pt x="162" y="76"/>
                  </a:cubicBezTo>
                  <a:cubicBezTo>
                    <a:pt x="164" y="78"/>
                    <a:pt x="166" y="79"/>
                    <a:pt x="169" y="79"/>
                  </a:cubicBezTo>
                  <a:cubicBezTo>
                    <a:pt x="170" y="79"/>
                    <a:pt x="170" y="79"/>
                    <a:pt x="171" y="79"/>
                  </a:cubicBezTo>
                  <a:cubicBezTo>
                    <a:pt x="172" y="79"/>
                    <a:pt x="173" y="78"/>
                    <a:pt x="173" y="78"/>
                  </a:cubicBezTo>
                  <a:cubicBezTo>
                    <a:pt x="174" y="78"/>
                    <a:pt x="174" y="78"/>
                    <a:pt x="175" y="78"/>
                  </a:cubicBezTo>
                  <a:cubicBezTo>
                    <a:pt x="175" y="77"/>
                    <a:pt x="175" y="77"/>
                    <a:pt x="176" y="77"/>
                  </a:cubicBezTo>
                  <a:cubicBezTo>
                    <a:pt x="176" y="77"/>
                    <a:pt x="176" y="77"/>
                    <a:pt x="176" y="78"/>
                  </a:cubicBezTo>
                  <a:cubicBezTo>
                    <a:pt x="177" y="78"/>
                    <a:pt x="177" y="78"/>
                    <a:pt x="177" y="78"/>
                  </a:cubicBezTo>
                  <a:cubicBezTo>
                    <a:pt x="177" y="78"/>
                    <a:pt x="177" y="79"/>
                    <a:pt x="177" y="79"/>
                  </a:cubicBezTo>
                  <a:cubicBezTo>
                    <a:pt x="177" y="80"/>
                    <a:pt x="177" y="80"/>
                    <a:pt x="177" y="81"/>
                  </a:cubicBezTo>
                  <a:close/>
                  <a:moveTo>
                    <a:pt x="265" y="45"/>
                  </a:moveTo>
                  <a:cubicBezTo>
                    <a:pt x="265" y="52"/>
                    <a:pt x="264" y="58"/>
                    <a:pt x="263" y="63"/>
                  </a:cubicBezTo>
                  <a:cubicBezTo>
                    <a:pt x="261" y="68"/>
                    <a:pt x="259" y="73"/>
                    <a:pt x="256" y="77"/>
                  </a:cubicBezTo>
                  <a:cubicBezTo>
                    <a:pt x="253" y="80"/>
                    <a:pt x="249" y="83"/>
                    <a:pt x="244" y="85"/>
                  </a:cubicBezTo>
                  <a:cubicBezTo>
                    <a:pt x="240" y="87"/>
                    <a:pt x="234" y="88"/>
                    <a:pt x="228" y="88"/>
                  </a:cubicBezTo>
                  <a:cubicBezTo>
                    <a:pt x="222" y="88"/>
                    <a:pt x="217" y="87"/>
                    <a:pt x="212" y="85"/>
                  </a:cubicBezTo>
                  <a:cubicBezTo>
                    <a:pt x="208" y="84"/>
                    <a:pt x="204" y="81"/>
                    <a:pt x="201" y="77"/>
                  </a:cubicBezTo>
                  <a:cubicBezTo>
                    <a:pt x="198" y="74"/>
                    <a:pt x="196" y="70"/>
                    <a:pt x="195" y="65"/>
                  </a:cubicBezTo>
                  <a:cubicBezTo>
                    <a:pt x="193" y="59"/>
                    <a:pt x="193" y="54"/>
                    <a:pt x="193" y="47"/>
                  </a:cubicBezTo>
                  <a:cubicBezTo>
                    <a:pt x="193" y="40"/>
                    <a:pt x="193" y="35"/>
                    <a:pt x="195" y="29"/>
                  </a:cubicBezTo>
                  <a:cubicBezTo>
                    <a:pt x="196" y="24"/>
                    <a:pt x="199" y="20"/>
                    <a:pt x="202" y="16"/>
                  </a:cubicBezTo>
                  <a:cubicBezTo>
                    <a:pt x="205" y="13"/>
                    <a:pt x="209" y="10"/>
                    <a:pt x="213" y="8"/>
                  </a:cubicBezTo>
                  <a:cubicBezTo>
                    <a:pt x="218" y="6"/>
                    <a:pt x="223" y="5"/>
                    <a:pt x="230" y="5"/>
                  </a:cubicBezTo>
                  <a:cubicBezTo>
                    <a:pt x="236" y="5"/>
                    <a:pt x="241" y="6"/>
                    <a:pt x="245" y="7"/>
                  </a:cubicBezTo>
                  <a:cubicBezTo>
                    <a:pt x="250" y="9"/>
                    <a:pt x="253" y="12"/>
                    <a:pt x="256" y="15"/>
                  </a:cubicBezTo>
                  <a:cubicBezTo>
                    <a:pt x="259" y="19"/>
                    <a:pt x="261" y="23"/>
                    <a:pt x="263" y="28"/>
                  </a:cubicBezTo>
                  <a:cubicBezTo>
                    <a:pt x="264" y="33"/>
                    <a:pt x="265" y="39"/>
                    <a:pt x="265" y="45"/>
                  </a:cubicBezTo>
                  <a:close/>
                  <a:moveTo>
                    <a:pt x="254" y="46"/>
                  </a:moveTo>
                  <a:cubicBezTo>
                    <a:pt x="254" y="42"/>
                    <a:pt x="253" y="37"/>
                    <a:pt x="252" y="33"/>
                  </a:cubicBezTo>
                  <a:cubicBezTo>
                    <a:pt x="252" y="30"/>
                    <a:pt x="250" y="26"/>
                    <a:pt x="248" y="23"/>
                  </a:cubicBezTo>
                  <a:cubicBezTo>
                    <a:pt x="246" y="20"/>
                    <a:pt x="244" y="18"/>
                    <a:pt x="241" y="16"/>
                  </a:cubicBezTo>
                  <a:cubicBezTo>
                    <a:pt x="238" y="15"/>
                    <a:pt x="234" y="14"/>
                    <a:pt x="229" y="14"/>
                  </a:cubicBezTo>
                  <a:cubicBezTo>
                    <a:pt x="224" y="14"/>
                    <a:pt x="220" y="15"/>
                    <a:pt x="217" y="17"/>
                  </a:cubicBezTo>
                  <a:cubicBezTo>
                    <a:pt x="214" y="18"/>
                    <a:pt x="211" y="21"/>
                    <a:pt x="210" y="24"/>
                  </a:cubicBezTo>
                  <a:cubicBezTo>
                    <a:pt x="208" y="27"/>
                    <a:pt x="206" y="30"/>
                    <a:pt x="205" y="34"/>
                  </a:cubicBezTo>
                  <a:cubicBezTo>
                    <a:pt x="204" y="38"/>
                    <a:pt x="204" y="42"/>
                    <a:pt x="204" y="46"/>
                  </a:cubicBezTo>
                  <a:cubicBezTo>
                    <a:pt x="204" y="51"/>
                    <a:pt x="204" y="55"/>
                    <a:pt x="205" y="59"/>
                  </a:cubicBezTo>
                  <a:cubicBezTo>
                    <a:pt x="206" y="63"/>
                    <a:pt x="207" y="67"/>
                    <a:pt x="209" y="70"/>
                  </a:cubicBezTo>
                  <a:cubicBezTo>
                    <a:pt x="211" y="72"/>
                    <a:pt x="214" y="75"/>
                    <a:pt x="217" y="76"/>
                  </a:cubicBezTo>
                  <a:cubicBezTo>
                    <a:pt x="220" y="78"/>
                    <a:pt x="224" y="79"/>
                    <a:pt x="229" y="79"/>
                  </a:cubicBezTo>
                  <a:cubicBezTo>
                    <a:pt x="233" y="79"/>
                    <a:pt x="237" y="78"/>
                    <a:pt x="240" y="76"/>
                  </a:cubicBezTo>
                  <a:cubicBezTo>
                    <a:pt x="244" y="74"/>
                    <a:pt x="246" y="72"/>
                    <a:pt x="248" y="69"/>
                  </a:cubicBezTo>
                  <a:cubicBezTo>
                    <a:pt x="250" y="66"/>
                    <a:pt x="251" y="63"/>
                    <a:pt x="252" y="59"/>
                  </a:cubicBezTo>
                  <a:cubicBezTo>
                    <a:pt x="253" y="55"/>
                    <a:pt x="254" y="51"/>
                    <a:pt x="254" y="46"/>
                  </a:cubicBezTo>
                  <a:close/>
                  <a:moveTo>
                    <a:pt x="309" y="33"/>
                  </a:moveTo>
                  <a:cubicBezTo>
                    <a:pt x="309" y="34"/>
                    <a:pt x="309" y="34"/>
                    <a:pt x="309" y="35"/>
                  </a:cubicBezTo>
                  <a:cubicBezTo>
                    <a:pt x="309" y="36"/>
                    <a:pt x="309" y="36"/>
                    <a:pt x="309" y="37"/>
                  </a:cubicBezTo>
                  <a:cubicBezTo>
                    <a:pt x="308" y="37"/>
                    <a:pt x="308" y="37"/>
                    <a:pt x="308" y="37"/>
                  </a:cubicBezTo>
                  <a:cubicBezTo>
                    <a:pt x="308" y="38"/>
                    <a:pt x="308" y="38"/>
                    <a:pt x="307" y="38"/>
                  </a:cubicBezTo>
                  <a:cubicBezTo>
                    <a:pt x="307" y="38"/>
                    <a:pt x="307" y="38"/>
                    <a:pt x="306" y="37"/>
                  </a:cubicBezTo>
                  <a:cubicBezTo>
                    <a:pt x="306" y="37"/>
                    <a:pt x="305" y="37"/>
                    <a:pt x="304" y="37"/>
                  </a:cubicBezTo>
                  <a:cubicBezTo>
                    <a:pt x="304" y="37"/>
                    <a:pt x="303" y="36"/>
                    <a:pt x="302" y="36"/>
                  </a:cubicBezTo>
                  <a:cubicBezTo>
                    <a:pt x="302" y="36"/>
                    <a:pt x="301" y="36"/>
                    <a:pt x="300" y="36"/>
                  </a:cubicBezTo>
                  <a:cubicBezTo>
                    <a:pt x="299" y="36"/>
                    <a:pt x="298" y="36"/>
                    <a:pt x="297" y="37"/>
                  </a:cubicBezTo>
                  <a:cubicBezTo>
                    <a:pt x="296" y="37"/>
                    <a:pt x="295" y="38"/>
                    <a:pt x="294" y="39"/>
                  </a:cubicBezTo>
                  <a:cubicBezTo>
                    <a:pt x="293" y="40"/>
                    <a:pt x="292" y="41"/>
                    <a:pt x="290" y="42"/>
                  </a:cubicBezTo>
                  <a:cubicBezTo>
                    <a:pt x="289" y="44"/>
                    <a:pt x="288" y="46"/>
                    <a:pt x="286" y="48"/>
                  </a:cubicBezTo>
                  <a:lnTo>
                    <a:pt x="286" y="85"/>
                  </a:lnTo>
                  <a:cubicBezTo>
                    <a:pt x="286" y="86"/>
                    <a:pt x="286" y="86"/>
                    <a:pt x="286" y="86"/>
                  </a:cubicBezTo>
                  <a:cubicBezTo>
                    <a:pt x="286" y="86"/>
                    <a:pt x="286" y="87"/>
                    <a:pt x="285" y="87"/>
                  </a:cubicBezTo>
                  <a:cubicBezTo>
                    <a:pt x="285" y="87"/>
                    <a:pt x="284" y="87"/>
                    <a:pt x="284" y="87"/>
                  </a:cubicBezTo>
                  <a:cubicBezTo>
                    <a:pt x="283" y="87"/>
                    <a:pt x="282" y="87"/>
                    <a:pt x="281" y="87"/>
                  </a:cubicBezTo>
                  <a:cubicBezTo>
                    <a:pt x="280" y="87"/>
                    <a:pt x="279" y="87"/>
                    <a:pt x="279" y="87"/>
                  </a:cubicBezTo>
                  <a:cubicBezTo>
                    <a:pt x="278" y="87"/>
                    <a:pt x="277" y="87"/>
                    <a:pt x="277" y="87"/>
                  </a:cubicBezTo>
                  <a:cubicBezTo>
                    <a:pt x="277" y="87"/>
                    <a:pt x="276" y="86"/>
                    <a:pt x="276" y="86"/>
                  </a:cubicBezTo>
                  <a:cubicBezTo>
                    <a:pt x="276" y="86"/>
                    <a:pt x="276" y="86"/>
                    <a:pt x="276" y="85"/>
                  </a:cubicBezTo>
                  <a:lnTo>
                    <a:pt x="276" y="29"/>
                  </a:lnTo>
                  <a:cubicBezTo>
                    <a:pt x="276" y="29"/>
                    <a:pt x="276" y="28"/>
                    <a:pt x="276" y="28"/>
                  </a:cubicBezTo>
                  <a:cubicBezTo>
                    <a:pt x="276" y="28"/>
                    <a:pt x="277" y="28"/>
                    <a:pt x="277" y="28"/>
                  </a:cubicBezTo>
                  <a:cubicBezTo>
                    <a:pt x="277" y="27"/>
                    <a:pt x="278" y="27"/>
                    <a:pt x="278" y="27"/>
                  </a:cubicBezTo>
                  <a:cubicBezTo>
                    <a:pt x="279" y="27"/>
                    <a:pt x="280" y="27"/>
                    <a:pt x="281" y="27"/>
                  </a:cubicBezTo>
                  <a:cubicBezTo>
                    <a:pt x="282" y="27"/>
                    <a:pt x="282" y="27"/>
                    <a:pt x="283" y="27"/>
                  </a:cubicBezTo>
                  <a:cubicBezTo>
                    <a:pt x="284" y="27"/>
                    <a:pt x="284" y="27"/>
                    <a:pt x="284" y="28"/>
                  </a:cubicBezTo>
                  <a:cubicBezTo>
                    <a:pt x="285" y="28"/>
                    <a:pt x="285" y="28"/>
                    <a:pt x="285" y="28"/>
                  </a:cubicBezTo>
                  <a:cubicBezTo>
                    <a:pt x="285" y="28"/>
                    <a:pt x="285" y="29"/>
                    <a:pt x="285" y="29"/>
                  </a:cubicBezTo>
                  <a:lnTo>
                    <a:pt x="285" y="37"/>
                  </a:lnTo>
                  <a:cubicBezTo>
                    <a:pt x="287" y="35"/>
                    <a:pt x="288" y="33"/>
                    <a:pt x="290" y="32"/>
                  </a:cubicBezTo>
                  <a:cubicBezTo>
                    <a:pt x="291" y="30"/>
                    <a:pt x="292" y="29"/>
                    <a:pt x="293" y="28"/>
                  </a:cubicBezTo>
                  <a:cubicBezTo>
                    <a:pt x="295" y="28"/>
                    <a:pt x="296" y="27"/>
                    <a:pt x="297" y="27"/>
                  </a:cubicBezTo>
                  <a:cubicBezTo>
                    <a:pt x="298" y="26"/>
                    <a:pt x="299" y="26"/>
                    <a:pt x="301" y="26"/>
                  </a:cubicBezTo>
                  <a:cubicBezTo>
                    <a:pt x="301" y="26"/>
                    <a:pt x="302" y="26"/>
                    <a:pt x="303" y="26"/>
                  </a:cubicBezTo>
                  <a:cubicBezTo>
                    <a:pt x="303" y="26"/>
                    <a:pt x="304" y="27"/>
                    <a:pt x="305" y="27"/>
                  </a:cubicBezTo>
                  <a:cubicBezTo>
                    <a:pt x="305" y="27"/>
                    <a:pt x="306" y="27"/>
                    <a:pt x="307" y="27"/>
                  </a:cubicBezTo>
                  <a:cubicBezTo>
                    <a:pt x="307" y="27"/>
                    <a:pt x="308" y="28"/>
                    <a:pt x="308" y="28"/>
                  </a:cubicBezTo>
                  <a:cubicBezTo>
                    <a:pt x="308" y="28"/>
                    <a:pt x="308" y="28"/>
                    <a:pt x="308" y="28"/>
                  </a:cubicBezTo>
                  <a:cubicBezTo>
                    <a:pt x="309" y="29"/>
                    <a:pt x="309" y="29"/>
                    <a:pt x="309" y="29"/>
                  </a:cubicBezTo>
                  <a:cubicBezTo>
                    <a:pt x="309" y="29"/>
                    <a:pt x="309" y="30"/>
                    <a:pt x="309" y="30"/>
                  </a:cubicBezTo>
                  <a:cubicBezTo>
                    <a:pt x="309" y="31"/>
                    <a:pt x="309" y="32"/>
                    <a:pt x="309" y="33"/>
                  </a:cubicBezTo>
                  <a:close/>
                  <a:moveTo>
                    <a:pt x="372" y="85"/>
                  </a:moveTo>
                  <a:cubicBezTo>
                    <a:pt x="372" y="86"/>
                    <a:pt x="372" y="86"/>
                    <a:pt x="372" y="86"/>
                  </a:cubicBezTo>
                  <a:cubicBezTo>
                    <a:pt x="372" y="86"/>
                    <a:pt x="372" y="87"/>
                    <a:pt x="371" y="87"/>
                  </a:cubicBezTo>
                  <a:cubicBezTo>
                    <a:pt x="371" y="87"/>
                    <a:pt x="370" y="87"/>
                    <a:pt x="370" y="87"/>
                  </a:cubicBezTo>
                  <a:cubicBezTo>
                    <a:pt x="369" y="87"/>
                    <a:pt x="369" y="87"/>
                    <a:pt x="368" y="87"/>
                  </a:cubicBezTo>
                  <a:cubicBezTo>
                    <a:pt x="367" y="87"/>
                    <a:pt x="366" y="87"/>
                    <a:pt x="365" y="87"/>
                  </a:cubicBezTo>
                  <a:cubicBezTo>
                    <a:pt x="365" y="87"/>
                    <a:pt x="364" y="87"/>
                    <a:pt x="364" y="87"/>
                  </a:cubicBezTo>
                  <a:cubicBezTo>
                    <a:pt x="364" y="87"/>
                    <a:pt x="363" y="86"/>
                    <a:pt x="363" y="86"/>
                  </a:cubicBezTo>
                  <a:cubicBezTo>
                    <a:pt x="363" y="86"/>
                    <a:pt x="363" y="86"/>
                    <a:pt x="363" y="85"/>
                  </a:cubicBezTo>
                  <a:lnTo>
                    <a:pt x="363" y="78"/>
                  </a:lnTo>
                  <a:cubicBezTo>
                    <a:pt x="360" y="81"/>
                    <a:pt x="357" y="84"/>
                    <a:pt x="354" y="85"/>
                  </a:cubicBezTo>
                  <a:cubicBezTo>
                    <a:pt x="351" y="87"/>
                    <a:pt x="347" y="88"/>
                    <a:pt x="343" y="88"/>
                  </a:cubicBezTo>
                  <a:cubicBezTo>
                    <a:pt x="339" y="88"/>
                    <a:pt x="336" y="87"/>
                    <a:pt x="333" y="86"/>
                  </a:cubicBezTo>
                  <a:cubicBezTo>
                    <a:pt x="330" y="84"/>
                    <a:pt x="327" y="82"/>
                    <a:pt x="326" y="79"/>
                  </a:cubicBezTo>
                  <a:cubicBezTo>
                    <a:pt x="324" y="76"/>
                    <a:pt x="323" y="73"/>
                    <a:pt x="322" y="70"/>
                  </a:cubicBezTo>
                  <a:cubicBezTo>
                    <a:pt x="321" y="66"/>
                    <a:pt x="320" y="62"/>
                    <a:pt x="320" y="58"/>
                  </a:cubicBezTo>
                  <a:cubicBezTo>
                    <a:pt x="320" y="53"/>
                    <a:pt x="321" y="49"/>
                    <a:pt x="322" y="45"/>
                  </a:cubicBezTo>
                  <a:cubicBezTo>
                    <a:pt x="323" y="41"/>
                    <a:pt x="325" y="38"/>
                    <a:pt x="327" y="35"/>
                  </a:cubicBezTo>
                  <a:cubicBezTo>
                    <a:pt x="329" y="32"/>
                    <a:pt x="331" y="30"/>
                    <a:pt x="334" y="28"/>
                  </a:cubicBezTo>
                  <a:cubicBezTo>
                    <a:pt x="337" y="27"/>
                    <a:pt x="341" y="26"/>
                    <a:pt x="345" y="26"/>
                  </a:cubicBezTo>
                  <a:cubicBezTo>
                    <a:pt x="348" y="26"/>
                    <a:pt x="351" y="27"/>
                    <a:pt x="354" y="28"/>
                  </a:cubicBezTo>
                  <a:cubicBezTo>
                    <a:pt x="356" y="30"/>
                    <a:pt x="359" y="32"/>
                    <a:pt x="362" y="35"/>
                  </a:cubicBezTo>
                  <a:lnTo>
                    <a:pt x="362" y="2"/>
                  </a:lnTo>
                  <a:cubicBezTo>
                    <a:pt x="362" y="2"/>
                    <a:pt x="362" y="1"/>
                    <a:pt x="362" y="1"/>
                  </a:cubicBezTo>
                  <a:cubicBezTo>
                    <a:pt x="362" y="1"/>
                    <a:pt x="362" y="1"/>
                    <a:pt x="363" y="1"/>
                  </a:cubicBezTo>
                  <a:cubicBezTo>
                    <a:pt x="363" y="0"/>
                    <a:pt x="364" y="0"/>
                    <a:pt x="364" y="0"/>
                  </a:cubicBezTo>
                  <a:cubicBezTo>
                    <a:pt x="365" y="0"/>
                    <a:pt x="366" y="0"/>
                    <a:pt x="367" y="0"/>
                  </a:cubicBezTo>
                  <a:cubicBezTo>
                    <a:pt x="368" y="0"/>
                    <a:pt x="369" y="0"/>
                    <a:pt x="369" y="0"/>
                  </a:cubicBezTo>
                  <a:cubicBezTo>
                    <a:pt x="370" y="0"/>
                    <a:pt x="371" y="0"/>
                    <a:pt x="371" y="1"/>
                  </a:cubicBezTo>
                  <a:cubicBezTo>
                    <a:pt x="371" y="1"/>
                    <a:pt x="372" y="1"/>
                    <a:pt x="372" y="1"/>
                  </a:cubicBezTo>
                  <a:cubicBezTo>
                    <a:pt x="372" y="1"/>
                    <a:pt x="372" y="2"/>
                    <a:pt x="372" y="2"/>
                  </a:cubicBezTo>
                  <a:lnTo>
                    <a:pt x="372" y="85"/>
                  </a:lnTo>
                  <a:close/>
                  <a:moveTo>
                    <a:pt x="362" y="46"/>
                  </a:moveTo>
                  <a:cubicBezTo>
                    <a:pt x="359" y="42"/>
                    <a:pt x="356" y="40"/>
                    <a:pt x="354" y="38"/>
                  </a:cubicBezTo>
                  <a:cubicBezTo>
                    <a:pt x="351" y="36"/>
                    <a:pt x="348" y="35"/>
                    <a:pt x="346" y="35"/>
                  </a:cubicBezTo>
                  <a:cubicBezTo>
                    <a:pt x="343" y="35"/>
                    <a:pt x="341" y="36"/>
                    <a:pt x="339" y="37"/>
                  </a:cubicBezTo>
                  <a:cubicBezTo>
                    <a:pt x="337" y="38"/>
                    <a:pt x="336" y="40"/>
                    <a:pt x="334" y="42"/>
                  </a:cubicBezTo>
                  <a:cubicBezTo>
                    <a:pt x="333" y="44"/>
                    <a:pt x="332" y="46"/>
                    <a:pt x="332" y="49"/>
                  </a:cubicBezTo>
                  <a:cubicBezTo>
                    <a:pt x="331" y="51"/>
                    <a:pt x="331" y="54"/>
                    <a:pt x="331" y="57"/>
                  </a:cubicBezTo>
                  <a:cubicBezTo>
                    <a:pt x="331" y="60"/>
                    <a:pt x="331" y="62"/>
                    <a:pt x="332" y="65"/>
                  </a:cubicBezTo>
                  <a:cubicBezTo>
                    <a:pt x="332" y="68"/>
                    <a:pt x="333" y="70"/>
                    <a:pt x="334" y="72"/>
                  </a:cubicBezTo>
                  <a:cubicBezTo>
                    <a:pt x="335" y="74"/>
                    <a:pt x="337" y="76"/>
                    <a:pt x="338" y="77"/>
                  </a:cubicBezTo>
                  <a:cubicBezTo>
                    <a:pt x="340" y="79"/>
                    <a:pt x="342" y="79"/>
                    <a:pt x="345" y="79"/>
                  </a:cubicBezTo>
                  <a:cubicBezTo>
                    <a:pt x="346" y="79"/>
                    <a:pt x="348" y="79"/>
                    <a:pt x="349" y="79"/>
                  </a:cubicBezTo>
                  <a:cubicBezTo>
                    <a:pt x="350" y="78"/>
                    <a:pt x="352" y="78"/>
                    <a:pt x="353" y="77"/>
                  </a:cubicBezTo>
                  <a:cubicBezTo>
                    <a:pt x="354" y="76"/>
                    <a:pt x="356" y="75"/>
                    <a:pt x="357" y="73"/>
                  </a:cubicBezTo>
                  <a:cubicBezTo>
                    <a:pt x="359" y="72"/>
                    <a:pt x="360" y="70"/>
                    <a:pt x="362" y="68"/>
                  </a:cubicBezTo>
                  <a:lnTo>
                    <a:pt x="362" y="46"/>
                  </a:lnTo>
                  <a:close/>
                  <a:moveTo>
                    <a:pt x="436" y="55"/>
                  </a:moveTo>
                  <a:cubicBezTo>
                    <a:pt x="436" y="56"/>
                    <a:pt x="436" y="58"/>
                    <a:pt x="435" y="58"/>
                  </a:cubicBezTo>
                  <a:cubicBezTo>
                    <a:pt x="434" y="59"/>
                    <a:pt x="433" y="59"/>
                    <a:pt x="432" y="59"/>
                  </a:cubicBezTo>
                  <a:lnTo>
                    <a:pt x="395" y="59"/>
                  </a:lnTo>
                  <a:cubicBezTo>
                    <a:pt x="395" y="62"/>
                    <a:pt x="395" y="65"/>
                    <a:pt x="396" y="68"/>
                  </a:cubicBezTo>
                  <a:cubicBezTo>
                    <a:pt x="396" y="70"/>
                    <a:pt x="398" y="72"/>
                    <a:pt x="399" y="74"/>
                  </a:cubicBezTo>
                  <a:cubicBezTo>
                    <a:pt x="400" y="76"/>
                    <a:pt x="402" y="77"/>
                    <a:pt x="405" y="78"/>
                  </a:cubicBezTo>
                  <a:cubicBezTo>
                    <a:pt x="407" y="79"/>
                    <a:pt x="410" y="80"/>
                    <a:pt x="413" y="80"/>
                  </a:cubicBezTo>
                  <a:cubicBezTo>
                    <a:pt x="416" y="80"/>
                    <a:pt x="418" y="79"/>
                    <a:pt x="420" y="79"/>
                  </a:cubicBezTo>
                  <a:cubicBezTo>
                    <a:pt x="423" y="79"/>
                    <a:pt x="424" y="78"/>
                    <a:pt x="426" y="78"/>
                  </a:cubicBezTo>
                  <a:cubicBezTo>
                    <a:pt x="427" y="77"/>
                    <a:pt x="429" y="77"/>
                    <a:pt x="430" y="76"/>
                  </a:cubicBezTo>
                  <a:cubicBezTo>
                    <a:pt x="431" y="76"/>
                    <a:pt x="431" y="75"/>
                    <a:pt x="432" y="75"/>
                  </a:cubicBezTo>
                  <a:cubicBezTo>
                    <a:pt x="432" y="75"/>
                    <a:pt x="432" y="76"/>
                    <a:pt x="433" y="76"/>
                  </a:cubicBezTo>
                  <a:cubicBezTo>
                    <a:pt x="433" y="76"/>
                    <a:pt x="433" y="76"/>
                    <a:pt x="433" y="76"/>
                  </a:cubicBezTo>
                  <a:cubicBezTo>
                    <a:pt x="433" y="77"/>
                    <a:pt x="433" y="77"/>
                    <a:pt x="434" y="78"/>
                  </a:cubicBezTo>
                  <a:cubicBezTo>
                    <a:pt x="434" y="78"/>
                    <a:pt x="434" y="79"/>
                    <a:pt x="434" y="79"/>
                  </a:cubicBezTo>
                  <a:cubicBezTo>
                    <a:pt x="434" y="80"/>
                    <a:pt x="434" y="80"/>
                    <a:pt x="434" y="81"/>
                  </a:cubicBezTo>
                  <a:cubicBezTo>
                    <a:pt x="434" y="81"/>
                    <a:pt x="433" y="82"/>
                    <a:pt x="433" y="82"/>
                  </a:cubicBezTo>
                  <a:cubicBezTo>
                    <a:pt x="433" y="82"/>
                    <a:pt x="433" y="82"/>
                    <a:pt x="433" y="83"/>
                  </a:cubicBezTo>
                  <a:cubicBezTo>
                    <a:pt x="433" y="83"/>
                    <a:pt x="433" y="83"/>
                    <a:pt x="433" y="83"/>
                  </a:cubicBezTo>
                  <a:cubicBezTo>
                    <a:pt x="432" y="84"/>
                    <a:pt x="432" y="84"/>
                    <a:pt x="430" y="85"/>
                  </a:cubicBezTo>
                  <a:cubicBezTo>
                    <a:pt x="429" y="85"/>
                    <a:pt x="428" y="86"/>
                    <a:pt x="426" y="86"/>
                  </a:cubicBezTo>
                  <a:cubicBezTo>
                    <a:pt x="424" y="87"/>
                    <a:pt x="422" y="87"/>
                    <a:pt x="420" y="87"/>
                  </a:cubicBezTo>
                  <a:cubicBezTo>
                    <a:pt x="418" y="88"/>
                    <a:pt x="415" y="88"/>
                    <a:pt x="412" y="88"/>
                  </a:cubicBezTo>
                  <a:cubicBezTo>
                    <a:pt x="408" y="88"/>
                    <a:pt x="404" y="87"/>
                    <a:pt x="400" y="86"/>
                  </a:cubicBezTo>
                  <a:cubicBezTo>
                    <a:pt x="397" y="85"/>
                    <a:pt x="394" y="83"/>
                    <a:pt x="391" y="80"/>
                  </a:cubicBezTo>
                  <a:cubicBezTo>
                    <a:pt x="389" y="78"/>
                    <a:pt x="387" y="75"/>
                    <a:pt x="386" y="71"/>
                  </a:cubicBezTo>
                  <a:cubicBezTo>
                    <a:pt x="385" y="67"/>
                    <a:pt x="384" y="63"/>
                    <a:pt x="384" y="57"/>
                  </a:cubicBezTo>
                  <a:cubicBezTo>
                    <a:pt x="384" y="53"/>
                    <a:pt x="385" y="48"/>
                    <a:pt x="386" y="44"/>
                  </a:cubicBezTo>
                  <a:cubicBezTo>
                    <a:pt x="387" y="41"/>
                    <a:pt x="389" y="37"/>
                    <a:pt x="392" y="35"/>
                  </a:cubicBezTo>
                  <a:cubicBezTo>
                    <a:pt x="394" y="32"/>
                    <a:pt x="397" y="30"/>
                    <a:pt x="400" y="28"/>
                  </a:cubicBezTo>
                  <a:cubicBezTo>
                    <a:pt x="403" y="27"/>
                    <a:pt x="407" y="26"/>
                    <a:pt x="411" y="26"/>
                  </a:cubicBezTo>
                  <a:cubicBezTo>
                    <a:pt x="416" y="26"/>
                    <a:pt x="419" y="27"/>
                    <a:pt x="423" y="28"/>
                  </a:cubicBezTo>
                  <a:cubicBezTo>
                    <a:pt x="426" y="30"/>
                    <a:pt x="428" y="32"/>
                    <a:pt x="430" y="34"/>
                  </a:cubicBezTo>
                  <a:cubicBezTo>
                    <a:pt x="432" y="36"/>
                    <a:pt x="434" y="39"/>
                    <a:pt x="435" y="43"/>
                  </a:cubicBezTo>
                  <a:cubicBezTo>
                    <a:pt x="436" y="46"/>
                    <a:pt x="436" y="49"/>
                    <a:pt x="436" y="53"/>
                  </a:cubicBezTo>
                  <a:lnTo>
                    <a:pt x="436" y="55"/>
                  </a:lnTo>
                  <a:close/>
                  <a:moveTo>
                    <a:pt x="426" y="52"/>
                  </a:moveTo>
                  <a:cubicBezTo>
                    <a:pt x="426" y="46"/>
                    <a:pt x="425" y="42"/>
                    <a:pt x="422" y="39"/>
                  </a:cubicBezTo>
                  <a:cubicBezTo>
                    <a:pt x="419" y="36"/>
                    <a:pt x="416" y="34"/>
                    <a:pt x="411" y="34"/>
                  </a:cubicBezTo>
                  <a:cubicBezTo>
                    <a:pt x="408" y="34"/>
                    <a:pt x="406" y="35"/>
                    <a:pt x="404" y="36"/>
                  </a:cubicBezTo>
                  <a:cubicBezTo>
                    <a:pt x="402" y="37"/>
                    <a:pt x="400" y="38"/>
                    <a:pt x="399" y="40"/>
                  </a:cubicBezTo>
                  <a:cubicBezTo>
                    <a:pt x="398" y="41"/>
                    <a:pt x="397" y="43"/>
                    <a:pt x="396" y="45"/>
                  </a:cubicBezTo>
                  <a:cubicBezTo>
                    <a:pt x="395" y="47"/>
                    <a:pt x="395" y="49"/>
                    <a:pt x="395" y="52"/>
                  </a:cubicBezTo>
                  <a:lnTo>
                    <a:pt x="426" y="52"/>
                  </a:lnTo>
                  <a:close/>
                  <a:moveTo>
                    <a:pt x="485" y="33"/>
                  </a:moveTo>
                  <a:cubicBezTo>
                    <a:pt x="485" y="34"/>
                    <a:pt x="485" y="34"/>
                    <a:pt x="485" y="35"/>
                  </a:cubicBezTo>
                  <a:cubicBezTo>
                    <a:pt x="485" y="36"/>
                    <a:pt x="485" y="36"/>
                    <a:pt x="485" y="37"/>
                  </a:cubicBezTo>
                  <a:cubicBezTo>
                    <a:pt x="484" y="37"/>
                    <a:pt x="484" y="37"/>
                    <a:pt x="484" y="37"/>
                  </a:cubicBezTo>
                  <a:cubicBezTo>
                    <a:pt x="484" y="38"/>
                    <a:pt x="484" y="38"/>
                    <a:pt x="483" y="38"/>
                  </a:cubicBezTo>
                  <a:cubicBezTo>
                    <a:pt x="483" y="38"/>
                    <a:pt x="483" y="38"/>
                    <a:pt x="482" y="37"/>
                  </a:cubicBezTo>
                  <a:cubicBezTo>
                    <a:pt x="482" y="37"/>
                    <a:pt x="481" y="37"/>
                    <a:pt x="480" y="37"/>
                  </a:cubicBezTo>
                  <a:cubicBezTo>
                    <a:pt x="480" y="37"/>
                    <a:pt x="479" y="36"/>
                    <a:pt x="478" y="36"/>
                  </a:cubicBezTo>
                  <a:cubicBezTo>
                    <a:pt x="478" y="36"/>
                    <a:pt x="477" y="36"/>
                    <a:pt x="476" y="36"/>
                  </a:cubicBezTo>
                  <a:cubicBezTo>
                    <a:pt x="475" y="36"/>
                    <a:pt x="474" y="36"/>
                    <a:pt x="473" y="37"/>
                  </a:cubicBezTo>
                  <a:cubicBezTo>
                    <a:pt x="472" y="37"/>
                    <a:pt x="471" y="38"/>
                    <a:pt x="470" y="39"/>
                  </a:cubicBezTo>
                  <a:cubicBezTo>
                    <a:pt x="469" y="40"/>
                    <a:pt x="468" y="41"/>
                    <a:pt x="466" y="42"/>
                  </a:cubicBezTo>
                  <a:cubicBezTo>
                    <a:pt x="465" y="44"/>
                    <a:pt x="464" y="46"/>
                    <a:pt x="462" y="48"/>
                  </a:cubicBezTo>
                  <a:lnTo>
                    <a:pt x="462" y="85"/>
                  </a:lnTo>
                  <a:cubicBezTo>
                    <a:pt x="462" y="86"/>
                    <a:pt x="462" y="86"/>
                    <a:pt x="462" y="86"/>
                  </a:cubicBezTo>
                  <a:cubicBezTo>
                    <a:pt x="462" y="86"/>
                    <a:pt x="462" y="87"/>
                    <a:pt x="461" y="87"/>
                  </a:cubicBezTo>
                  <a:cubicBezTo>
                    <a:pt x="461" y="87"/>
                    <a:pt x="460" y="87"/>
                    <a:pt x="460" y="87"/>
                  </a:cubicBezTo>
                  <a:cubicBezTo>
                    <a:pt x="459" y="87"/>
                    <a:pt x="458" y="87"/>
                    <a:pt x="457" y="87"/>
                  </a:cubicBezTo>
                  <a:cubicBezTo>
                    <a:pt x="456" y="87"/>
                    <a:pt x="455" y="87"/>
                    <a:pt x="455" y="87"/>
                  </a:cubicBezTo>
                  <a:cubicBezTo>
                    <a:pt x="454" y="87"/>
                    <a:pt x="453" y="87"/>
                    <a:pt x="453" y="87"/>
                  </a:cubicBezTo>
                  <a:cubicBezTo>
                    <a:pt x="453" y="87"/>
                    <a:pt x="452" y="86"/>
                    <a:pt x="452" y="86"/>
                  </a:cubicBezTo>
                  <a:cubicBezTo>
                    <a:pt x="452" y="86"/>
                    <a:pt x="452" y="86"/>
                    <a:pt x="452" y="85"/>
                  </a:cubicBezTo>
                  <a:lnTo>
                    <a:pt x="452" y="29"/>
                  </a:lnTo>
                  <a:cubicBezTo>
                    <a:pt x="452" y="29"/>
                    <a:pt x="452" y="28"/>
                    <a:pt x="452" y="28"/>
                  </a:cubicBezTo>
                  <a:cubicBezTo>
                    <a:pt x="452" y="28"/>
                    <a:pt x="453" y="28"/>
                    <a:pt x="453" y="28"/>
                  </a:cubicBezTo>
                  <a:cubicBezTo>
                    <a:pt x="453" y="27"/>
                    <a:pt x="454" y="27"/>
                    <a:pt x="454" y="27"/>
                  </a:cubicBezTo>
                  <a:cubicBezTo>
                    <a:pt x="455" y="27"/>
                    <a:pt x="456" y="27"/>
                    <a:pt x="457" y="27"/>
                  </a:cubicBezTo>
                  <a:cubicBezTo>
                    <a:pt x="458" y="27"/>
                    <a:pt x="458" y="27"/>
                    <a:pt x="459" y="27"/>
                  </a:cubicBezTo>
                  <a:cubicBezTo>
                    <a:pt x="460" y="27"/>
                    <a:pt x="460" y="27"/>
                    <a:pt x="460" y="28"/>
                  </a:cubicBezTo>
                  <a:cubicBezTo>
                    <a:pt x="461" y="28"/>
                    <a:pt x="461" y="28"/>
                    <a:pt x="461" y="28"/>
                  </a:cubicBezTo>
                  <a:cubicBezTo>
                    <a:pt x="461" y="28"/>
                    <a:pt x="461" y="29"/>
                    <a:pt x="461" y="29"/>
                  </a:cubicBezTo>
                  <a:lnTo>
                    <a:pt x="461" y="37"/>
                  </a:lnTo>
                  <a:cubicBezTo>
                    <a:pt x="463" y="35"/>
                    <a:pt x="464" y="33"/>
                    <a:pt x="466" y="32"/>
                  </a:cubicBezTo>
                  <a:cubicBezTo>
                    <a:pt x="467" y="30"/>
                    <a:pt x="468" y="29"/>
                    <a:pt x="469" y="28"/>
                  </a:cubicBezTo>
                  <a:cubicBezTo>
                    <a:pt x="471" y="28"/>
                    <a:pt x="472" y="27"/>
                    <a:pt x="473" y="27"/>
                  </a:cubicBezTo>
                  <a:cubicBezTo>
                    <a:pt x="474" y="26"/>
                    <a:pt x="475" y="26"/>
                    <a:pt x="477" y="26"/>
                  </a:cubicBezTo>
                  <a:cubicBezTo>
                    <a:pt x="477" y="26"/>
                    <a:pt x="478" y="26"/>
                    <a:pt x="479" y="26"/>
                  </a:cubicBezTo>
                  <a:cubicBezTo>
                    <a:pt x="479" y="26"/>
                    <a:pt x="480" y="27"/>
                    <a:pt x="481" y="27"/>
                  </a:cubicBezTo>
                  <a:cubicBezTo>
                    <a:pt x="481" y="27"/>
                    <a:pt x="482" y="27"/>
                    <a:pt x="483" y="27"/>
                  </a:cubicBezTo>
                  <a:cubicBezTo>
                    <a:pt x="483" y="27"/>
                    <a:pt x="484" y="28"/>
                    <a:pt x="484" y="28"/>
                  </a:cubicBezTo>
                  <a:cubicBezTo>
                    <a:pt x="484" y="28"/>
                    <a:pt x="484" y="28"/>
                    <a:pt x="484" y="28"/>
                  </a:cubicBezTo>
                  <a:cubicBezTo>
                    <a:pt x="485" y="29"/>
                    <a:pt x="485" y="29"/>
                    <a:pt x="485" y="29"/>
                  </a:cubicBezTo>
                  <a:cubicBezTo>
                    <a:pt x="485" y="29"/>
                    <a:pt x="485" y="30"/>
                    <a:pt x="485" y="30"/>
                  </a:cubicBezTo>
                  <a:cubicBezTo>
                    <a:pt x="485" y="31"/>
                    <a:pt x="485" y="32"/>
                    <a:pt x="485" y="33"/>
                  </a:cubicBezTo>
                  <a:close/>
                </a:path>
              </a:pathLst>
            </a:custGeom>
            <a:solidFill>
              <a:srgbClr val="C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7800" name="Picture 152">
              <a:extLst>
                <a:ext uri="{FF2B5EF4-FFF2-40B4-BE49-F238E27FC236}">
                  <a16:creationId xmlns:a16="http://schemas.microsoft.com/office/drawing/2014/main" id="{FAC6B39E-5770-4717-8156-ED7772F81C8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39" y="3365"/>
              <a:ext cx="101"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01" name="Picture 153">
              <a:extLst>
                <a:ext uri="{FF2B5EF4-FFF2-40B4-BE49-F238E27FC236}">
                  <a16:creationId xmlns:a16="http://schemas.microsoft.com/office/drawing/2014/main" id="{9826F9E2-6EEF-45CD-938D-D17812601D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39" y="3365"/>
              <a:ext cx="101"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730" name="Rectangle 154">
              <a:extLst>
                <a:ext uri="{FF2B5EF4-FFF2-40B4-BE49-F238E27FC236}">
                  <a16:creationId xmlns:a16="http://schemas.microsoft.com/office/drawing/2014/main" id="{A2911CDA-DFF0-49B3-B50D-F47F3F772EC7}"/>
                </a:ext>
              </a:extLst>
            </p:cNvPr>
            <p:cNvSpPr>
              <a:spLocks noChangeArrowheads="1"/>
            </p:cNvSpPr>
            <p:nvPr/>
          </p:nvSpPr>
          <p:spPr bwMode="auto">
            <a:xfrm>
              <a:off x="3540" y="3472"/>
              <a:ext cx="143"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a:ln>
                    <a:noFill/>
                  </a:ln>
                  <a:solidFill>
                    <a:srgbClr val="00B050"/>
                  </a:solidFill>
                  <a:effectLst/>
                  <a:latin typeface="Segoe UI" panose="020B0502040204020203" pitchFamily="34" charset="0"/>
                </a:rPr>
                <a:t>Us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31" name="Freeform 155">
              <a:extLst>
                <a:ext uri="{FF2B5EF4-FFF2-40B4-BE49-F238E27FC236}">
                  <a16:creationId xmlns:a16="http://schemas.microsoft.com/office/drawing/2014/main" id="{2CBB982A-2CA2-466A-9277-1C4E825D4CC6}"/>
                </a:ext>
              </a:extLst>
            </p:cNvPr>
            <p:cNvSpPr>
              <a:spLocks noEditPoints="1"/>
            </p:cNvSpPr>
            <p:nvPr/>
          </p:nvSpPr>
          <p:spPr bwMode="auto">
            <a:xfrm>
              <a:off x="4933" y="3402"/>
              <a:ext cx="1026" cy="118"/>
            </a:xfrm>
            <a:custGeom>
              <a:avLst/>
              <a:gdLst>
                <a:gd name="T0" fmla="*/ 2292 w 2294"/>
                <a:gd name="T1" fmla="*/ 161 h 263"/>
                <a:gd name="T2" fmla="*/ 2196 w 2294"/>
                <a:gd name="T3" fmla="*/ 135 h 263"/>
                <a:gd name="T4" fmla="*/ 2173 w 2294"/>
                <a:gd name="T5" fmla="*/ 131 h 263"/>
                <a:gd name="T6" fmla="*/ 2151 w 2294"/>
                <a:gd name="T7" fmla="*/ 119 h 263"/>
                <a:gd name="T8" fmla="*/ 2079 w 2294"/>
                <a:gd name="T9" fmla="*/ 106 h 263"/>
                <a:gd name="T10" fmla="*/ 2114 w 2294"/>
                <a:gd name="T11" fmla="*/ 115 h 263"/>
                <a:gd name="T12" fmla="*/ 2055 w 2294"/>
                <a:gd name="T13" fmla="*/ 95 h 263"/>
                <a:gd name="T14" fmla="*/ 1958 w 2294"/>
                <a:gd name="T15" fmla="*/ 75 h 263"/>
                <a:gd name="T16" fmla="*/ 1934 w 2294"/>
                <a:gd name="T17" fmla="*/ 73 h 263"/>
                <a:gd name="T18" fmla="*/ 1938 w 2294"/>
                <a:gd name="T19" fmla="*/ 71 h 263"/>
                <a:gd name="T20" fmla="*/ 1837 w 2294"/>
                <a:gd name="T21" fmla="*/ 51 h 263"/>
                <a:gd name="T22" fmla="*/ 1874 w 2294"/>
                <a:gd name="T23" fmla="*/ 60 h 263"/>
                <a:gd name="T24" fmla="*/ 1815 w 2294"/>
                <a:gd name="T25" fmla="*/ 45 h 263"/>
                <a:gd name="T26" fmla="*/ 1718 w 2294"/>
                <a:gd name="T27" fmla="*/ 35 h 263"/>
                <a:gd name="T28" fmla="*/ 1756 w 2294"/>
                <a:gd name="T29" fmla="*/ 38 h 263"/>
                <a:gd name="T30" fmla="*/ 1657 w 2294"/>
                <a:gd name="T31" fmla="*/ 23 h 263"/>
                <a:gd name="T32" fmla="*/ 1596 w 2294"/>
                <a:gd name="T33" fmla="*/ 21 h 263"/>
                <a:gd name="T34" fmla="*/ 1631 w 2294"/>
                <a:gd name="T35" fmla="*/ 25 h 263"/>
                <a:gd name="T36" fmla="*/ 1571 w 2294"/>
                <a:gd name="T37" fmla="*/ 14 h 263"/>
                <a:gd name="T38" fmla="*/ 1471 w 2294"/>
                <a:gd name="T39" fmla="*/ 9 h 263"/>
                <a:gd name="T40" fmla="*/ 1448 w 2294"/>
                <a:gd name="T41" fmla="*/ 10 h 263"/>
                <a:gd name="T42" fmla="*/ 1430 w 2294"/>
                <a:gd name="T43" fmla="*/ 4 h 263"/>
                <a:gd name="T44" fmla="*/ 1351 w 2294"/>
                <a:gd name="T45" fmla="*/ 7 h 263"/>
                <a:gd name="T46" fmla="*/ 1387 w 2294"/>
                <a:gd name="T47" fmla="*/ 8 h 263"/>
                <a:gd name="T48" fmla="*/ 1325 w 2294"/>
                <a:gd name="T49" fmla="*/ 1 h 263"/>
                <a:gd name="T50" fmla="*/ 1225 w 2294"/>
                <a:gd name="T51" fmla="*/ 4 h 263"/>
                <a:gd name="T52" fmla="*/ 1203 w 2294"/>
                <a:gd name="T53" fmla="*/ 7 h 263"/>
                <a:gd name="T54" fmla="*/ 1205 w 2294"/>
                <a:gd name="T55" fmla="*/ 4 h 263"/>
                <a:gd name="T56" fmla="*/ 1103 w 2294"/>
                <a:gd name="T57" fmla="*/ 8 h 263"/>
                <a:gd name="T58" fmla="*/ 1141 w 2294"/>
                <a:gd name="T59" fmla="*/ 8 h 263"/>
                <a:gd name="T60" fmla="*/ 1080 w 2294"/>
                <a:gd name="T61" fmla="*/ 7 h 263"/>
                <a:gd name="T62" fmla="*/ 983 w 2294"/>
                <a:gd name="T63" fmla="*/ 18 h 263"/>
                <a:gd name="T64" fmla="*/ 1021 w 2294"/>
                <a:gd name="T65" fmla="*/ 13 h 263"/>
                <a:gd name="T66" fmla="*/ 921 w 2294"/>
                <a:gd name="T67" fmla="*/ 20 h 263"/>
                <a:gd name="T68" fmla="*/ 861 w 2294"/>
                <a:gd name="T69" fmla="*/ 32 h 263"/>
                <a:gd name="T70" fmla="*/ 896 w 2294"/>
                <a:gd name="T71" fmla="*/ 28 h 263"/>
                <a:gd name="T72" fmla="*/ 835 w 2294"/>
                <a:gd name="T73" fmla="*/ 30 h 263"/>
                <a:gd name="T74" fmla="*/ 737 w 2294"/>
                <a:gd name="T75" fmla="*/ 48 h 263"/>
                <a:gd name="T76" fmla="*/ 714 w 2294"/>
                <a:gd name="T77" fmla="*/ 54 h 263"/>
                <a:gd name="T78" fmla="*/ 704 w 2294"/>
                <a:gd name="T79" fmla="*/ 50 h 263"/>
                <a:gd name="T80" fmla="*/ 619 w 2294"/>
                <a:gd name="T81" fmla="*/ 72 h 263"/>
                <a:gd name="T82" fmla="*/ 654 w 2294"/>
                <a:gd name="T83" fmla="*/ 65 h 263"/>
                <a:gd name="T84" fmla="*/ 557 w 2294"/>
                <a:gd name="T85" fmla="*/ 80 h 263"/>
                <a:gd name="T86" fmla="*/ 534 w 2294"/>
                <a:gd name="T87" fmla="*/ 91 h 263"/>
                <a:gd name="T88" fmla="*/ 533 w 2294"/>
                <a:gd name="T89" fmla="*/ 86 h 263"/>
                <a:gd name="T90" fmla="*/ 436 w 2294"/>
                <a:gd name="T91" fmla="*/ 112 h 263"/>
                <a:gd name="T92" fmla="*/ 415 w 2294"/>
                <a:gd name="T93" fmla="*/ 121 h 263"/>
                <a:gd name="T94" fmla="*/ 417 w 2294"/>
                <a:gd name="T95" fmla="*/ 117 h 263"/>
                <a:gd name="T96" fmla="*/ 320 w 2294"/>
                <a:gd name="T97" fmla="*/ 143 h 263"/>
                <a:gd name="T98" fmla="*/ 279 w 2294"/>
                <a:gd name="T99" fmla="*/ 161 h 263"/>
                <a:gd name="T100" fmla="*/ 296 w 2294"/>
                <a:gd name="T101" fmla="*/ 151 h 263"/>
                <a:gd name="T102" fmla="*/ 202 w 2294"/>
                <a:gd name="T103" fmla="*/ 185 h 263"/>
                <a:gd name="T104" fmla="*/ 181 w 2294"/>
                <a:gd name="T105" fmla="*/ 195 h 263"/>
                <a:gd name="T106" fmla="*/ 182 w 2294"/>
                <a:gd name="T107" fmla="*/ 192 h 263"/>
                <a:gd name="T108" fmla="*/ 88 w 2294"/>
                <a:gd name="T109" fmla="*/ 224 h 263"/>
                <a:gd name="T110" fmla="*/ 33 w 2294"/>
                <a:gd name="T111" fmla="*/ 251 h 263"/>
                <a:gd name="T112" fmla="*/ 66 w 2294"/>
                <a:gd name="T113" fmla="*/ 238 h 263"/>
                <a:gd name="T114" fmla="*/ 7 w 2294"/>
                <a:gd name="T115" fmla="*/ 25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4" h="263">
                  <a:moveTo>
                    <a:pt x="2291" y="166"/>
                  </a:moveTo>
                  <a:lnTo>
                    <a:pt x="2256" y="156"/>
                  </a:lnTo>
                  <a:cubicBezTo>
                    <a:pt x="2255" y="155"/>
                    <a:pt x="2254" y="154"/>
                    <a:pt x="2255" y="153"/>
                  </a:cubicBezTo>
                  <a:cubicBezTo>
                    <a:pt x="2255" y="151"/>
                    <a:pt x="2257" y="150"/>
                    <a:pt x="2258" y="151"/>
                  </a:cubicBezTo>
                  <a:lnTo>
                    <a:pt x="2292" y="161"/>
                  </a:lnTo>
                  <a:cubicBezTo>
                    <a:pt x="2294" y="161"/>
                    <a:pt x="2294" y="163"/>
                    <a:pt x="2294" y="164"/>
                  </a:cubicBezTo>
                  <a:cubicBezTo>
                    <a:pt x="2294" y="166"/>
                    <a:pt x="2292" y="166"/>
                    <a:pt x="2291" y="166"/>
                  </a:cubicBezTo>
                  <a:close/>
                  <a:moveTo>
                    <a:pt x="2232" y="148"/>
                  </a:moveTo>
                  <a:lnTo>
                    <a:pt x="2198" y="138"/>
                  </a:lnTo>
                  <a:cubicBezTo>
                    <a:pt x="2196" y="138"/>
                    <a:pt x="2195" y="136"/>
                    <a:pt x="2196" y="135"/>
                  </a:cubicBezTo>
                  <a:cubicBezTo>
                    <a:pt x="2196" y="134"/>
                    <a:pt x="2198" y="133"/>
                    <a:pt x="2199" y="133"/>
                  </a:cubicBezTo>
                  <a:lnTo>
                    <a:pt x="2233" y="143"/>
                  </a:lnTo>
                  <a:cubicBezTo>
                    <a:pt x="2235" y="144"/>
                    <a:pt x="2235" y="145"/>
                    <a:pt x="2235" y="147"/>
                  </a:cubicBezTo>
                  <a:cubicBezTo>
                    <a:pt x="2235" y="148"/>
                    <a:pt x="2233" y="149"/>
                    <a:pt x="2232" y="148"/>
                  </a:cubicBezTo>
                  <a:close/>
                  <a:moveTo>
                    <a:pt x="2173" y="131"/>
                  </a:moveTo>
                  <a:lnTo>
                    <a:pt x="2150" y="124"/>
                  </a:lnTo>
                  <a:lnTo>
                    <a:pt x="2139" y="121"/>
                  </a:lnTo>
                  <a:cubicBezTo>
                    <a:pt x="2137" y="121"/>
                    <a:pt x="2136" y="119"/>
                    <a:pt x="2137" y="118"/>
                  </a:cubicBezTo>
                  <a:cubicBezTo>
                    <a:pt x="2137" y="117"/>
                    <a:pt x="2138" y="116"/>
                    <a:pt x="2140" y="116"/>
                  </a:cubicBezTo>
                  <a:lnTo>
                    <a:pt x="2151" y="119"/>
                  </a:lnTo>
                  <a:lnTo>
                    <a:pt x="2174" y="126"/>
                  </a:lnTo>
                  <a:cubicBezTo>
                    <a:pt x="2176" y="126"/>
                    <a:pt x="2177" y="128"/>
                    <a:pt x="2176" y="129"/>
                  </a:cubicBezTo>
                  <a:cubicBezTo>
                    <a:pt x="2176" y="130"/>
                    <a:pt x="2174" y="131"/>
                    <a:pt x="2173" y="131"/>
                  </a:cubicBezTo>
                  <a:close/>
                  <a:moveTo>
                    <a:pt x="2114" y="115"/>
                  </a:moveTo>
                  <a:lnTo>
                    <a:pt x="2079" y="106"/>
                  </a:lnTo>
                  <a:cubicBezTo>
                    <a:pt x="2078" y="106"/>
                    <a:pt x="2077" y="104"/>
                    <a:pt x="2077" y="103"/>
                  </a:cubicBezTo>
                  <a:cubicBezTo>
                    <a:pt x="2078" y="102"/>
                    <a:pt x="2079" y="101"/>
                    <a:pt x="2080" y="101"/>
                  </a:cubicBezTo>
                  <a:lnTo>
                    <a:pt x="2115" y="110"/>
                  </a:lnTo>
                  <a:cubicBezTo>
                    <a:pt x="2116" y="110"/>
                    <a:pt x="2117" y="112"/>
                    <a:pt x="2117" y="113"/>
                  </a:cubicBezTo>
                  <a:cubicBezTo>
                    <a:pt x="2117" y="114"/>
                    <a:pt x="2115" y="115"/>
                    <a:pt x="2114" y="115"/>
                  </a:cubicBezTo>
                  <a:close/>
                  <a:moveTo>
                    <a:pt x="2054" y="100"/>
                  </a:moveTo>
                  <a:lnTo>
                    <a:pt x="2019" y="91"/>
                  </a:lnTo>
                  <a:cubicBezTo>
                    <a:pt x="2018" y="91"/>
                    <a:pt x="2017" y="89"/>
                    <a:pt x="2018" y="88"/>
                  </a:cubicBezTo>
                  <a:cubicBezTo>
                    <a:pt x="2018" y="87"/>
                    <a:pt x="2019" y="86"/>
                    <a:pt x="2021" y="86"/>
                  </a:cubicBezTo>
                  <a:lnTo>
                    <a:pt x="2055" y="95"/>
                  </a:lnTo>
                  <a:cubicBezTo>
                    <a:pt x="2057" y="95"/>
                    <a:pt x="2058" y="97"/>
                    <a:pt x="2057" y="98"/>
                  </a:cubicBezTo>
                  <a:cubicBezTo>
                    <a:pt x="2057" y="99"/>
                    <a:pt x="2056" y="100"/>
                    <a:pt x="2054" y="100"/>
                  </a:cubicBezTo>
                  <a:close/>
                  <a:moveTo>
                    <a:pt x="1995" y="85"/>
                  </a:moveTo>
                  <a:lnTo>
                    <a:pt x="1960" y="78"/>
                  </a:lnTo>
                  <a:cubicBezTo>
                    <a:pt x="1958" y="78"/>
                    <a:pt x="1957" y="76"/>
                    <a:pt x="1958" y="75"/>
                  </a:cubicBezTo>
                  <a:cubicBezTo>
                    <a:pt x="1958" y="74"/>
                    <a:pt x="1959" y="73"/>
                    <a:pt x="1961" y="73"/>
                  </a:cubicBezTo>
                  <a:lnTo>
                    <a:pt x="1996" y="80"/>
                  </a:lnTo>
                  <a:cubicBezTo>
                    <a:pt x="1997" y="81"/>
                    <a:pt x="1998" y="82"/>
                    <a:pt x="1998" y="83"/>
                  </a:cubicBezTo>
                  <a:cubicBezTo>
                    <a:pt x="1997" y="85"/>
                    <a:pt x="1996" y="86"/>
                    <a:pt x="1995" y="85"/>
                  </a:cubicBezTo>
                  <a:close/>
                  <a:moveTo>
                    <a:pt x="1934" y="73"/>
                  </a:moveTo>
                  <a:lnTo>
                    <a:pt x="1899" y="66"/>
                  </a:lnTo>
                  <a:cubicBezTo>
                    <a:pt x="1898" y="65"/>
                    <a:pt x="1897" y="64"/>
                    <a:pt x="1897" y="63"/>
                  </a:cubicBezTo>
                  <a:cubicBezTo>
                    <a:pt x="1898" y="61"/>
                    <a:pt x="1899" y="60"/>
                    <a:pt x="1900" y="61"/>
                  </a:cubicBezTo>
                  <a:lnTo>
                    <a:pt x="1936" y="68"/>
                  </a:lnTo>
                  <a:cubicBezTo>
                    <a:pt x="1937" y="68"/>
                    <a:pt x="1938" y="70"/>
                    <a:pt x="1938" y="71"/>
                  </a:cubicBezTo>
                  <a:cubicBezTo>
                    <a:pt x="1937" y="72"/>
                    <a:pt x="1936" y="73"/>
                    <a:pt x="1934" y="73"/>
                  </a:cubicBezTo>
                  <a:close/>
                  <a:moveTo>
                    <a:pt x="1874" y="60"/>
                  </a:moveTo>
                  <a:lnTo>
                    <a:pt x="1863" y="58"/>
                  </a:lnTo>
                  <a:lnTo>
                    <a:pt x="1839" y="54"/>
                  </a:lnTo>
                  <a:cubicBezTo>
                    <a:pt x="1838" y="54"/>
                    <a:pt x="1837" y="53"/>
                    <a:pt x="1837" y="51"/>
                  </a:cubicBezTo>
                  <a:cubicBezTo>
                    <a:pt x="1837" y="50"/>
                    <a:pt x="1839" y="49"/>
                    <a:pt x="1840" y="49"/>
                  </a:cubicBezTo>
                  <a:lnTo>
                    <a:pt x="1864" y="53"/>
                  </a:lnTo>
                  <a:lnTo>
                    <a:pt x="1875" y="55"/>
                  </a:lnTo>
                  <a:cubicBezTo>
                    <a:pt x="1877" y="56"/>
                    <a:pt x="1878" y="57"/>
                    <a:pt x="1877" y="58"/>
                  </a:cubicBezTo>
                  <a:cubicBezTo>
                    <a:pt x="1877" y="60"/>
                    <a:pt x="1876" y="61"/>
                    <a:pt x="1874" y="60"/>
                  </a:cubicBezTo>
                  <a:close/>
                  <a:moveTo>
                    <a:pt x="1814" y="50"/>
                  </a:moveTo>
                  <a:lnTo>
                    <a:pt x="1779" y="44"/>
                  </a:lnTo>
                  <a:cubicBezTo>
                    <a:pt x="1777" y="44"/>
                    <a:pt x="1776" y="43"/>
                    <a:pt x="1776" y="42"/>
                  </a:cubicBezTo>
                  <a:cubicBezTo>
                    <a:pt x="1777" y="40"/>
                    <a:pt x="1778" y="39"/>
                    <a:pt x="1779" y="39"/>
                  </a:cubicBezTo>
                  <a:lnTo>
                    <a:pt x="1815" y="45"/>
                  </a:lnTo>
                  <a:cubicBezTo>
                    <a:pt x="1816" y="45"/>
                    <a:pt x="1817" y="47"/>
                    <a:pt x="1817" y="48"/>
                  </a:cubicBezTo>
                  <a:cubicBezTo>
                    <a:pt x="1817" y="49"/>
                    <a:pt x="1815" y="50"/>
                    <a:pt x="1814" y="50"/>
                  </a:cubicBezTo>
                  <a:close/>
                  <a:moveTo>
                    <a:pt x="1753" y="40"/>
                  </a:moveTo>
                  <a:lnTo>
                    <a:pt x="1719" y="35"/>
                  </a:lnTo>
                  <a:lnTo>
                    <a:pt x="1718" y="35"/>
                  </a:lnTo>
                  <a:cubicBezTo>
                    <a:pt x="1717" y="35"/>
                    <a:pt x="1716" y="33"/>
                    <a:pt x="1716" y="32"/>
                  </a:cubicBezTo>
                  <a:cubicBezTo>
                    <a:pt x="1716" y="31"/>
                    <a:pt x="1717" y="30"/>
                    <a:pt x="1719" y="30"/>
                  </a:cubicBezTo>
                  <a:lnTo>
                    <a:pt x="1720" y="30"/>
                  </a:lnTo>
                  <a:lnTo>
                    <a:pt x="1754" y="35"/>
                  </a:lnTo>
                  <a:cubicBezTo>
                    <a:pt x="1755" y="36"/>
                    <a:pt x="1756" y="37"/>
                    <a:pt x="1756" y="38"/>
                  </a:cubicBezTo>
                  <a:cubicBezTo>
                    <a:pt x="1756" y="40"/>
                    <a:pt x="1755" y="41"/>
                    <a:pt x="1753" y="40"/>
                  </a:cubicBezTo>
                  <a:close/>
                  <a:moveTo>
                    <a:pt x="1693" y="32"/>
                  </a:moveTo>
                  <a:lnTo>
                    <a:pt x="1657" y="28"/>
                  </a:lnTo>
                  <a:cubicBezTo>
                    <a:pt x="1655" y="28"/>
                    <a:pt x="1654" y="27"/>
                    <a:pt x="1655" y="25"/>
                  </a:cubicBezTo>
                  <a:cubicBezTo>
                    <a:pt x="1655" y="24"/>
                    <a:pt x="1656" y="23"/>
                    <a:pt x="1657" y="23"/>
                  </a:cubicBezTo>
                  <a:lnTo>
                    <a:pt x="1693" y="27"/>
                  </a:lnTo>
                  <a:cubicBezTo>
                    <a:pt x="1694" y="27"/>
                    <a:pt x="1695" y="28"/>
                    <a:pt x="1695" y="30"/>
                  </a:cubicBezTo>
                  <a:cubicBezTo>
                    <a:pt x="1695" y="31"/>
                    <a:pt x="1694" y="32"/>
                    <a:pt x="1693" y="32"/>
                  </a:cubicBezTo>
                  <a:close/>
                  <a:moveTo>
                    <a:pt x="1631" y="25"/>
                  </a:moveTo>
                  <a:lnTo>
                    <a:pt x="1596" y="21"/>
                  </a:lnTo>
                  <a:cubicBezTo>
                    <a:pt x="1594" y="21"/>
                    <a:pt x="1593" y="20"/>
                    <a:pt x="1594" y="19"/>
                  </a:cubicBezTo>
                  <a:cubicBezTo>
                    <a:pt x="1594" y="17"/>
                    <a:pt x="1595" y="16"/>
                    <a:pt x="1596" y="16"/>
                  </a:cubicBezTo>
                  <a:lnTo>
                    <a:pt x="1632" y="20"/>
                  </a:lnTo>
                  <a:cubicBezTo>
                    <a:pt x="1633" y="20"/>
                    <a:pt x="1634" y="22"/>
                    <a:pt x="1634" y="23"/>
                  </a:cubicBezTo>
                  <a:cubicBezTo>
                    <a:pt x="1634" y="24"/>
                    <a:pt x="1633" y="25"/>
                    <a:pt x="1631" y="25"/>
                  </a:cubicBezTo>
                  <a:close/>
                  <a:moveTo>
                    <a:pt x="1570" y="19"/>
                  </a:moveTo>
                  <a:lnTo>
                    <a:pt x="1535" y="16"/>
                  </a:lnTo>
                  <a:cubicBezTo>
                    <a:pt x="1533" y="16"/>
                    <a:pt x="1532" y="15"/>
                    <a:pt x="1532" y="14"/>
                  </a:cubicBezTo>
                  <a:cubicBezTo>
                    <a:pt x="1532" y="12"/>
                    <a:pt x="1534" y="11"/>
                    <a:pt x="1535" y="11"/>
                  </a:cubicBezTo>
                  <a:lnTo>
                    <a:pt x="1571" y="14"/>
                  </a:lnTo>
                  <a:cubicBezTo>
                    <a:pt x="1572" y="14"/>
                    <a:pt x="1573" y="15"/>
                    <a:pt x="1573" y="16"/>
                  </a:cubicBezTo>
                  <a:cubicBezTo>
                    <a:pt x="1573" y="18"/>
                    <a:pt x="1572" y="19"/>
                    <a:pt x="1570" y="19"/>
                  </a:cubicBezTo>
                  <a:close/>
                  <a:moveTo>
                    <a:pt x="1509" y="15"/>
                  </a:moveTo>
                  <a:lnTo>
                    <a:pt x="1473" y="12"/>
                  </a:lnTo>
                  <a:cubicBezTo>
                    <a:pt x="1472" y="12"/>
                    <a:pt x="1471" y="11"/>
                    <a:pt x="1471" y="9"/>
                  </a:cubicBezTo>
                  <a:cubicBezTo>
                    <a:pt x="1471" y="8"/>
                    <a:pt x="1472" y="7"/>
                    <a:pt x="1474" y="7"/>
                  </a:cubicBezTo>
                  <a:lnTo>
                    <a:pt x="1510" y="9"/>
                  </a:lnTo>
                  <a:cubicBezTo>
                    <a:pt x="1511" y="10"/>
                    <a:pt x="1512" y="11"/>
                    <a:pt x="1512" y="12"/>
                  </a:cubicBezTo>
                  <a:cubicBezTo>
                    <a:pt x="1512" y="14"/>
                    <a:pt x="1511" y="15"/>
                    <a:pt x="1509" y="15"/>
                  </a:cubicBezTo>
                  <a:close/>
                  <a:moveTo>
                    <a:pt x="1448" y="10"/>
                  </a:moveTo>
                  <a:lnTo>
                    <a:pt x="1429" y="9"/>
                  </a:lnTo>
                  <a:lnTo>
                    <a:pt x="1412" y="9"/>
                  </a:lnTo>
                  <a:cubicBezTo>
                    <a:pt x="1411" y="9"/>
                    <a:pt x="1410" y="7"/>
                    <a:pt x="1410" y="6"/>
                  </a:cubicBezTo>
                  <a:cubicBezTo>
                    <a:pt x="1410" y="5"/>
                    <a:pt x="1411" y="3"/>
                    <a:pt x="1412" y="3"/>
                  </a:cubicBezTo>
                  <a:lnTo>
                    <a:pt x="1430" y="4"/>
                  </a:lnTo>
                  <a:lnTo>
                    <a:pt x="1448" y="5"/>
                  </a:lnTo>
                  <a:cubicBezTo>
                    <a:pt x="1450" y="5"/>
                    <a:pt x="1451" y="7"/>
                    <a:pt x="1451" y="8"/>
                  </a:cubicBezTo>
                  <a:cubicBezTo>
                    <a:pt x="1451" y="9"/>
                    <a:pt x="1449" y="10"/>
                    <a:pt x="1448" y="10"/>
                  </a:cubicBezTo>
                  <a:close/>
                  <a:moveTo>
                    <a:pt x="1387" y="8"/>
                  </a:moveTo>
                  <a:lnTo>
                    <a:pt x="1351" y="7"/>
                  </a:lnTo>
                  <a:cubicBezTo>
                    <a:pt x="1349" y="7"/>
                    <a:pt x="1348" y="6"/>
                    <a:pt x="1348" y="4"/>
                  </a:cubicBezTo>
                  <a:cubicBezTo>
                    <a:pt x="1348" y="3"/>
                    <a:pt x="1350" y="2"/>
                    <a:pt x="1351" y="2"/>
                  </a:cubicBezTo>
                  <a:lnTo>
                    <a:pt x="1387" y="3"/>
                  </a:lnTo>
                  <a:cubicBezTo>
                    <a:pt x="1388" y="3"/>
                    <a:pt x="1389" y="4"/>
                    <a:pt x="1389" y="5"/>
                  </a:cubicBezTo>
                  <a:cubicBezTo>
                    <a:pt x="1389" y="7"/>
                    <a:pt x="1388" y="8"/>
                    <a:pt x="1387" y="8"/>
                  </a:cubicBezTo>
                  <a:close/>
                  <a:moveTo>
                    <a:pt x="1325" y="6"/>
                  </a:moveTo>
                  <a:lnTo>
                    <a:pt x="1289" y="5"/>
                  </a:lnTo>
                  <a:cubicBezTo>
                    <a:pt x="1288" y="5"/>
                    <a:pt x="1287" y="4"/>
                    <a:pt x="1287" y="3"/>
                  </a:cubicBezTo>
                  <a:cubicBezTo>
                    <a:pt x="1287" y="1"/>
                    <a:pt x="1288" y="0"/>
                    <a:pt x="1290" y="0"/>
                  </a:cubicBezTo>
                  <a:lnTo>
                    <a:pt x="1325" y="1"/>
                  </a:lnTo>
                  <a:cubicBezTo>
                    <a:pt x="1327" y="1"/>
                    <a:pt x="1328" y="2"/>
                    <a:pt x="1328" y="4"/>
                  </a:cubicBezTo>
                  <a:cubicBezTo>
                    <a:pt x="1328" y="5"/>
                    <a:pt x="1327" y="6"/>
                    <a:pt x="1325" y="6"/>
                  </a:cubicBezTo>
                  <a:close/>
                  <a:moveTo>
                    <a:pt x="1264" y="5"/>
                  </a:moveTo>
                  <a:lnTo>
                    <a:pt x="1228" y="6"/>
                  </a:lnTo>
                  <a:cubicBezTo>
                    <a:pt x="1227" y="6"/>
                    <a:pt x="1226" y="5"/>
                    <a:pt x="1225" y="4"/>
                  </a:cubicBezTo>
                  <a:cubicBezTo>
                    <a:pt x="1225" y="2"/>
                    <a:pt x="1227" y="1"/>
                    <a:pt x="1228" y="1"/>
                  </a:cubicBezTo>
                  <a:lnTo>
                    <a:pt x="1264" y="0"/>
                  </a:lnTo>
                  <a:cubicBezTo>
                    <a:pt x="1265" y="0"/>
                    <a:pt x="1266" y="1"/>
                    <a:pt x="1266" y="3"/>
                  </a:cubicBezTo>
                  <a:cubicBezTo>
                    <a:pt x="1266" y="4"/>
                    <a:pt x="1265" y="5"/>
                    <a:pt x="1264" y="5"/>
                  </a:cubicBezTo>
                  <a:close/>
                  <a:moveTo>
                    <a:pt x="1203" y="7"/>
                  </a:moveTo>
                  <a:lnTo>
                    <a:pt x="1167" y="7"/>
                  </a:lnTo>
                  <a:cubicBezTo>
                    <a:pt x="1165" y="7"/>
                    <a:pt x="1164" y="6"/>
                    <a:pt x="1164" y="5"/>
                  </a:cubicBezTo>
                  <a:cubicBezTo>
                    <a:pt x="1164" y="4"/>
                    <a:pt x="1165" y="2"/>
                    <a:pt x="1167" y="2"/>
                  </a:cubicBezTo>
                  <a:lnTo>
                    <a:pt x="1202" y="2"/>
                  </a:lnTo>
                  <a:cubicBezTo>
                    <a:pt x="1204" y="2"/>
                    <a:pt x="1205" y="3"/>
                    <a:pt x="1205" y="4"/>
                  </a:cubicBezTo>
                  <a:cubicBezTo>
                    <a:pt x="1205" y="5"/>
                    <a:pt x="1204" y="7"/>
                    <a:pt x="1203" y="7"/>
                  </a:cubicBezTo>
                  <a:close/>
                  <a:moveTo>
                    <a:pt x="1141" y="8"/>
                  </a:moveTo>
                  <a:lnTo>
                    <a:pt x="1138" y="8"/>
                  </a:lnTo>
                  <a:lnTo>
                    <a:pt x="1105" y="10"/>
                  </a:lnTo>
                  <a:cubicBezTo>
                    <a:pt x="1104" y="10"/>
                    <a:pt x="1103" y="9"/>
                    <a:pt x="1103" y="8"/>
                  </a:cubicBezTo>
                  <a:cubicBezTo>
                    <a:pt x="1103" y="6"/>
                    <a:pt x="1104" y="5"/>
                    <a:pt x="1105" y="5"/>
                  </a:cubicBezTo>
                  <a:lnTo>
                    <a:pt x="1137" y="3"/>
                  </a:lnTo>
                  <a:lnTo>
                    <a:pt x="1141" y="3"/>
                  </a:lnTo>
                  <a:cubicBezTo>
                    <a:pt x="1142" y="3"/>
                    <a:pt x="1144" y="4"/>
                    <a:pt x="1144" y="5"/>
                  </a:cubicBezTo>
                  <a:cubicBezTo>
                    <a:pt x="1144" y="7"/>
                    <a:pt x="1143" y="8"/>
                    <a:pt x="1141" y="8"/>
                  </a:cubicBezTo>
                  <a:close/>
                  <a:moveTo>
                    <a:pt x="1080" y="12"/>
                  </a:moveTo>
                  <a:lnTo>
                    <a:pt x="1044" y="14"/>
                  </a:lnTo>
                  <a:cubicBezTo>
                    <a:pt x="1043" y="14"/>
                    <a:pt x="1041" y="13"/>
                    <a:pt x="1041" y="11"/>
                  </a:cubicBezTo>
                  <a:cubicBezTo>
                    <a:pt x="1041" y="10"/>
                    <a:pt x="1042" y="9"/>
                    <a:pt x="1044" y="9"/>
                  </a:cubicBezTo>
                  <a:lnTo>
                    <a:pt x="1080" y="7"/>
                  </a:lnTo>
                  <a:cubicBezTo>
                    <a:pt x="1081" y="6"/>
                    <a:pt x="1082" y="7"/>
                    <a:pt x="1082" y="9"/>
                  </a:cubicBezTo>
                  <a:cubicBezTo>
                    <a:pt x="1082" y="10"/>
                    <a:pt x="1081" y="12"/>
                    <a:pt x="1080" y="12"/>
                  </a:cubicBezTo>
                  <a:close/>
                  <a:moveTo>
                    <a:pt x="1019" y="15"/>
                  </a:moveTo>
                  <a:lnTo>
                    <a:pt x="993" y="17"/>
                  </a:lnTo>
                  <a:lnTo>
                    <a:pt x="983" y="18"/>
                  </a:lnTo>
                  <a:cubicBezTo>
                    <a:pt x="982" y="18"/>
                    <a:pt x="980" y="17"/>
                    <a:pt x="980" y="16"/>
                  </a:cubicBezTo>
                  <a:cubicBezTo>
                    <a:pt x="980" y="14"/>
                    <a:pt x="981" y="13"/>
                    <a:pt x="982" y="13"/>
                  </a:cubicBezTo>
                  <a:lnTo>
                    <a:pt x="992" y="12"/>
                  </a:lnTo>
                  <a:lnTo>
                    <a:pt x="1018" y="10"/>
                  </a:lnTo>
                  <a:cubicBezTo>
                    <a:pt x="1020" y="10"/>
                    <a:pt x="1021" y="11"/>
                    <a:pt x="1021" y="13"/>
                  </a:cubicBezTo>
                  <a:cubicBezTo>
                    <a:pt x="1021" y="14"/>
                    <a:pt x="1020" y="15"/>
                    <a:pt x="1019" y="15"/>
                  </a:cubicBezTo>
                  <a:close/>
                  <a:moveTo>
                    <a:pt x="958" y="21"/>
                  </a:moveTo>
                  <a:lnTo>
                    <a:pt x="922" y="25"/>
                  </a:lnTo>
                  <a:cubicBezTo>
                    <a:pt x="920" y="25"/>
                    <a:pt x="919" y="24"/>
                    <a:pt x="919" y="23"/>
                  </a:cubicBezTo>
                  <a:cubicBezTo>
                    <a:pt x="919" y="21"/>
                    <a:pt x="920" y="20"/>
                    <a:pt x="921" y="20"/>
                  </a:cubicBezTo>
                  <a:lnTo>
                    <a:pt x="957" y="16"/>
                  </a:lnTo>
                  <a:cubicBezTo>
                    <a:pt x="958" y="16"/>
                    <a:pt x="960" y="17"/>
                    <a:pt x="960" y="18"/>
                  </a:cubicBezTo>
                  <a:cubicBezTo>
                    <a:pt x="960" y="20"/>
                    <a:pt x="959" y="21"/>
                    <a:pt x="958" y="21"/>
                  </a:cubicBezTo>
                  <a:close/>
                  <a:moveTo>
                    <a:pt x="896" y="28"/>
                  </a:moveTo>
                  <a:lnTo>
                    <a:pt x="861" y="32"/>
                  </a:lnTo>
                  <a:cubicBezTo>
                    <a:pt x="859" y="32"/>
                    <a:pt x="858" y="31"/>
                    <a:pt x="858" y="29"/>
                  </a:cubicBezTo>
                  <a:cubicBezTo>
                    <a:pt x="858" y="28"/>
                    <a:pt x="859" y="27"/>
                    <a:pt x="860" y="27"/>
                  </a:cubicBezTo>
                  <a:lnTo>
                    <a:pt x="896" y="23"/>
                  </a:lnTo>
                  <a:cubicBezTo>
                    <a:pt x="897" y="22"/>
                    <a:pt x="899" y="23"/>
                    <a:pt x="899" y="25"/>
                  </a:cubicBezTo>
                  <a:cubicBezTo>
                    <a:pt x="899" y="26"/>
                    <a:pt x="898" y="28"/>
                    <a:pt x="896" y="28"/>
                  </a:cubicBezTo>
                  <a:close/>
                  <a:moveTo>
                    <a:pt x="836" y="35"/>
                  </a:moveTo>
                  <a:lnTo>
                    <a:pt x="800" y="40"/>
                  </a:lnTo>
                  <a:cubicBezTo>
                    <a:pt x="799" y="41"/>
                    <a:pt x="797" y="40"/>
                    <a:pt x="797" y="38"/>
                  </a:cubicBezTo>
                  <a:cubicBezTo>
                    <a:pt x="797" y="37"/>
                    <a:pt x="798" y="36"/>
                    <a:pt x="799" y="35"/>
                  </a:cubicBezTo>
                  <a:lnTo>
                    <a:pt x="835" y="30"/>
                  </a:lnTo>
                  <a:cubicBezTo>
                    <a:pt x="836" y="30"/>
                    <a:pt x="838" y="31"/>
                    <a:pt x="838" y="32"/>
                  </a:cubicBezTo>
                  <a:cubicBezTo>
                    <a:pt x="838" y="34"/>
                    <a:pt x="837" y="35"/>
                    <a:pt x="836" y="35"/>
                  </a:cubicBezTo>
                  <a:close/>
                  <a:moveTo>
                    <a:pt x="775" y="44"/>
                  </a:moveTo>
                  <a:lnTo>
                    <a:pt x="739" y="50"/>
                  </a:lnTo>
                  <a:cubicBezTo>
                    <a:pt x="738" y="50"/>
                    <a:pt x="737" y="49"/>
                    <a:pt x="737" y="48"/>
                  </a:cubicBezTo>
                  <a:cubicBezTo>
                    <a:pt x="736" y="46"/>
                    <a:pt x="737" y="45"/>
                    <a:pt x="739" y="45"/>
                  </a:cubicBezTo>
                  <a:lnTo>
                    <a:pt x="774" y="39"/>
                  </a:lnTo>
                  <a:cubicBezTo>
                    <a:pt x="775" y="39"/>
                    <a:pt x="777" y="40"/>
                    <a:pt x="777" y="41"/>
                  </a:cubicBezTo>
                  <a:cubicBezTo>
                    <a:pt x="777" y="43"/>
                    <a:pt x="776" y="44"/>
                    <a:pt x="775" y="44"/>
                  </a:cubicBezTo>
                  <a:close/>
                  <a:moveTo>
                    <a:pt x="714" y="54"/>
                  </a:moveTo>
                  <a:lnTo>
                    <a:pt x="705" y="55"/>
                  </a:lnTo>
                  <a:lnTo>
                    <a:pt x="679" y="60"/>
                  </a:lnTo>
                  <a:cubicBezTo>
                    <a:pt x="678" y="60"/>
                    <a:pt x="676" y="60"/>
                    <a:pt x="676" y="58"/>
                  </a:cubicBezTo>
                  <a:cubicBezTo>
                    <a:pt x="676" y="57"/>
                    <a:pt x="677" y="55"/>
                    <a:pt x="678" y="55"/>
                  </a:cubicBezTo>
                  <a:lnTo>
                    <a:pt x="704" y="50"/>
                  </a:lnTo>
                  <a:lnTo>
                    <a:pt x="713" y="49"/>
                  </a:lnTo>
                  <a:cubicBezTo>
                    <a:pt x="715" y="48"/>
                    <a:pt x="716" y="49"/>
                    <a:pt x="716" y="51"/>
                  </a:cubicBezTo>
                  <a:cubicBezTo>
                    <a:pt x="716" y="52"/>
                    <a:pt x="716" y="53"/>
                    <a:pt x="714" y="54"/>
                  </a:cubicBezTo>
                  <a:close/>
                  <a:moveTo>
                    <a:pt x="654" y="65"/>
                  </a:moveTo>
                  <a:lnTo>
                    <a:pt x="619" y="72"/>
                  </a:lnTo>
                  <a:cubicBezTo>
                    <a:pt x="617" y="73"/>
                    <a:pt x="616" y="72"/>
                    <a:pt x="616" y="70"/>
                  </a:cubicBezTo>
                  <a:cubicBezTo>
                    <a:pt x="616" y="69"/>
                    <a:pt x="616" y="68"/>
                    <a:pt x="618" y="67"/>
                  </a:cubicBezTo>
                  <a:lnTo>
                    <a:pt x="653" y="60"/>
                  </a:lnTo>
                  <a:cubicBezTo>
                    <a:pt x="654" y="60"/>
                    <a:pt x="656" y="61"/>
                    <a:pt x="656" y="62"/>
                  </a:cubicBezTo>
                  <a:cubicBezTo>
                    <a:pt x="656" y="64"/>
                    <a:pt x="655" y="65"/>
                    <a:pt x="654" y="65"/>
                  </a:cubicBezTo>
                  <a:close/>
                  <a:moveTo>
                    <a:pt x="594" y="77"/>
                  </a:moveTo>
                  <a:lnTo>
                    <a:pt x="561" y="84"/>
                  </a:lnTo>
                  <a:lnTo>
                    <a:pt x="559" y="85"/>
                  </a:lnTo>
                  <a:cubicBezTo>
                    <a:pt x="557" y="85"/>
                    <a:pt x="556" y="84"/>
                    <a:pt x="556" y="83"/>
                  </a:cubicBezTo>
                  <a:cubicBezTo>
                    <a:pt x="555" y="81"/>
                    <a:pt x="556" y="80"/>
                    <a:pt x="557" y="80"/>
                  </a:cubicBezTo>
                  <a:lnTo>
                    <a:pt x="560" y="79"/>
                  </a:lnTo>
                  <a:lnTo>
                    <a:pt x="593" y="72"/>
                  </a:lnTo>
                  <a:cubicBezTo>
                    <a:pt x="594" y="72"/>
                    <a:pt x="595" y="73"/>
                    <a:pt x="596" y="74"/>
                  </a:cubicBezTo>
                  <a:cubicBezTo>
                    <a:pt x="596" y="76"/>
                    <a:pt x="595" y="77"/>
                    <a:pt x="594" y="77"/>
                  </a:cubicBezTo>
                  <a:close/>
                  <a:moveTo>
                    <a:pt x="534" y="91"/>
                  </a:moveTo>
                  <a:lnTo>
                    <a:pt x="499" y="99"/>
                  </a:lnTo>
                  <a:cubicBezTo>
                    <a:pt x="498" y="100"/>
                    <a:pt x="496" y="99"/>
                    <a:pt x="496" y="97"/>
                  </a:cubicBezTo>
                  <a:cubicBezTo>
                    <a:pt x="496" y="96"/>
                    <a:pt x="496" y="95"/>
                    <a:pt x="498" y="94"/>
                  </a:cubicBezTo>
                  <a:lnTo>
                    <a:pt x="498" y="94"/>
                  </a:lnTo>
                  <a:lnTo>
                    <a:pt x="533" y="86"/>
                  </a:lnTo>
                  <a:cubicBezTo>
                    <a:pt x="534" y="85"/>
                    <a:pt x="535" y="86"/>
                    <a:pt x="536" y="88"/>
                  </a:cubicBezTo>
                  <a:cubicBezTo>
                    <a:pt x="536" y="89"/>
                    <a:pt x="535" y="90"/>
                    <a:pt x="534" y="91"/>
                  </a:cubicBezTo>
                  <a:close/>
                  <a:moveTo>
                    <a:pt x="474" y="106"/>
                  </a:moveTo>
                  <a:lnTo>
                    <a:pt x="439" y="114"/>
                  </a:lnTo>
                  <a:cubicBezTo>
                    <a:pt x="438" y="114"/>
                    <a:pt x="437" y="114"/>
                    <a:pt x="436" y="112"/>
                  </a:cubicBezTo>
                  <a:cubicBezTo>
                    <a:pt x="436" y="111"/>
                    <a:pt x="437" y="110"/>
                    <a:pt x="438" y="109"/>
                  </a:cubicBezTo>
                  <a:lnTo>
                    <a:pt x="473" y="101"/>
                  </a:lnTo>
                  <a:cubicBezTo>
                    <a:pt x="474" y="100"/>
                    <a:pt x="476" y="101"/>
                    <a:pt x="476" y="102"/>
                  </a:cubicBezTo>
                  <a:cubicBezTo>
                    <a:pt x="476" y="104"/>
                    <a:pt x="476" y="105"/>
                    <a:pt x="474" y="106"/>
                  </a:cubicBezTo>
                  <a:close/>
                  <a:moveTo>
                    <a:pt x="415" y="121"/>
                  </a:moveTo>
                  <a:lnTo>
                    <a:pt x="380" y="131"/>
                  </a:lnTo>
                  <a:cubicBezTo>
                    <a:pt x="379" y="131"/>
                    <a:pt x="378" y="130"/>
                    <a:pt x="377" y="129"/>
                  </a:cubicBezTo>
                  <a:cubicBezTo>
                    <a:pt x="377" y="128"/>
                    <a:pt x="378" y="126"/>
                    <a:pt x="379" y="126"/>
                  </a:cubicBezTo>
                  <a:lnTo>
                    <a:pt x="413" y="116"/>
                  </a:lnTo>
                  <a:cubicBezTo>
                    <a:pt x="415" y="115"/>
                    <a:pt x="416" y="116"/>
                    <a:pt x="417" y="117"/>
                  </a:cubicBezTo>
                  <a:cubicBezTo>
                    <a:pt x="417" y="119"/>
                    <a:pt x="416" y="120"/>
                    <a:pt x="415" y="121"/>
                  </a:cubicBezTo>
                  <a:close/>
                  <a:moveTo>
                    <a:pt x="356" y="138"/>
                  </a:moveTo>
                  <a:lnTo>
                    <a:pt x="322" y="148"/>
                  </a:lnTo>
                  <a:cubicBezTo>
                    <a:pt x="320" y="149"/>
                    <a:pt x="319" y="148"/>
                    <a:pt x="318" y="147"/>
                  </a:cubicBezTo>
                  <a:cubicBezTo>
                    <a:pt x="318" y="145"/>
                    <a:pt x="319" y="144"/>
                    <a:pt x="320" y="143"/>
                  </a:cubicBezTo>
                  <a:lnTo>
                    <a:pt x="354" y="133"/>
                  </a:lnTo>
                  <a:cubicBezTo>
                    <a:pt x="356" y="133"/>
                    <a:pt x="357" y="134"/>
                    <a:pt x="358" y="135"/>
                  </a:cubicBezTo>
                  <a:cubicBezTo>
                    <a:pt x="358" y="136"/>
                    <a:pt x="357" y="138"/>
                    <a:pt x="356" y="138"/>
                  </a:cubicBezTo>
                  <a:close/>
                  <a:moveTo>
                    <a:pt x="297" y="156"/>
                  </a:moveTo>
                  <a:lnTo>
                    <a:pt x="279" y="161"/>
                  </a:lnTo>
                  <a:lnTo>
                    <a:pt x="263" y="167"/>
                  </a:lnTo>
                  <a:cubicBezTo>
                    <a:pt x="262" y="167"/>
                    <a:pt x="260" y="166"/>
                    <a:pt x="260" y="165"/>
                  </a:cubicBezTo>
                  <a:cubicBezTo>
                    <a:pt x="259" y="164"/>
                    <a:pt x="260" y="162"/>
                    <a:pt x="261" y="162"/>
                  </a:cubicBezTo>
                  <a:lnTo>
                    <a:pt x="278" y="156"/>
                  </a:lnTo>
                  <a:lnTo>
                    <a:pt x="296" y="151"/>
                  </a:lnTo>
                  <a:cubicBezTo>
                    <a:pt x="297" y="150"/>
                    <a:pt x="298" y="151"/>
                    <a:pt x="299" y="152"/>
                  </a:cubicBezTo>
                  <a:cubicBezTo>
                    <a:pt x="299" y="154"/>
                    <a:pt x="298" y="155"/>
                    <a:pt x="297" y="156"/>
                  </a:cubicBezTo>
                  <a:close/>
                  <a:moveTo>
                    <a:pt x="239" y="175"/>
                  </a:moveTo>
                  <a:lnTo>
                    <a:pt x="205" y="187"/>
                  </a:lnTo>
                  <a:cubicBezTo>
                    <a:pt x="204" y="187"/>
                    <a:pt x="202" y="186"/>
                    <a:pt x="202" y="185"/>
                  </a:cubicBezTo>
                  <a:cubicBezTo>
                    <a:pt x="201" y="184"/>
                    <a:pt x="202" y="182"/>
                    <a:pt x="203" y="182"/>
                  </a:cubicBezTo>
                  <a:lnTo>
                    <a:pt x="237" y="170"/>
                  </a:lnTo>
                  <a:cubicBezTo>
                    <a:pt x="239" y="170"/>
                    <a:pt x="240" y="170"/>
                    <a:pt x="240" y="172"/>
                  </a:cubicBezTo>
                  <a:cubicBezTo>
                    <a:pt x="241" y="173"/>
                    <a:pt x="240" y="174"/>
                    <a:pt x="239" y="175"/>
                  </a:cubicBezTo>
                  <a:close/>
                  <a:moveTo>
                    <a:pt x="181" y="195"/>
                  </a:moveTo>
                  <a:lnTo>
                    <a:pt x="147" y="207"/>
                  </a:lnTo>
                  <a:cubicBezTo>
                    <a:pt x="146" y="207"/>
                    <a:pt x="144" y="206"/>
                    <a:pt x="144" y="205"/>
                  </a:cubicBezTo>
                  <a:cubicBezTo>
                    <a:pt x="143" y="204"/>
                    <a:pt x="144" y="202"/>
                    <a:pt x="145" y="202"/>
                  </a:cubicBezTo>
                  <a:lnTo>
                    <a:pt x="179" y="190"/>
                  </a:lnTo>
                  <a:cubicBezTo>
                    <a:pt x="180" y="190"/>
                    <a:pt x="182" y="190"/>
                    <a:pt x="182" y="192"/>
                  </a:cubicBezTo>
                  <a:cubicBezTo>
                    <a:pt x="183" y="193"/>
                    <a:pt x="182" y="194"/>
                    <a:pt x="181" y="195"/>
                  </a:cubicBezTo>
                  <a:close/>
                  <a:moveTo>
                    <a:pt x="123" y="216"/>
                  </a:moveTo>
                  <a:lnTo>
                    <a:pt x="90" y="229"/>
                  </a:lnTo>
                  <a:cubicBezTo>
                    <a:pt x="88" y="229"/>
                    <a:pt x="87" y="229"/>
                    <a:pt x="86" y="227"/>
                  </a:cubicBezTo>
                  <a:cubicBezTo>
                    <a:pt x="86" y="226"/>
                    <a:pt x="87" y="225"/>
                    <a:pt x="88" y="224"/>
                  </a:cubicBezTo>
                  <a:lnTo>
                    <a:pt x="121" y="211"/>
                  </a:lnTo>
                  <a:cubicBezTo>
                    <a:pt x="123" y="210"/>
                    <a:pt x="124" y="211"/>
                    <a:pt x="125" y="212"/>
                  </a:cubicBezTo>
                  <a:cubicBezTo>
                    <a:pt x="125" y="214"/>
                    <a:pt x="124" y="215"/>
                    <a:pt x="123" y="216"/>
                  </a:cubicBezTo>
                  <a:close/>
                  <a:moveTo>
                    <a:pt x="66" y="238"/>
                  </a:moveTo>
                  <a:lnTo>
                    <a:pt x="33" y="251"/>
                  </a:lnTo>
                  <a:cubicBezTo>
                    <a:pt x="31" y="252"/>
                    <a:pt x="30" y="251"/>
                    <a:pt x="29" y="250"/>
                  </a:cubicBezTo>
                  <a:cubicBezTo>
                    <a:pt x="29" y="249"/>
                    <a:pt x="29" y="247"/>
                    <a:pt x="31" y="247"/>
                  </a:cubicBezTo>
                  <a:lnTo>
                    <a:pt x="64" y="233"/>
                  </a:lnTo>
                  <a:cubicBezTo>
                    <a:pt x="65" y="233"/>
                    <a:pt x="67" y="234"/>
                    <a:pt x="67" y="235"/>
                  </a:cubicBezTo>
                  <a:cubicBezTo>
                    <a:pt x="68" y="236"/>
                    <a:pt x="67" y="238"/>
                    <a:pt x="66" y="238"/>
                  </a:cubicBezTo>
                  <a:close/>
                  <a:moveTo>
                    <a:pt x="9" y="261"/>
                  </a:moveTo>
                  <a:lnTo>
                    <a:pt x="3" y="263"/>
                  </a:lnTo>
                  <a:cubicBezTo>
                    <a:pt x="2" y="263"/>
                    <a:pt x="1" y="263"/>
                    <a:pt x="0" y="261"/>
                  </a:cubicBezTo>
                  <a:cubicBezTo>
                    <a:pt x="0" y="260"/>
                    <a:pt x="0" y="259"/>
                    <a:pt x="2" y="258"/>
                  </a:cubicBezTo>
                  <a:lnTo>
                    <a:pt x="7" y="256"/>
                  </a:lnTo>
                  <a:cubicBezTo>
                    <a:pt x="8" y="255"/>
                    <a:pt x="10" y="256"/>
                    <a:pt x="10" y="257"/>
                  </a:cubicBezTo>
                  <a:cubicBezTo>
                    <a:pt x="11" y="259"/>
                    <a:pt x="10" y="260"/>
                    <a:pt x="9" y="261"/>
                  </a:cubicBezTo>
                  <a:close/>
                </a:path>
              </a:pathLst>
            </a:custGeom>
            <a:solidFill>
              <a:srgbClr val="0000CC"/>
            </a:solidFill>
            <a:ln w="0" cap="flat">
              <a:solidFill>
                <a:srgbClr val="0000C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32" name="Freeform 156">
              <a:extLst>
                <a:ext uri="{FF2B5EF4-FFF2-40B4-BE49-F238E27FC236}">
                  <a16:creationId xmlns:a16="http://schemas.microsoft.com/office/drawing/2014/main" id="{AF939A21-2E4F-453E-96D9-12F3EDEE0475}"/>
                </a:ext>
              </a:extLst>
            </p:cNvPr>
            <p:cNvSpPr>
              <a:spLocks/>
            </p:cNvSpPr>
            <p:nvPr/>
          </p:nvSpPr>
          <p:spPr bwMode="auto">
            <a:xfrm>
              <a:off x="4891" y="3491"/>
              <a:ext cx="59" cy="49"/>
            </a:xfrm>
            <a:custGeom>
              <a:avLst/>
              <a:gdLst>
                <a:gd name="T0" fmla="*/ 59 w 59"/>
                <a:gd name="T1" fmla="*/ 49 h 49"/>
                <a:gd name="T2" fmla="*/ 0 w 59"/>
                <a:gd name="T3" fmla="*/ 46 h 49"/>
                <a:gd name="T4" fmla="*/ 38 w 59"/>
                <a:gd name="T5" fmla="*/ 0 h 49"/>
                <a:gd name="T6" fmla="*/ 59 w 59"/>
                <a:gd name="T7" fmla="*/ 49 h 49"/>
              </a:gdLst>
              <a:ahLst/>
              <a:cxnLst>
                <a:cxn ang="0">
                  <a:pos x="T0" y="T1"/>
                </a:cxn>
                <a:cxn ang="0">
                  <a:pos x="T2" y="T3"/>
                </a:cxn>
                <a:cxn ang="0">
                  <a:pos x="T4" y="T5"/>
                </a:cxn>
                <a:cxn ang="0">
                  <a:pos x="T6" y="T7"/>
                </a:cxn>
              </a:cxnLst>
              <a:rect l="0" t="0" r="r" b="b"/>
              <a:pathLst>
                <a:path w="59" h="49">
                  <a:moveTo>
                    <a:pt x="59" y="49"/>
                  </a:moveTo>
                  <a:lnTo>
                    <a:pt x="0" y="46"/>
                  </a:lnTo>
                  <a:lnTo>
                    <a:pt x="38" y="0"/>
                  </a:lnTo>
                  <a:lnTo>
                    <a:pt x="59" y="49"/>
                  </a:lnTo>
                  <a:close/>
                </a:path>
              </a:pathLst>
            </a:custGeom>
            <a:solidFill>
              <a:srgbClr val="000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37" name="Rectangle 157">
              <a:extLst>
                <a:ext uri="{FF2B5EF4-FFF2-40B4-BE49-F238E27FC236}">
                  <a16:creationId xmlns:a16="http://schemas.microsoft.com/office/drawing/2014/main" id="{81E87FB2-8AD3-4C5F-884C-F8BE085D6AC6}"/>
                </a:ext>
              </a:extLst>
            </p:cNvPr>
            <p:cNvSpPr>
              <a:spLocks noChangeArrowheads="1"/>
            </p:cNvSpPr>
            <p:nvPr/>
          </p:nvSpPr>
          <p:spPr bwMode="auto">
            <a:xfrm>
              <a:off x="5088" y="3371"/>
              <a:ext cx="649" cy="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40" name="Freeform 158">
              <a:extLst>
                <a:ext uri="{FF2B5EF4-FFF2-40B4-BE49-F238E27FC236}">
                  <a16:creationId xmlns:a16="http://schemas.microsoft.com/office/drawing/2014/main" id="{D8608A2B-C983-4289-A64B-01C54BED7CA3}"/>
                </a:ext>
              </a:extLst>
            </p:cNvPr>
            <p:cNvSpPr>
              <a:spLocks noEditPoints="1"/>
            </p:cNvSpPr>
            <p:nvPr/>
          </p:nvSpPr>
          <p:spPr bwMode="auto">
            <a:xfrm>
              <a:off x="5092" y="3383"/>
              <a:ext cx="643" cy="40"/>
            </a:xfrm>
            <a:custGeom>
              <a:avLst/>
              <a:gdLst>
                <a:gd name="T0" fmla="*/ 6 w 1436"/>
                <a:gd name="T1" fmla="*/ 87 h 88"/>
                <a:gd name="T2" fmla="*/ 48 w 1436"/>
                <a:gd name="T3" fmla="*/ 8 h 88"/>
                <a:gd name="T4" fmla="*/ 113 w 1436"/>
                <a:gd name="T5" fmla="*/ 85 h 88"/>
                <a:gd name="T6" fmla="*/ 104 w 1436"/>
                <a:gd name="T7" fmla="*/ 35 h 88"/>
                <a:gd name="T8" fmla="*/ 110 w 1436"/>
                <a:gd name="T9" fmla="*/ 28 h 88"/>
                <a:gd name="T10" fmla="*/ 192 w 1436"/>
                <a:gd name="T11" fmla="*/ 85 h 88"/>
                <a:gd name="T12" fmla="*/ 153 w 1436"/>
                <a:gd name="T13" fmla="*/ 85 h 88"/>
                <a:gd name="T14" fmla="*/ 152 w 1436"/>
                <a:gd name="T15" fmla="*/ 28 h 88"/>
                <a:gd name="T16" fmla="*/ 247 w 1436"/>
                <a:gd name="T17" fmla="*/ 87 h 88"/>
                <a:gd name="T18" fmla="*/ 245 w 1436"/>
                <a:gd name="T19" fmla="*/ 2 h 88"/>
                <a:gd name="T20" fmla="*/ 214 w 1436"/>
                <a:gd name="T21" fmla="*/ 57 h 88"/>
                <a:gd name="T22" fmla="*/ 272 w 1436"/>
                <a:gd name="T23" fmla="*/ 87 h 88"/>
                <a:gd name="T24" fmla="*/ 310 w 1436"/>
                <a:gd name="T25" fmla="*/ 59 h 88"/>
                <a:gd name="T26" fmla="*/ 348 w 1436"/>
                <a:gd name="T27" fmla="*/ 83 h 88"/>
                <a:gd name="T28" fmla="*/ 351 w 1436"/>
                <a:gd name="T29" fmla="*/ 53 h 88"/>
                <a:gd name="T30" fmla="*/ 408 w 1436"/>
                <a:gd name="T31" fmla="*/ 80 h 88"/>
                <a:gd name="T32" fmla="*/ 431 w 1436"/>
                <a:gd name="T33" fmla="*/ 79 h 88"/>
                <a:gd name="T34" fmla="*/ 513 w 1436"/>
                <a:gd name="T35" fmla="*/ 78 h 88"/>
                <a:gd name="T36" fmla="*/ 486 w 1436"/>
                <a:gd name="T37" fmla="*/ 79 h 88"/>
                <a:gd name="T38" fmla="*/ 487 w 1436"/>
                <a:gd name="T39" fmla="*/ 28 h 88"/>
                <a:gd name="T40" fmla="*/ 502 w 1436"/>
                <a:gd name="T41" fmla="*/ 35 h 88"/>
                <a:gd name="T42" fmla="*/ 571 w 1436"/>
                <a:gd name="T43" fmla="*/ 59 h 88"/>
                <a:gd name="T44" fmla="*/ 572 w 1436"/>
                <a:gd name="T45" fmla="*/ 83 h 88"/>
                <a:gd name="T46" fmla="*/ 574 w 1436"/>
                <a:gd name="T47" fmla="*/ 43 h 88"/>
                <a:gd name="T48" fmla="*/ 621 w 1436"/>
                <a:gd name="T49" fmla="*/ 37 h 88"/>
                <a:gd name="T50" fmla="*/ 591 w 1436"/>
                <a:gd name="T51" fmla="*/ 85 h 88"/>
                <a:gd name="T52" fmla="*/ 620 w 1436"/>
                <a:gd name="T53" fmla="*/ 27 h 88"/>
                <a:gd name="T54" fmla="*/ 688 w 1436"/>
                <a:gd name="T55" fmla="*/ 85 h 88"/>
                <a:gd name="T56" fmla="*/ 726 w 1436"/>
                <a:gd name="T57" fmla="*/ 20 h 88"/>
                <a:gd name="T58" fmla="*/ 712 w 1436"/>
                <a:gd name="T59" fmla="*/ 77 h 88"/>
                <a:gd name="T60" fmla="*/ 773 w 1436"/>
                <a:gd name="T61" fmla="*/ 85 h 88"/>
                <a:gd name="T62" fmla="*/ 735 w 1436"/>
                <a:gd name="T63" fmla="*/ 85 h 88"/>
                <a:gd name="T64" fmla="*/ 784 w 1436"/>
                <a:gd name="T65" fmla="*/ 51 h 88"/>
                <a:gd name="T66" fmla="*/ 845 w 1436"/>
                <a:gd name="T67" fmla="*/ 78 h 88"/>
                <a:gd name="T68" fmla="*/ 811 w 1436"/>
                <a:gd name="T69" fmla="*/ 28 h 88"/>
                <a:gd name="T70" fmla="*/ 903 w 1436"/>
                <a:gd name="T71" fmla="*/ 79 h 88"/>
                <a:gd name="T72" fmla="*/ 891 w 1436"/>
                <a:gd name="T73" fmla="*/ 27 h 88"/>
                <a:gd name="T74" fmla="*/ 871 w 1436"/>
                <a:gd name="T75" fmla="*/ 67 h 88"/>
                <a:gd name="T76" fmla="*/ 968 w 1436"/>
                <a:gd name="T77" fmla="*/ 87 h 88"/>
                <a:gd name="T78" fmla="*/ 927 w 1436"/>
                <a:gd name="T79" fmla="*/ 1 h 88"/>
                <a:gd name="T80" fmla="*/ 971 w 1436"/>
                <a:gd name="T81" fmla="*/ 28 h 88"/>
                <a:gd name="T82" fmla="*/ 971 w 1436"/>
                <a:gd name="T83" fmla="*/ 58 h 88"/>
                <a:gd name="T84" fmla="*/ 983 w 1436"/>
                <a:gd name="T85" fmla="*/ 48 h 88"/>
                <a:gd name="T86" fmla="*/ 1079 w 1436"/>
                <a:gd name="T87" fmla="*/ 87 h 88"/>
                <a:gd name="T88" fmla="*/ 1048 w 1436"/>
                <a:gd name="T89" fmla="*/ 28 h 88"/>
                <a:gd name="T90" fmla="*/ 1086 w 1436"/>
                <a:gd name="T91" fmla="*/ 28 h 88"/>
                <a:gd name="T92" fmla="*/ 1114 w 1436"/>
                <a:gd name="T93" fmla="*/ 36 h 88"/>
                <a:gd name="T94" fmla="*/ 1132 w 1436"/>
                <a:gd name="T95" fmla="*/ 14 h 88"/>
                <a:gd name="T96" fmla="*/ 1147 w 1436"/>
                <a:gd name="T97" fmla="*/ 77 h 88"/>
                <a:gd name="T98" fmla="*/ 1195 w 1436"/>
                <a:gd name="T99" fmla="*/ 6 h 88"/>
                <a:gd name="T100" fmla="*/ 1192 w 1436"/>
                <a:gd name="T101" fmla="*/ 47 h 88"/>
                <a:gd name="T102" fmla="*/ 1242 w 1436"/>
                <a:gd name="T103" fmla="*/ 85 h 88"/>
                <a:gd name="T104" fmla="*/ 1213 w 1436"/>
                <a:gd name="T105" fmla="*/ 27 h 88"/>
                <a:gd name="T106" fmla="*/ 1261 w 1436"/>
                <a:gd name="T107" fmla="*/ 29 h 88"/>
                <a:gd name="T108" fmla="*/ 1325 w 1436"/>
                <a:gd name="T109" fmla="*/ 79 h 88"/>
                <a:gd name="T110" fmla="*/ 1302 w 1436"/>
                <a:gd name="T111" fmla="*/ 26 h 88"/>
                <a:gd name="T112" fmla="*/ 1390 w 1436"/>
                <a:gd name="T113" fmla="*/ 87 h 88"/>
                <a:gd name="T114" fmla="*/ 1352 w 1436"/>
                <a:gd name="T115" fmla="*/ 87 h 88"/>
                <a:gd name="T116" fmla="*/ 1352 w 1436"/>
                <a:gd name="T117" fmla="*/ 36 h 88"/>
                <a:gd name="T118" fmla="*/ 1413 w 1436"/>
                <a:gd name="T119" fmla="*/ 83 h 88"/>
                <a:gd name="T120" fmla="*/ 1415 w 1436"/>
                <a:gd name="T121" fmla="*/ 12 h 88"/>
                <a:gd name="T122" fmla="*/ 1428 w 1436"/>
                <a:gd name="T123" fmla="*/ 7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6" h="88">
                  <a:moveTo>
                    <a:pt x="59" y="85"/>
                  </a:moveTo>
                  <a:cubicBezTo>
                    <a:pt x="59" y="86"/>
                    <a:pt x="58" y="86"/>
                    <a:pt x="58" y="86"/>
                  </a:cubicBezTo>
                  <a:cubicBezTo>
                    <a:pt x="58" y="86"/>
                    <a:pt x="58" y="87"/>
                    <a:pt x="57" y="87"/>
                  </a:cubicBezTo>
                  <a:cubicBezTo>
                    <a:pt x="57" y="87"/>
                    <a:pt x="56" y="87"/>
                    <a:pt x="56" y="87"/>
                  </a:cubicBezTo>
                  <a:cubicBezTo>
                    <a:pt x="55" y="87"/>
                    <a:pt x="54" y="87"/>
                    <a:pt x="53" y="87"/>
                  </a:cubicBezTo>
                  <a:cubicBezTo>
                    <a:pt x="52" y="87"/>
                    <a:pt x="51" y="87"/>
                    <a:pt x="51" y="87"/>
                  </a:cubicBezTo>
                  <a:cubicBezTo>
                    <a:pt x="50" y="87"/>
                    <a:pt x="49" y="87"/>
                    <a:pt x="49" y="87"/>
                  </a:cubicBezTo>
                  <a:cubicBezTo>
                    <a:pt x="49" y="87"/>
                    <a:pt x="48" y="86"/>
                    <a:pt x="48" y="86"/>
                  </a:cubicBezTo>
                  <a:cubicBezTo>
                    <a:pt x="48" y="86"/>
                    <a:pt x="48" y="86"/>
                    <a:pt x="48" y="85"/>
                  </a:cubicBezTo>
                  <a:lnTo>
                    <a:pt x="48" y="49"/>
                  </a:lnTo>
                  <a:lnTo>
                    <a:pt x="11" y="49"/>
                  </a:lnTo>
                  <a:lnTo>
                    <a:pt x="11" y="85"/>
                  </a:lnTo>
                  <a:cubicBezTo>
                    <a:pt x="11" y="86"/>
                    <a:pt x="11" y="86"/>
                    <a:pt x="11" y="86"/>
                  </a:cubicBezTo>
                  <a:cubicBezTo>
                    <a:pt x="11" y="86"/>
                    <a:pt x="10" y="87"/>
                    <a:pt x="10" y="87"/>
                  </a:cubicBezTo>
                  <a:cubicBezTo>
                    <a:pt x="9" y="87"/>
                    <a:pt x="9" y="87"/>
                    <a:pt x="8" y="87"/>
                  </a:cubicBezTo>
                  <a:cubicBezTo>
                    <a:pt x="8" y="87"/>
                    <a:pt x="7" y="87"/>
                    <a:pt x="6" y="87"/>
                  </a:cubicBezTo>
                  <a:cubicBezTo>
                    <a:pt x="5" y="87"/>
                    <a:pt x="4" y="87"/>
                    <a:pt x="3" y="87"/>
                  </a:cubicBezTo>
                  <a:cubicBezTo>
                    <a:pt x="2" y="87"/>
                    <a:pt x="2" y="87"/>
                    <a:pt x="1" y="87"/>
                  </a:cubicBezTo>
                  <a:cubicBezTo>
                    <a:pt x="1" y="87"/>
                    <a:pt x="1" y="86"/>
                    <a:pt x="1" y="86"/>
                  </a:cubicBezTo>
                  <a:cubicBezTo>
                    <a:pt x="0" y="86"/>
                    <a:pt x="0" y="86"/>
                    <a:pt x="0" y="85"/>
                  </a:cubicBezTo>
                  <a:lnTo>
                    <a:pt x="0" y="8"/>
                  </a:lnTo>
                  <a:cubicBezTo>
                    <a:pt x="0" y="7"/>
                    <a:pt x="0" y="7"/>
                    <a:pt x="1" y="7"/>
                  </a:cubicBezTo>
                  <a:cubicBezTo>
                    <a:pt x="1" y="6"/>
                    <a:pt x="1" y="6"/>
                    <a:pt x="1" y="6"/>
                  </a:cubicBezTo>
                  <a:cubicBezTo>
                    <a:pt x="2" y="6"/>
                    <a:pt x="2" y="6"/>
                    <a:pt x="3" y="6"/>
                  </a:cubicBezTo>
                  <a:cubicBezTo>
                    <a:pt x="4" y="6"/>
                    <a:pt x="5" y="6"/>
                    <a:pt x="6" y="6"/>
                  </a:cubicBezTo>
                  <a:cubicBezTo>
                    <a:pt x="7" y="6"/>
                    <a:pt x="8" y="6"/>
                    <a:pt x="8" y="6"/>
                  </a:cubicBezTo>
                  <a:cubicBezTo>
                    <a:pt x="9" y="6"/>
                    <a:pt x="9" y="6"/>
                    <a:pt x="10" y="6"/>
                  </a:cubicBezTo>
                  <a:cubicBezTo>
                    <a:pt x="10" y="6"/>
                    <a:pt x="11" y="6"/>
                    <a:pt x="11" y="7"/>
                  </a:cubicBezTo>
                  <a:cubicBezTo>
                    <a:pt x="11" y="7"/>
                    <a:pt x="11" y="7"/>
                    <a:pt x="11" y="8"/>
                  </a:cubicBezTo>
                  <a:lnTo>
                    <a:pt x="11" y="40"/>
                  </a:lnTo>
                  <a:lnTo>
                    <a:pt x="48" y="40"/>
                  </a:lnTo>
                  <a:lnTo>
                    <a:pt x="48" y="8"/>
                  </a:lnTo>
                  <a:cubicBezTo>
                    <a:pt x="48" y="7"/>
                    <a:pt x="48" y="7"/>
                    <a:pt x="48" y="7"/>
                  </a:cubicBezTo>
                  <a:cubicBezTo>
                    <a:pt x="48" y="6"/>
                    <a:pt x="49" y="6"/>
                    <a:pt x="49" y="6"/>
                  </a:cubicBezTo>
                  <a:cubicBezTo>
                    <a:pt x="49" y="6"/>
                    <a:pt x="50" y="6"/>
                    <a:pt x="51" y="6"/>
                  </a:cubicBezTo>
                  <a:cubicBezTo>
                    <a:pt x="51" y="6"/>
                    <a:pt x="52" y="6"/>
                    <a:pt x="53" y="6"/>
                  </a:cubicBezTo>
                  <a:cubicBezTo>
                    <a:pt x="54" y="6"/>
                    <a:pt x="55" y="6"/>
                    <a:pt x="56" y="6"/>
                  </a:cubicBezTo>
                  <a:cubicBezTo>
                    <a:pt x="56" y="6"/>
                    <a:pt x="57" y="6"/>
                    <a:pt x="57" y="6"/>
                  </a:cubicBezTo>
                  <a:cubicBezTo>
                    <a:pt x="58" y="6"/>
                    <a:pt x="58" y="6"/>
                    <a:pt x="58" y="7"/>
                  </a:cubicBezTo>
                  <a:cubicBezTo>
                    <a:pt x="58" y="7"/>
                    <a:pt x="59" y="7"/>
                    <a:pt x="59" y="8"/>
                  </a:cubicBezTo>
                  <a:lnTo>
                    <a:pt x="59" y="85"/>
                  </a:lnTo>
                  <a:close/>
                  <a:moveTo>
                    <a:pt x="121" y="85"/>
                  </a:moveTo>
                  <a:cubicBezTo>
                    <a:pt x="121" y="86"/>
                    <a:pt x="121" y="86"/>
                    <a:pt x="121" y="86"/>
                  </a:cubicBezTo>
                  <a:cubicBezTo>
                    <a:pt x="121" y="87"/>
                    <a:pt x="120" y="87"/>
                    <a:pt x="120" y="87"/>
                  </a:cubicBezTo>
                  <a:cubicBezTo>
                    <a:pt x="119" y="87"/>
                    <a:pt x="118" y="87"/>
                    <a:pt x="117" y="87"/>
                  </a:cubicBezTo>
                  <a:cubicBezTo>
                    <a:pt x="116" y="87"/>
                    <a:pt x="115" y="87"/>
                    <a:pt x="114" y="87"/>
                  </a:cubicBezTo>
                  <a:cubicBezTo>
                    <a:pt x="114" y="87"/>
                    <a:pt x="113" y="87"/>
                    <a:pt x="113" y="86"/>
                  </a:cubicBezTo>
                  <a:cubicBezTo>
                    <a:pt x="113" y="86"/>
                    <a:pt x="113" y="86"/>
                    <a:pt x="113" y="85"/>
                  </a:cubicBezTo>
                  <a:lnTo>
                    <a:pt x="113" y="80"/>
                  </a:lnTo>
                  <a:cubicBezTo>
                    <a:pt x="110" y="82"/>
                    <a:pt x="107" y="84"/>
                    <a:pt x="104" y="86"/>
                  </a:cubicBezTo>
                  <a:cubicBezTo>
                    <a:pt x="101" y="87"/>
                    <a:pt x="98" y="88"/>
                    <a:pt x="95" y="88"/>
                  </a:cubicBezTo>
                  <a:cubicBezTo>
                    <a:pt x="92" y="88"/>
                    <a:pt x="89" y="88"/>
                    <a:pt x="87" y="87"/>
                  </a:cubicBezTo>
                  <a:cubicBezTo>
                    <a:pt x="84" y="86"/>
                    <a:pt x="82" y="85"/>
                    <a:pt x="81" y="84"/>
                  </a:cubicBezTo>
                  <a:cubicBezTo>
                    <a:pt x="79" y="82"/>
                    <a:pt x="78" y="80"/>
                    <a:pt x="77" y="78"/>
                  </a:cubicBezTo>
                  <a:cubicBezTo>
                    <a:pt x="76" y="76"/>
                    <a:pt x="75" y="74"/>
                    <a:pt x="75" y="71"/>
                  </a:cubicBezTo>
                  <a:cubicBezTo>
                    <a:pt x="75" y="68"/>
                    <a:pt x="76" y="65"/>
                    <a:pt x="77" y="63"/>
                  </a:cubicBezTo>
                  <a:cubicBezTo>
                    <a:pt x="78" y="60"/>
                    <a:pt x="80" y="58"/>
                    <a:pt x="83" y="57"/>
                  </a:cubicBezTo>
                  <a:cubicBezTo>
                    <a:pt x="85" y="55"/>
                    <a:pt x="88" y="54"/>
                    <a:pt x="92" y="53"/>
                  </a:cubicBezTo>
                  <a:cubicBezTo>
                    <a:pt x="95" y="53"/>
                    <a:pt x="99" y="52"/>
                    <a:pt x="103" y="52"/>
                  </a:cubicBezTo>
                  <a:lnTo>
                    <a:pt x="111" y="52"/>
                  </a:lnTo>
                  <a:lnTo>
                    <a:pt x="111" y="48"/>
                  </a:lnTo>
                  <a:cubicBezTo>
                    <a:pt x="111" y="46"/>
                    <a:pt x="111" y="44"/>
                    <a:pt x="111" y="42"/>
                  </a:cubicBezTo>
                  <a:cubicBezTo>
                    <a:pt x="110" y="40"/>
                    <a:pt x="109" y="39"/>
                    <a:pt x="108" y="38"/>
                  </a:cubicBezTo>
                  <a:cubicBezTo>
                    <a:pt x="107" y="37"/>
                    <a:pt x="106" y="36"/>
                    <a:pt x="104" y="35"/>
                  </a:cubicBezTo>
                  <a:cubicBezTo>
                    <a:pt x="103" y="35"/>
                    <a:pt x="101" y="35"/>
                    <a:pt x="98" y="35"/>
                  </a:cubicBezTo>
                  <a:cubicBezTo>
                    <a:pt x="96" y="35"/>
                    <a:pt x="93" y="35"/>
                    <a:pt x="91" y="36"/>
                  </a:cubicBezTo>
                  <a:cubicBezTo>
                    <a:pt x="89" y="36"/>
                    <a:pt x="88" y="37"/>
                    <a:pt x="86" y="38"/>
                  </a:cubicBezTo>
                  <a:cubicBezTo>
                    <a:pt x="85" y="38"/>
                    <a:pt x="83" y="39"/>
                    <a:pt x="82" y="40"/>
                  </a:cubicBezTo>
                  <a:cubicBezTo>
                    <a:pt x="81" y="40"/>
                    <a:pt x="81" y="40"/>
                    <a:pt x="80" y="40"/>
                  </a:cubicBezTo>
                  <a:cubicBezTo>
                    <a:pt x="80" y="40"/>
                    <a:pt x="79" y="40"/>
                    <a:pt x="79" y="40"/>
                  </a:cubicBezTo>
                  <a:cubicBezTo>
                    <a:pt x="79" y="40"/>
                    <a:pt x="79" y="40"/>
                    <a:pt x="79" y="39"/>
                  </a:cubicBezTo>
                  <a:cubicBezTo>
                    <a:pt x="78" y="39"/>
                    <a:pt x="78" y="39"/>
                    <a:pt x="78" y="38"/>
                  </a:cubicBezTo>
                  <a:cubicBezTo>
                    <a:pt x="78" y="38"/>
                    <a:pt x="78" y="37"/>
                    <a:pt x="78" y="36"/>
                  </a:cubicBezTo>
                  <a:cubicBezTo>
                    <a:pt x="78" y="35"/>
                    <a:pt x="78" y="35"/>
                    <a:pt x="78" y="34"/>
                  </a:cubicBezTo>
                  <a:cubicBezTo>
                    <a:pt x="78" y="33"/>
                    <a:pt x="79" y="33"/>
                    <a:pt x="79" y="32"/>
                  </a:cubicBezTo>
                  <a:cubicBezTo>
                    <a:pt x="80" y="32"/>
                    <a:pt x="81" y="31"/>
                    <a:pt x="82" y="30"/>
                  </a:cubicBezTo>
                  <a:cubicBezTo>
                    <a:pt x="84" y="30"/>
                    <a:pt x="85" y="29"/>
                    <a:pt x="87" y="28"/>
                  </a:cubicBezTo>
                  <a:cubicBezTo>
                    <a:pt x="89" y="28"/>
                    <a:pt x="91" y="27"/>
                    <a:pt x="93" y="27"/>
                  </a:cubicBezTo>
                  <a:cubicBezTo>
                    <a:pt x="95" y="26"/>
                    <a:pt x="97" y="26"/>
                    <a:pt x="99" y="26"/>
                  </a:cubicBezTo>
                  <a:cubicBezTo>
                    <a:pt x="103" y="26"/>
                    <a:pt x="107" y="27"/>
                    <a:pt x="110" y="28"/>
                  </a:cubicBezTo>
                  <a:cubicBezTo>
                    <a:pt x="112" y="29"/>
                    <a:pt x="115" y="30"/>
                    <a:pt x="116" y="32"/>
                  </a:cubicBezTo>
                  <a:cubicBezTo>
                    <a:pt x="118" y="33"/>
                    <a:pt x="119" y="36"/>
                    <a:pt x="120" y="38"/>
                  </a:cubicBezTo>
                  <a:cubicBezTo>
                    <a:pt x="121" y="41"/>
                    <a:pt x="121" y="44"/>
                    <a:pt x="121" y="47"/>
                  </a:cubicBezTo>
                  <a:lnTo>
                    <a:pt x="121" y="85"/>
                  </a:lnTo>
                  <a:close/>
                  <a:moveTo>
                    <a:pt x="111" y="60"/>
                  </a:moveTo>
                  <a:lnTo>
                    <a:pt x="102" y="60"/>
                  </a:lnTo>
                  <a:cubicBezTo>
                    <a:pt x="100" y="60"/>
                    <a:pt x="97" y="60"/>
                    <a:pt x="95" y="60"/>
                  </a:cubicBezTo>
                  <a:cubicBezTo>
                    <a:pt x="93" y="61"/>
                    <a:pt x="91" y="62"/>
                    <a:pt x="90" y="63"/>
                  </a:cubicBezTo>
                  <a:cubicBezTo>
                    <a:pt x="88" y="63"/>
                    <a:pt x="87" y="65"/>
                    <a:pt x="87" y="66"/>
                  </a:cubicBezTo>
                  <a:cubicBezTo>
                    <a:pt x="86" y="67"/>
                    <a:pt x="86" y="69"/>
                    <a:pt x="86" y="70"/>
                  </a:cubicBezTo>
                  <a:cubicBezTo>
                    <a:pt x="86" y="73"/>
                    <a:pt x="87" y="76"/>
                    <a:pt x="89" y="77"/>
                  </a:cubicBezTo>
                  <a:cubicBezTo>
                    <a:pt x="90" y="79"/>
                    <a:pt x="93" y="80"/>
                    <a:pt x="96" y="80"/>
                  </a:cubicBezTo>
                  <a:cubicBezTo>
                    <a:pt x="99" y="80"/>
                    <a:pt x="102" y="79"/>
                    <a:pt x="104" y="78"/>
                  </a:cubicBezTo>
                  <a:cubicBezTo>
                    <a:pt x="106" y="77"/>
                    <a:pt x="109" y="74"/>
                    <a:pt x="111" y="72"/>
                  </a:cubicBezTo>
                  <a:lnTo>
                    <a:pt x="111" y="60"/>
                  </a:lnTo>
                  <a:close/>
                  <a:moveTo>
                    <a:pt x="192" y="85"/>
                  </a:moveTo>
                  <a:cubicBezTo>
                    <a:pt x="192" y="86"/>
                    <a:pt x="191" y="86"/>
                    <a:pt x="191" y="86"/>
                  </a:cubicBezTo>
                  <a:cubicBezTo>
                    <a:pt x="191" y="86"/>
                    <a:pt x="191" y="87"/>
                    <a:pt x="190" y="87"/>
                  </a:cubicBezTo>
                  <a:cubicBezTo>
                    <a:pt x="190" y="87"/>
                    <a:pt x="190" y="87"/>
                    <a:pt x="189" y="87"/>
                  </a:cubicBezTo>
                  <a:cubicBezTo>
                    <a:pt x="188" y="87"/>
                    <a:pt x="187" y="87"/>
                    <a:pt x="186" y="87"/>
                  </a:cubicBezTo>
                  <a:cubicBezTo>
                    <a:pt x="185" y="87"/>
                    <a:pt x="184" y="87"/>
                    <a:pt x="184" y="87"/>
                  </a:cubicBezTo>
                  <a:cubicBezTo>
                    <a:pt x="183" y="87"/>
                    <a:pt x="183" y="87"/>
                    <a:pt x="182" y="87"/>
                  </a:cubicBezTo>
                  <a:cubicBezTo>
                    <a:pt x="182" y="87"/>
                    <a:pt x="182" y="86"/>
                    <a:pt x="181" y="86"/>
                  </a:cubicBezTo>
                  <a:cubicBezTo>
                    <a:pt x="181" y="86"/>
                    <a:pt x="181" y="86"/>
                    <a:pt x="181" y="85"/>
                  </a:cubicBezTo>
                  <a:lnTo>
                    <a:pt x="181" y="52"/>
                  </a:lnTo>
                  <a:cubicBezTo>
                    <a:pt x="181" y="49"/>
                    <a:pt x="181" y="47"/>
                    <a:pt x="180" y="45"/>
                  </a:cubicBezTo>
                  <a:cubicBezTo>
                    <a:pt x="180" y="43"/>
                    <a:pt x="179" y="41"/>
                    <a:pt x="178" y="40"/>
                  </a:cubicBezTo>
                  <a:cubicBezTo>
                    <a:pt x="177" y="38"/>
                    <a:pt x="176" y="37"/>
                    <a:pt x="175" y="36"/>
                  </a:cubicBezTo>
                  <a:cubicBezTo>
                    <a:pt x="173" y="36"/>
                    <a:pt x="171" y="35"/>
                    <a:pt x="169" y="35"/>
                  </a:cubicBezTo>
                  <a:cubicBezTo>
                    <a:pt x="167" y="35"/>
                    <a:pt x="164" y="36"/>
                    <a:pt x="162" y="38"/>
                  </a:cubicBezTo>
                  <a:cubicBezTo>
                    <a:pt x="159" y="40"/>
                    <a:pt x="156" y="42"/>
                    <a:pt x="153" y="46"/>
                  </a:cubicBezTo>
                  <a:lnTo>
                    <a:pt x="153" y="85"/>
                  </a:lnTo>
                  <a:cubicBezTo>
                    <a:pt x="153" y="86"/>
                    <a:pt x="153" y="86"/>
                    <a:pt x="153" y="86"/>
                  </a:cubicBezTo>
                  <a:cubicBezTo>
                    <a:pt x="153" y="86"/>
                    <a:pt x="153" y="87"/>
                    <a:pt x="152" y="87"/>
                  </a:cubicBezTo>
                  <a:cubicBezTo>
                    <a:pt x="152" y="87"/>
                    <a:pt x="151" y="87"/>
                    <a:pt x="151" y="87"/>
                  </a:cubicBezTo>
                  <a:cubicBezTo>
                    <a:pt x="150" y="87"/>
                    <a:pt x="149" y="87"/>
                    <a:pt x="148" y="87"/>
                  </a:cubicBezTo>
                  <a:cubicBezTo>
                    <a:pt x="147" y="87"/>
                    <a:pt x="146" y="87"/>
                    <a:pt x="146" y="87"/>
                  </a:cubicBezTo>
                  <a:cubicBezTo>
                    <a:pt x="145" y="87"/>
                    <a:pt x="145" y="87"/>
                    <a:pt x="144" y="87"/>
                  </a:cubicBezTo>
                  <a:cubicBezTo>
                    <a:pt x="144" y="87"/>
                    <a:pt x="143" y="86"/>
                    <a:pt x="143" y="86"/>
                  </a:cubicBezTo>
                  <a:cubicBezTo>
                    <a:pt x="143" y="86"/>
                    <a:pt x="143" y="86"/>
                    <a:pt x="143" y="85"/>
                  </a:cubicBezTo>
                  <a:lnTo>
                    <a:pt x="143" y="29"/>
                  </a:lnTo>
                  <a:cubicBezTo>
                    <a:pt x="143" y="29"/>
                    <a:pt x="143" y="28"/>
                    <a:pt x="143" y="28"/>
                  </a:cubicBezTo>
                  <a:cubicBezTo>
                    <a:pt x="143" y="28"/>
                    <a:pt x="144" y="28"/>
                    <a:pt x="144" y="28"/>
                  </a:cubicBezTo>
                  <a:cubicBezTo>
                    <a:pt x="144" y="27"/>
                    <a:pt x="145" y="27"/>
                    <a:pt x="145" y="27"/>
                  </a:cubicBezTo>
                  <a:cubicBezTo>
                    <a:pt x="146" y="27"/>
                    <a:pt x="147" y="27"/>
                    <a:pt x="148" y="27"/>
                  </a:cubicBezTo>
                  <a:cubicBezTo>
                    <a:pt x="149" y="27"/>
                    <a:pt x="149" y="27"/>
                    <a:pt x="150" y="27"/>
                  </a:cubicBezTo>
                  <a:cubicBezTo>
                    <a:pt x="151" y="27"/>
                    <a:pt x="151" y="27"/>
                    <a:pt x="151" y="28"/>
                  </a:cubicBezTo>
                  <a:cubicBezTo>
                    <a:pt x="152" y="28"/>
                    <a:pt x="152" y="28"/>
                    <a:pt x="152" y="28"/>
                  </a:cubicBezTo>
                  <a:cubicBezTo>
                    <a:pt x="152" y="28"/>
                    <a:pt x="152" y="29"/>
                    <a:pt x="152" y="29"/>
                  </a:cubicBezTo>
                  <a:lnTo>
                    <a:pt x="152" y="36"/>
                  </a:lnTo>
                  <a:cubicBezTo>
                    <a:pt x="156" y="33"/>
                    <a:pt x="159" y="30"/>
                    <a:pt x="162" y="29"/>
                  </a:cubicBezTo>
                  <a:cubicBezTo>
                    <a:pt x="165" y="27"/>
                    <a:pt x="168" y="26"/>
                    <a:pt x="171" y="26"/>
                  </a:cubicBezTo>
                  <a:cubicBezTo>
                    <a:pt x="175" y="26"/>
                    <a:pt x="178" y="27"/>
                    <a:pt x="181" y="28"/>
                  </a:cubicBezTo>
                  <a:cubicBezTo>
                    <a:pt x="183" y="29"/>
                    <a:pt x="185" y="31"/>
                    <a:pt x="187" y="33"/>
                  </a:cubicBezTo>
                  <a:cubicBezTo>
                    <a:pt x="189" y="35"/>
                    <a:pt x="190" y="38"/>
                    <a:pt x="190" y="41"/>
                  </a:cubicBezTo>
                  <a:cubicBezTo>
                    <a:pt x="191" y="44"/>
                    <a:pt x="192" y="47"/>
                    <a:pt x="192" y="51"/>
                  </a:cubicBezTo>
                  <a:lnTo>
                    <a:pt x="192" y="85"/>
                  </a:lnTo>
                  <a:close/>
                  <a:moveTo>
                    <a:pt x="255" y="85"/>
                  </a:moveTo>
                  <a:cubicBezTo>
                    <a:pt x="255" y="86"/>
                    <a:pt x="255" y="86"/>
                    <a:pt x="255" y="86"/>
                  </a:cubicBezTo>
                  <a:cubicBezTo>
                    <a:pt x="255" y="86"/>
                    <a:pt x="255" y="87"/>
                    <a:pt x="254" y="87"/>
                  </a:cubicBezTo>
                  <a:cubicBezTo>
                    <a:pt x="254" y="87"/>
                    <a:pt x="253" y="87"/>
                    <a:pt x="253" y="87"/>
                  </a:cubicBezTo>
                  <a:cubicBezTo>
                    <a:pt x="252" y="87"/>
                    <a:pt x="252" y="87"/>
                    <a:pt x="251" y="87"/>
                  </a:cubicBezTo>
                  <a:cubicBezTo>
                    <a:pt x="250" y="87"/>
                    <a:pt x="249" y="87"/>
                    <a:pt x="249" y="87"/>
                  </a:cubicBezTo>
                  <a:cubicBezTo>
                    <a:pt x="248" y="87"/>
                    <a:pt x="248" y="87"/>
                    <a:pt x="247" y="87"/>
                  </a:cubicBezTo>
                  <a:cubicBezTo>
                    <a:pt x="247" y="87"/>
                    <a:pt x="246" y="86"/>
                    <a:pt x="246" y="86"/>
                  </a:cubicBezTo>
                  <a:cubicBezTo>
                    <a:pt x="246" y="86"/>
                    <a:pt x="246" y="86"/>
                    <a:pt x="246" y="85"/>
                  </a:cubicBezTo>
                  <a:lnTo>
                    <a:pt x="246" y="78"/>
                  </a:lnTo>
                  <a:cubicBezTo>
                    <a:pt x="243" y="81"/>
                    <a:pt x="240" y="84"/>
                    <a:pt x="237" y="85"/>
                  </a:cubicBezTo>
                  <a:cubicBezTo>
                    <a:pt x="234" y="87"/>
                    <a:pt x="230" y="88"/>
                    <a:pt x="226" y="88"/>
                  </a:cubicBezTo>
                  <a:cubicBezTo>
                    <a:pt x="222" y="88"/>
                    <a:pt x="219" y="87"/>
                    <a:pt x="216" y="86"/>
                  </a:cubicBezTo>
                  <a:cubicBezTo>
                    <a:pt x="213" y="84"/>
                    <a:pt x="211" y="82"/>
                    <a:pt x="209" y="79"/>
                  </a:cubicBezTo>
                  <a:cubicBezTo>
                    <a:pt x="207" y="76"/>
                    <a:pt x="206" y="73"/>
                    <a:pt x="205" y="70"/>
                  </a:cubicBezTo>
                  <a:cubicBezTo>
                    <a:pt x="204" y="66"/>
                    <a:pt x="204" y="62"/>
                    <a:pt x="204" y="58"/>
                  </a:cubicBezTo>
                  <a:cubicBezTo>
                    <a:pt x="204" y="53"/>
                    <a:pt x="204" y="49"/>
                    <a:pt x="205" y="45"/>
                  </a:cubicBezTo>
                  <a:cubicBezTo>
                    <a:pt x="206" y="41"/>
                    <a:pt x="208" y="38"/>
                    <a:pt x="210" y="35"/>
                  </a:cubicBezTo>
                  <a:cubicBezTo>
                    <a:pt x="212" y="32"/>
                    <a:pt x="214" y="30"/>
                    <a:pt x="217" y="28"/>
                  </a:cubicBezTo>
                  <a:cubicBezTo>
                    <a:pt x="220" y="27"/>
                    <a:pt x="224" y="26"/>
                    <a:pt x="228" y="26"/>
                  </a:cubicBezTo>
                  <a:cubicBezTo>
                    <a:pt x="231" y="26"/>
                    <a:pt x="234" y="27"/>
                    <a:pt x="237" y="28"/>
                  </a:cubicBezTo>
                  <a:cubicBezTo>
                    <a:pt x="240" y="30"/>
                    <a:pt x="242" y="32"/>
                    <a:pt x="245" y="35"/>
                  </a:cubicBezTo>
                  <a:lnTo>
                    <a:pt x="245" y="2"/>
                  </a:lnTo>
                  <a:cubicBezTo>
                    <a:pt x="245" y="2"/>
                    <a:pt x="245" y="1"/>
                    <a:pt x="245" y="1"/>
                  </a:cubicBezTo>
                  <a:cubicBezTo>
                    <a:pt x="245" y="1"/>
                    <a:pt x="246" y="1"/>
                    <a:pt x="246" y="1"/>
                  </a:cubicBezTo>
                  <a:cubicBezTo>
                    <a:pt x="246" y="0"/>
                    <a:pt x="247" y="0"/>
                    <a:pt x="248" y="0"/>
                  </a:cubicBezTo>
                  <a:cubicBezTo>
                    <a:pt x="248" y="0"/>
                    <a:pt x="249" y="0"/>
                    <a:pt x="250" y="0"/>
                  </a:cubicBezTo>
                  <a:cubicBezTo>
                    <a:pt x="251" y="0"/>
                    <a:pt x="252" y="0"/>
                    <a:pt x="253" y="0"/>
                  </a:cubicBezTo>
                  <a:cubicBezTo>
                    <a:pt x="253" y="0"/>
                    <a:pt x="254" y="0"/>
                    <a:pt x="254" y="1"/>
                  </a:cubicBezTo>
                  <a:cubicBezTo>
                    <a:pt x="255" y="1"/>
                    <a:pt x="255" y="1"/>
                    <a:pt x="255" y="1"/>
                  </a:cubicBezTo>
                  <a:cubicBezTo>
                    <a:pt x="255" y="1"/>
                    <a:pt x="255" y="2"/>
                    <a:pt x="255" y="2"/>
                  </a:cubicBezTo>
                  <a:lnTo>
                    <a:pt x="255" y="85"/>
                  </a:lnTo>
                  <a:close/>
                  <a:moveTo>
                    <a:pt x="245" y="46"/>
                  </a:moveTo>
                  <a:cubicBezTo>
                    <a:pt x="242" y="42"/>
                    <a:pt x="239" y="40"/>
                    <a:pt x="237" y="38"/>
                  </a:cubicBezTo>
                  <a:cubicBezTo>
                    <a:pt x="234" y="36"/>
                    <a:pt x="231" y="35"/>
                    <a:pt x="229" y="35"/>
                  </a:cubicBezTo>
                  <a:cubicBezTo>
                    <a:pt x="226" y="35"/>
                    <a:pt x="224" y="36"/>
                    <a:pt x="222" y="37"/>
                  </a:cubicBezTo>
                  <a:cubicBezTo>
                    <a:pt x="220" y="38"/>
                    <a:pt x="219" y="40"/>
                    <a:pt x="217" y="42"/>
                  </a:cubicBezTo>
                  <a:cubicBezTo>
                    <a:pt x="216" y="44"/>
                    <a:pt x="216" y="46"/>
                    <a:pt x="215" y="49"/>
                  </a:cubicBezTo>
                  <a:cubicBezTo>
                    <a:pt x="214" y="51"/>
                    <a:pt x="214" y="54"/>
                    <a:pt x="214" y="57"/>
                  </a:cubicBezTo>
                  <a:cubicBezTo>
                    <a:pt x="214" y="60"/>
                    <a:pt x="214" y="62"/>
                    <a:pt x="215" y="65"/>
                  </a:cubicBezTo>
                  <a:cubicBezTo>
                    <a:pt x="215" y="68"/>
                    <a:pt x="216" y="70"/>
                    <a:pt x="217" y="72"/>
                  </a:cubicBezTo>
                  <a:cubicBezTo>
                    <a:pt x="218" y="74"/>
                    <a:pt x="220" y="76"/>
                    <a:pt x="221" y="77"/>
                  </a:cubicBezTo>
                  <a:cubicBezTo>
                    <a:pt x="223" y="79"/>
                    <a:pt x="225" y="79"/>
                    <a:pt x="228" y="79"/>
                  </a:cubicBezTo>
                  <a:cubicBezTo>
                    <a:pt x="230" y="79"/>
                    <a:pt x="231" y="79"/>
                    <a:pt x="232" y="79"/>
                  </a:cubicBezTo>
                  <a:cubicBezTo>
                    <a:pt x="233" y="78"/>
                    <a:pt x="235" y="78"/>
                    <a:pt x="236" y="77"/>
                  </a:cubicBezTo>
                  <a:cubicBezTo>
                    <a:pt x="237" y="76"/>
                    <a:pt x="239" y="75"/>
                    <a:pt x="240" y="73"/>
                  </a:cubicBezTo>
                  <a:cubicBezTo>
                    <a:pt x="242" y="72"/>
                    <a:pt x="243" y="70"/>
                    <a:pt x="245" y="68"/>
                  </a:cubicBezTo>
                  <a:lnTo>
                    <a:pt x="245" y="46"/>
                  </a:lnTo>
                  <a:close/>
                  <a:moveTo>
                    <a:pt x="281" y="85"/>
                  </a:moveTo>
                  <a:cubicBezTo>
                    <a:pt x="281" y="86"/>
                    <a:pt x="281" y="86"/>
                    <a:pt x="281" y="86"/>
                  </a:cubicBezTo>
                  <a:cubicBezTo>
                    <a:pt x="281" y="86"/>
                    <a:pt x="281" y="87"/>
                    <a:pt x="280" y="87"/>
                  </a:cubicBezTo>
                  <a:cubicBezTo>
                    <a:pt x="280" y="87"/>
                    <a:pt x="279" y="87"/>
                    <a:pt x="279" y="87"/>
                  </a:cubicBezTo>
                  <a:cubicBezTo>
                    <a:pt x="278" y="87"/>
                    <a:pt x="277" y="87"/>
                    <a:pt x="276" y="87"/>
                  </a:cubicBezTo>
                  <a:cubicBezTo>
                    <a:pt x="275" y="87"/>
                    <a:pt x="274" y="87"/>
                    <a:pt x="274" y="87"/>
                  </a:cubicBezTo>
                  <a:cubicBezTo>
                    <a:pt x="273" y="87"/>
                    <a:pt x="273" y="87"/>
                    <a:pt x="272" y="87"/>
                  </a:cubicBezTo>
                  <a:cubicBezTo>
                    <a:pt x="272" y="87"/>
                    <a:pt x="271" y="86"/>
                    <a:pt x="271" y="86"/>
                  </a:cubicBezTo>
                  <a:cubicBezTo>
                    <a:pt x="271" y="86"/>
                    <a:pt x="271" y="86"/>
                    <a:pt x="271" y="85"/>
                  </a:cubicBezTo>
                  <a:lnTo>
                    <a:pt x="271" y="2"/>
                  </a:lnTo>
                  <a:cubicBezTo>
                    <a:pt x="271" y="1"/>
                    <a:pt x="271" y="1"/>
                    <a:pt x="271" y="1"/>
                  </a:cubicBezTo>
                  <a:cubicBezTo>
                    <a:pt x="271" y="1"/>
                    <a:pt x="272" y="0"/>
                    <a:pt x="272" y="0"/>
                  </a:cubicBezTo>
                  <a:cubicBezTo>
                    <a:pt x="273" y="0"/>
                    <a:pt x="273" y="0"/>
                    <a:pt x="274" y="0"/>
                  </a:cubicBezTo>
                  <a:cubicBezTo>
                    <a:pt x="274" y="0"/>
                    <a:pt x="275" y="0"/>
                    <a:pt x="276" y="0"/>
                  </a:cubicBezTo>
                  <a:cubicBezTo>
                    <a:pt x="277" y="0"/>
                    <a:pt x="278" y="0"/>
                    <a:pt x="279" y="0"/>
                  </a:cubicBezTo>
                  <a:cubicBezTo>
                    <a:pt x="279" y="0"/>
                    <a:pt x="280" y="0"/>
                    <a:pt x="280" y="0"/>
                  </a:cubicBezTo>
                  <a:cubicBezTo>
                    <a:pt x="281" y="0"/>
                    <a:pt x="281" y="1"/>
                    <a:pt x="281" y="1"/>
                  </a:cubicBezTo>
                  <a:cubicBezTo>
                    <a:pt x="281" y="1"/>
                    <a:pt x="281" y="1"/>
                    <a:pt x="281" y="2"/>
                  </a:cubicBezTo>
                  <a:lnTo>
                    <a:pt x="281" y="85"/>
                  </a:lnTo>
                  <a:close/>
                  <a:moveTo>
                    <a:pt x="351" y="55"/>
                  </a:moveTo>
                  <a:cubicBezTo>
                    <a:pt x="351" y="56"/>
                    <a:pt x="351" y="58"/>
                    <a:pt x="350" y="58"/>
                  </a:cubicBezTo>
                  <a:cubicBezTo>
                    <a:pt x="349" y="59"/>
                    <a:pt x="348" y="59"/>
                    <a:pt x="347" y="59"/>
                  </a:cubicBezTo>
                  <a:lnTo>
                    <a:pt x="310" y="59"/>
                  </a:lnTo>
                  <a:cubicBezTo>
                    <a:pt x="310" y="62"/>
                    <a:pt x="310" y="65"/>
                    <a:pt x="311" y="68"/>
                  </a:cubicBezTo>
                  <a:cubicBezTo>
                    <a:pt x="312" y="70"/>
                    <a:pt x="313" y="72"/>
                    <a:pt x="314" y="74"/>
                  </a:cubicBezTo>
                  <a:cubicBezTo>
                    <a:pt x="316" y="76"/>
                    <a:pt x="317" y="77"/>
                    <a:pt x="320" y="78"/>
                  </a:cubicBezTo>
                  <a:cubicBezTo>
                    <a:pt x="322" y="79"/>
                    <a:pt x="325" y="80"/>
                    <a:pt x="328" y="80"/>
                  </a:cubicBezTo>
                  <a:cubicBezTo>
                    <a:pt x="331" y="80"/>
                    <a:pt x="333" y="79"/>
                    <a:pt x="336" y="79"/>
                  </a:cubicBezTo>
                  <a:cubicBezTo>
                    <a:pt x="338" y="79"/>
                    <a:pt x="339" y="78"/>
                    <a:pt x="341" y="78"/>
                  </a:cubicBezTo>
                  <a:cubicBezTo>
                    <a:pt x="343" y="77"/>
                    <a:pt x="344" y="77"/>
                    <a:pt x="345" y="76"/>
                  </a:cubicBezTo>
                  <a:cubicBezTo>
                    <a:pt x="346" y="76"/>
                    <a:pt x="346" y="75"/>
                    <a:pt x="347" y="75"/>
                  </a:cubicBezTo>
                  <a:cubicBezTo>
                    <a:pt x="347" y="75"/>
                    <a:pt x="348" y="75"/>
                    <a:pt x="348" y="76"/>
                  </a:cubicBezTo>
                  <a:cubicBezTo>
                    <a:pt x="348" y="76"/>
                    <a:pt x="348" y="76"/>
                    <a:pt x="348" y="76"/>
                  </a:cubicBezTo>
                  <a:cubicBezTo>
                    <a:pt x="348" y="77"/>
                    <a:pt x="349" y="77"/>
                    <a:pt x="349" y="78"/>
                  </a:cubicBezTo>
                  <a:cubicBezTo>
                    <a:pt x="349" y="78"/>
                    <a:pt x="349" y="79"/>
                    <a:pt x="349" y="79"/>
                  </a:cubicBezTo>
                  <a:cubicBezTo>
                    <a:pt x="349" y="80"/>
                    <a:pt x="349" y="80"/>
                    <a:pt x="349" y="81"/>
                  </a:cubicBezTo>
                  <a:cubicBezTo>
                    <a:pt x="349" y="81"/>
                    <a:pt x="349" y="82"/>
                    <a:pt x="348" y="82"/>
                  </a:cubicBezTo>
                  <a:cubicBezTo>
                    <a:pt x="348" y="82"/>
                    <a:pt x="348" y="82"/>
                    <a:pt x="348" y="83"/>
                  </a:cubicBezTo>
                  <a:cubicBezTo>
                    <a:pt x="348" y="83"/>
                    <a:pt x="348" y="83"/>
                    <a:pt x="348" y="83"/>
                  </a:cubicBezTo>
                  <a:cubicBezTo>
                    <a:pt x="347" y="84"/>
                    <a:pt x="347" y="84"/>
                    <a:pt x="346" y="85"/>
                  </a:cubicBezTo>
                  <a:cubicBezTo>
                    <a:pt x="344" y="85"/>
                    <a:pt x="343" y="86"/>
                    <a:pt x="341" y="86"/>
                  </a:cubicBezTo>
                  <a:cubicBezTo>
                    <a:pt x="339" y="87"/>
                    <a:pt x="337" y="87"/>
                    <a:pt x="335" y="87"/>
                  </a:cubicBezTo>
                  <a:cubicBezTo>
                    <a:pt x="333" y="88"/>
                    <a:pt x="330" y="88"/>
                    <a:pt x="327" y="88"/>
                  </a:cubicBezTo>
                  <a:cubicBezTo>
                    <a:pt x="323" y="88"/>
                    <a:pt x="319" y="87"/>
                    <a:pt x="315" y="86"/>
                  </a:cubicBezTo>
                  <a:cubicBezTo>
                    <a:pt x="312" y="85"/>
                    <a:pt x="309" y="83"/>
                    <a:pt x="307" y="80"/>
                  </a:cubicBezTo>
                  <a:cubicBezTo>
                    <a:pt x="304" y="78"/>
                    <a:pt x="302" y="75"/>
                    <a:pt x="301" y="71"/>
                  </a:cubicBezTo>
                  <a:cubicBezTo>
                    <a:pt x="300" y="67"/>
                    <a:pt x="299" y="63"/>
                    <a:pt x="299" y="57"/>
                  </a:cubicBezTo>
                  <a:cubicBezTo>
                    <a:pt x="299" y="53"/>
                    <a:pt x="300" y="48"/>
                    <a:pt x="301" y="44"/>
                  </a:cubicBezTo>
                  <a:cubicBezTo>
                    <a:pt x="302" y="41"/>
                    <a:pt x="304" y="37"/>
                    <a:pt x="307" y="35"/>
                  </a:cubicBezTo>
                  <a:cubicBezTo>
                    <a:pt x="309" y="32"/>
                    <a:pt x="312" y="30"/>
                    <a:pt x="315" y="28"/>
                  </a:cubicBezTo>
                  <a:cubicBezTo>
                    <a:pt x="318" y="27"/>
                    <a:pt x="322" y="26"/>
                    <a:pt x="326" y="26"/>
                  </a:cubicBezTo>
                  <a:cubicBezTo>
                    <a:pt x="331" y="26"/>
                    <a:pt x="334" y="27"/>
                    <a:pt x="338" y="28"/>
                  </a:cubicBezTo>
                  <a:cubicBezTo>
                    <a:pt x="341" y="30"/>
                    <a:pt x="343" y="32"/>
                    <a:pt x="345" y="34"/>
                  </a:cubicBezTo>
                  <a:cubicBezTo>
                    <a:pt x="347" y="36"/>
                    <a:pt x="349" y="39"/>
                    <a:pt x="350" y="43"/>
                  </a:cubicBezTo>
                  <a:cubicBezTo>
                    <a:pt x="351" y="46"/>
                    <a:pt x="351" y="49"/>
                    <a:pt x="351" y="53"/>
                  </a:cubicBezTo>
                  <a:lnTo>
                    <a:pt x="351" y="55"/>
                  </a:lnTo>
                  <a:close/>
                  <a:moveTo>
                    <a:pt x="341" y="52"/>
                  </a:moveTo>
                  <a:cubicBezTo>
                    <a:pt x="341" y="46"/>
                    <a:pt x="340" y="42"/>
                    <a:pt x="337" y="39"/>
                  </a:cubicBezTo>
                  <a:cubicBezTo>
                    <a:pt x="335" y="36"/>
                    <a:pt x="331" y="34"/>
                    <a:pt x="326" y="34"/>
                  </a:cubicBezTo>
                  <a:cubicBezTo>
                    <a:pt x="323" y="34"/>
                    <a:pt x="321" y="35"/>
                    <a:pt x="319" y="36"/>
                  </a:cubicBezTo>
                  <a:cubicBezTo>
                    <a:pt x="317" y="37"/>
                    <a:pt x="316" y="38"/>
                    <a:pt x="314" y="40"/>
                  </a:cubicBezTo>
                  <a:cubicBezTo>
                    <a:pt x="313" y="41"/>
                    <a:pt x="312" y="43"/>
                    <a:pt x="311" y="45"/>
                  </a:cubicBezTo>
                  <a:cubicBezTo>
                    <a:pt x="310" y="47"/>
                    <a:pt x="310" y="49"/>
                    <a:pt x="310" y="52"/>
                  </a:cubicBezTo>
                  <a:lnTo>
                    <a:pt x="341" y="52"/>
                  </a:lnTo>
                  <a:close/>
                  <a:moveTo>
                    <a:pt x="461" y="57"/>
                  </a:moveTo>
                  <a:cubicBezTo>
                    <a:pt x="461" y="62"/>
                    <a:pt x="460" y="66"/>
                    <a:pt x="459" y="70"/>
                  </a:cubicBezTo>
                  <a:cubicBezTo>
                    <a:pt x="457" y="74"/>
                    <a:pt x="455" y="77"/>
                    <a:pt x="453" y="80"/>
                  </a:cubicBezTo>
                  <a:cubicBezTo>
                    <a:pt x="450" y="83"/>
                    <a:pt x="447" y="85"/>
                    <a:pt x="443" y="86"/>
                  </a:cubicBezTo>
                  <a:cubicBezTo>
                    <a:pt x="439" y="87"/>
                    <a:pt x="435" y="88"/>
                    <a:pt x="430" y="88"/>
                  </a:cubicBezTo>
                  <a:cubicBezTo>
                    <a:pt x="425" y="88"/>
                    <a:pt x="421" y="87"/>
                    <a:pt x="418" y="86"/>
                  </a:cubicBezTo>
                  <a:cubicBezTo>
                    <a:pt x="414" y="85"/>
                    <a:pt x="411" y="83"/>
                    <a:pt x="408" y="80"/>
                  </a:cubicBezTo>
                  <a:cubicBezTo>
                    <a:pt x="406" y="78"/>
                    <a:pt x="404" y="75"/>
                    <a:pt x="402" y="71"/>
                  </a:cubicBezTo>
                  <a:cubicBezTo>
                    <a:pt x="401" y="67"/>
                    <a:pt x="400" y="63"/>
                    <a:pt x="400" y="58"/>
                  </a:cubicBezTo>
                  <a:lnTo>
                    <a:pt x="400" y="8"/>
                  </a:lnTo>
                  <a:cubicBezTo>
                    <a:pt x="400" y="7"/>
                    <a:pt x="400" y="7"/>
                    <a:pt x="400" y="7"/>
                  </a:cubicBezTo>
                  <a:cubicBezTo>
                    <a:pt x="401" y="6"/>
                    <a:pt x="401" y="6"/>
                    <a:pt x="401" y="6"/>
                  </a:cubicBezTo>
                  <a:cubicBezTo>
                    <a:pt x="402" y="6"/>
                    <a:pt x="402" y="6"/>
                    <a:pt x="403" y="6"/>
                  </a:cubicBezTo>
                  <a:cubicBezTo>
                    <a:pt x="404" y="6"/>
                    <a:pt x="404" y="6"/>
                    <a:pt x="406" y="6"/>
                  </a:cubicBezTo>
                  <a:cubicBezTo>
                    <a:pt x="407" y="6"/>
                    <a:pt x="407" y="6"/>
                    <a:pt x="408" y="6"/>
                  </a:cubicBezTo>
                  <a:cubicBezTo>
                    <a:pt x="409" y="6"/>
                    <a:pt x="409" y="6"/>
                    <a:pt x="410" y="6"/>
                  </a:cubicBezTo>
                  <a:cubicBezTo>
                    <a:pt x="410" y="6"/>
                    <a:pt x="410" y="6"/>
                    <a:pt x="411" y="7"/>
                  </a:cubicBezTo>
                  <a:cubicBezTo>
                    <a:pt x="411" y="7"/>
                    <a:pt x="411" y="7"/>
                    <a:pt x="411" y="8"/>
                  </a:cubicBezTo>
                  <a:lnTo>
                    <a:pt x="411" y="56"/>
                  </a:lnTo>
                  <a:cubicBezTo>
                    <a:pt x="411" y="60"/>
                    <a:pt x="411" y="64"/>
                    <a:pt x="412" y="66"/>
                  </a:cubicBezTo>
                  <a:cubicBezTo>
                    <a:pt x="413" y="69"/>
                    <a:pt x="414" y="71"/>
                    <a:pt x="416" y="73"/>
                  </a:cubicBezTo>
                  <a:cubicBezTo>
                    <a:pt x="418" y="75"/>
                    <a:pt x="420" y="77"/>
                    <a:pt x="422" y="77"/>
                  </a:cubicBezTo>
                  <a:cubicBezTo>
                    <a:pt x="425" y="78"/>
                    <a:pt x="428" y="79"/>
                    <a:pt x="431" y="79"/>
                  </a:cubicBezTo>
                  <a:cubicBezTo>
                    <a:pt x="434" y="79"/>
                    <a:pt x="437" y="78"/>
                    <a:pt x="439" y="77"/>
                  </a:cubicBezTo>
                  <a:cubicBezTo>
                    <a:pt x="441" y="77"/>
                    <a:pt x="443" y="75"/>
                    <a:pt x="445" y="73"/>
                  </a:cubicBezTo>
                  <a:cubicBezTo>
                    <a:pt x="447" y="72"/>
                    <a:pt x="448" y="69"/>
                    <a:pt x="449" y="67"/>
                  </a:cubicBezTo>
                  <a:cubicBezTo>
                    <a:pt x="450" y="64"/>
                    <a:pt x="450" y="61"/>
                    <a:pt x="450" y="57"/>
                  </a:cubicBezTo>
                  <a:lnTo>
                    <a:pt x="450" y="8"/>
                  </a:lnTo>
                  <a:cubicBezTo>
                    <a:pt x="450" y="7"/>
                    <a:pt x="450" y="7"/>
                    <a:pt x="451" y="7"/>
                  </a:cubicBezTo>
                  <a:cubicBezTo>
                    <a:pt x="451" y="6"/>
                    <a:pt x="451" y="6"/>
                    <a:pt x="452" y="6"/>
                  </a:cubicBezTo>
                  <a:cubicBezTo>
                    <a:pt x="452" y="6"/>
                    <a:pt x="452" y="6"/>
                    <a:pt x="453" y="6"/>
                  </a:cubicBezTo>
                  <a:cubicBezTo>
                    <a:pt x="454" y="6"/>
                    <a:pt x="455" y="6"/>
                    <a:pt x="456" y="6"/>
                  </a:cubicBezTo>
                  <a:cubicBezTo>
                    <a:pt x="457" y="6"/>
                    <a:pt x="458" y="6"/>
                    <a:pt x="458" y="6"/>
                  </a:cubicBezTo>
                  <a:cubicBezTo>
                    <a:pt x="459" y="6"/>
                    <a:pt x="460" y="6"/>
                    <a:pt x="460" y="6"/>
                  </a:cubicBezTo>
                  <a:cubicBezTo>
                    <a:pt x="460" y="6"/>
                    <a:pt x="461" y="6"/>
                    <a:pt x="461" y="7"/>
                  </a:cubicBezTo>
                  <a:cubicBezTo>
                    <a:pt x="461" y="7"/>
                    <a:pt x="461" y="7"/>
                    <a:pt x="461" y="8"/>
                  </a:cubicBezTo>
                  <a:lnTo>
                    <a:pt x="461" y="57"/>
                  </a:lnTo>
                  <a:close/>
                  <a:moveTo>
                    <a:pt x="514" y="70"/>
                  </a:moveTo>
                  <a:cubicBezTo>
                    <a:pt x="514" y="73"/>
                    <a:pt x="514" y="75"/>
                    <a:pt x="513" y="78"/>
                  </a:cubicBezTo>
                  <a:cubicBezTo>
                    <a:pt x="512" y="80"/>
                    <a:pt x="510" y="82"/>
                    <a:pt x="508" y="83"/>
                  </a:cubicBezTo>
                  <a:cubicBezTo>
                    <a:pt x="506" y="85"/>
                    <a:pt x="504" y="86"/>
                    <a:pt x="501" y="87"/>
                  </a:cubicBezTo>
                  <a:cubicBezTo>
                    <a:pt x="499" y="88"/>
                    <a:pt x="496" y="88"/>
                    <a:pt x="492" y="88"/>
                  </a:cubicBezTo>
                  <a:cubicBezTo>
                    <a:pt x="490" y="88"/>
                    <a:pt x="488" y="88"/>
                    <a:pt x="487" y="88"/>
                  </a:cubicBezTo>
                  <a:cubicBezTo>
                    <a:pt x="485" y="87"/>
                    <a:pt x="483" y="87"/>
                    <a:pt x="482" y="86"/>
                  </a:cubicBezTo>
                  <a:cubicBezTo>
                    <a:pt x="480" y="86"/>
                    <a:pt x="479" y="85"/>
                    <a:pt x="478" y="85"/>
                  </a:cubicBezTo>
                  <a:cubicBezTo>
                    <a:pt x="477" y="84"/>
                    <a:pt x="476" y="84"/>
                    <a:pt x="476" y="83"/>
                  </a:cubicBezTo>
                  <a:cubicBezTo>
                    <a:pt x="475" y="83"/>
                    <a:pt x="475" y="82"/>
                    <a:pt x="475" y="82"/>
                  </a:cubicBezTo>
                  <a:cubicBezTo>
                    <a:pt x="475" y="81"/>
                    <a:pt x="475" y="80"/>
                    <a:pt x="475" y="79"/>
                  </a:cubicBezTo>
                  <a:cubicBezTo>
                    <a:pt x="475" y="78"/>
                    <a:pt x="475" y="77"/>
                    <a:pt x="475" y="77"/>
                  </a:cubicBezTo>
                  <a:cubicBezTo>
                    <a:pt x="475" y="76"/>
                    <a:pt x="475" y="76"/>
                    <a:pt x="475" y="75"/>
                  </a:cubicBezTo>
                  <a:cubicBezTo>
                    <a:pt x="475" y="75"/>
                    <a:pt x="475" y="75"/>
                    <a:pt x="476" y="75"/>
                  </a:cubicBezTo>
                  <a:cubicBezTo>
                    <a:pt x="476" y="74"/>
                    <a:pt x="476" y="74"/>
                    <a:pt x="476" y="74"/>
                  </a:cubicBezTo>
                  <a:cubicBezTo>
                    <a:pt x="477" y="74"/>
                    <a:pt x="477" y="75"/>
                    <a:pt x="478" y="75"/>
                  </a:cubicBezTo>
                  <a:cubicBezTo>
                    <a:pt x="479" y="76"/>
                    <a:pt x="480" y="76"/>
                    <a:pt x="482" y="77"/>
                  </a:cubicBezTo>
                  <a:cubicBezTo>
                    <a:pt x="483" y="78"/>
                    <a:pt x="485" y="78"/>
                    <a:pt x="486" y="79"/>
                  </a:cubicBezTo>
                  <a:cubicBezTo>
                    <a:pt x="488" y="80"/>
                    <a:pt x="490" y="80"/>
                    <a:pt x="493" y="80"/>
                  </a:cubicBezTo>
                  <a:cubicBezTo>
                    <a:pt x="494" y="80"/>
                    <a:pt x="496" y="80"/>
                    <a:pt x="497" y="79"/>
                  </a:cubicBezTo>
                  <a:cubicBezTo>
                    <a:pt x="499" y="79"/>
                    <a:pt x="500" y="78"/>
                    <a:pt x="501" y="78"/>
                  </a:cubicBezTo>
                  <a:cubicBezTo>
                    <a:pt x="502" y="77"/>
                    <a:pt x="503" y="76"/>
                    <a:pt x="503" y="75"/>
                  </a:cubicBezTo>
                  <a:cubicBezTo>
                    <a:pt x="504" y="74"/>
                    <a:pt x="504" y="72"/>
                    <a:pt x="504" y="71"/>
                  </a:cubicBezTo>
                  <a:cubicBezTo>
                    <a:pt x="504" y="69"/>
                    <a:pt x="504" y="68"/>
                    <a:pt x="503" y="67"/>
                  </a:cubicBezTo>
                  <a:cubicBezTo>
                    <a:pt x="502" y="66"/>
                    <a:pt x="501" y="65"/>
                    <a:pt x="500" y="64"/>
                  </a:cubicBezTo>
                  <a:cubicBezTo>
                    <a:pt x="498" y="63"/>
                    <a:pt x="497" y="62"/>
                    <a:pt x="495" y="62"/>
                  </a:cubicBezTo>
                  <a:cubicBezTo>
                    <a:pt x="494" y="61"/>
                    <a:pt x="492" y="60"/>
                    <a:pt x="490" y="60"/>
                  </a:cubicBezTo>
                  <a:cubicBezTo>
                    <a:pt x="488" y="59"/>
                    <a:pt x="487" y="58"/>
                    <a:pt x="485" y="57"/>
                  </a:cubicBezTo>
                  <a:cubicBezTo>
                    <a:pt x="483" y="56"/>
                    <a:pt x="482" y="55"/>
                    <a:pt x="480" y="54"/>
                  </a:cubicBezTo>
                  <a:cubicBezTo>
                    <a:pt x="479" y="53"/>
                    <a:pt x="478" y="51"/>
                    <a:pt x="477" y="49"/>
                  </a:cubicBezTo>
                  <a:cubicBezTo>
                    <a:pt x="476" y="48"/>
                    <a:pt x="476" y="45"/>
                    <a:pt x="476" y="43"/>
                  </a:cubicBezTo>
                  <a:cubicBezTo>
                    <a:pt x="476" y="41"/>
                    <a:pt x="476" y="39"/>
                    <a:pt x="477" y="37"/>
                  </a:cubicBezTo>
                  <a:cubicBezTo>
                    <a:pt x="478" y="35"/>
                    <a:pt x="479" y="33"/>
                    <a:pt x="481" y="31"/>
                  </a:cubicBezTo>
                  <a:cubicBezTo>
                    <a:pt x="483" y="30"/>
                    <a:pt x="485" y="29"/>
                    <a:pt x="487" y="28"/>
                  </a:cubicBezTo>
                  <a:cubicBezTo>
                    <a:pt x="490" y="27"/>
                    <a:pt x="493" y="26"/>
                    <a:pt x="496" y="26"/>
                  </a:cubicBezTo>
                  <a:cubicBezTo>
                    <a:pt x="498" y="26"/>
                    <a:pt x="499" y="26"/>
                    <a:pt x="501" y="27"/>
                  </a:cubicBezTo>
                  <a:cubicBezTo>
                    <a:pt x="502" y="27"/>
                    <a:pt x="504" y="27"/>
                    <a:pt x="505" y="28"/>
                  </a:cubicBezTo>
                  <a:cubicBezTo>
                    <a:pt x="506" y="28"/>
                    <a:pt x="507" y="28"/>
                    <a:pt x="508" y="29"/>
                  </a:cubicBezTo>
                  <a:cubicBezTo>
                    <a:pt x="509" y="29"/>
                    <a:pt x="510" y="30"/>
                    <a:pt x="510" y="30"/>
                  </a:cubicBezTo>
                  <a:cubicBezTo>
                    <a:pt x="510" y="30"/>
                    <a:pt x="511" y="31"/>
                    <a:pt x="511" y="31"/>
                  </a:cubicBezTo>
                  <a:cubicBezTo>
                    <a:pt x="511" y="31"/>
                    <a:pt x="511" y="31"/>
                    <a:pt x="511" y="32"/>
                  </a:cubicBezTo>
                  <a:cubicBezTo>
                    <a:pt x="511" y="32"/>
                    <a:pt x="511" y="32"/>
                    <a:pt x="511" y="33"/>
                  </a:cubicBezTo>
                  <a:cubicBezTo>
                    <a:pt x="511" y="33"/>
                    <a:pt x="512" y="34"/>
                    <a:pt x="512" y="34"/>
                  </a:cubicBezTo>
                  <a:cubicBezTo>
                    <a:pt x="512" y="35"/>
                    <a:pt x="511" y="36"/>
                    <a:pt x="511" y="36"/>
                  </a:cubicBezTo>
                  <a:cubicBezTo>
                    <a:pt x="511" y="37"/>
                    <a:pt x="511" y="37"/>
                    <a:pt x="511" y="38"/>
                  </a:cubicBezTo>
                  <a:cubicBezTo>
                    <a:pt x="511" y="38"/>
                    <a:pt x="511" y="38"/>
                    <a:pt x="511" y="38"/>
                  </a:cubicBezTo>
                  <a:cubicBezTo>
                    <a:pt x="510" y="38"/>
                    <a:pt x="510" y="39"/>
                    <a:pt x="510" y="39"/>
                  </a:cubicBezTo>
                  <a:cubicBezTo>
                    <a:pt x="510" y="39"/>
                    <a:pt x="509" y="38"/>
                    <a:pt x="508" y="38"/>
                  </a:cubicBezTo>
                  <a:cubicBezTo>
                    <a:pt x="508" y="37"/>
                    <a:pt x="507" y="37"/>
                    <a:pt x="506" y="36"/>
                  </a:cubicBezTo>
                  <a:cubicBezTo>
                    <a:pt x="504" y="36"/>
                    <a:pt x="503" y="35"/>
                    <a:pt x="502" y="35"/>
                  </a:cubicBezTo>
                  <a:cubicBezTo>
                    <a:pt x="500" y="34"/>
                    <a:pt x="498" y="34"/>
                    <a:pt x="496" y="34"/>
                  </a:cubicBezTo>
                  <a:cubicBezTo>
                    <a:pt x="495" y="34"/>
                    <a:pt x="493" y="34"/>
                    <a:pt x="492" y="35"/>
                  </a:cubicBezTo>
                  <a:cubicBezTo>
                    <a:pt x="490" y="35"/>
                    <a:pt x="489" y="36"/>
                    <a:pt x="488" y="37"/>
                  </a:cubicBezTo>
                  <a:cubicBezTo>
                    <a:pt x="488" y="37"/>
                    <a:pt x="487" y="38"/>
                    <a:pt x="486" y="39"/>
                  </a:cubicBezTo>
                  <a:cubicBezTo>
                    <a:pt x="486" y="40"/>
                    <a:pt x="486" y="41"/>
                    <a:pt x="486" y="42"/>
                  </a:cubicBezTo>
                  <a:cubicBezTo>
                    <a:pt x="486" y="44"/>
                    <a:pt x="486" y="45"/>
                    <a:pt x="487" y="46"/>
                  </a:cubicBezTo>
                  <a:cubicBezTo>
                    <a:pt x="488" y="48"/>
                    <a:pt x="489" y="49"/>
                    <a:pt x="490" y="49"/>
                  </a:cubicBezTo>
                  <a:cubicBezTo>
                    <a:pt x="492" y="50"/>
                    <a:pt x="493" y="51"/>
                    <a:pt x="495" y="52"/>
                  </a:cubicBezTo>
                  <a:cubicBezTo>
                    <a:pt x="497" y="52"/>
                    <a:pt x="498" y="53"/>
                    <a:pt x="500" y="54"/>
                  </a:cubicBezTo>
                  <a:cubicBezTo>
                    <a:pt x="502" y="54"/>
                    <a:pt x="504" y="55"/>
                    <a:pt x="505" y="56"/>
                  </a:cubicBezTo>
                  <a:cubicBezTo>
                    <a:pt x="507" y="57"/>
                    <a:pt x="509" y="58"/>
                    <a:pt x="510" y="59"/>
                  </a:cubicBezTo>
                  <a:cubicBezTo>
                    <a:pt x="511" y="60"/>
                    <a:pt x="512" y="62"/>
                    <a:pt x="513" y="64"/>
                  </a:cubicBezTo>
                  <a:cubicBezTo>
                    <a:pt x="514" y="65"/>
                    <a:pt x="514" y="68"/>
                    <a:pt x="514" y="70"/>
                  </a:cubicBezTo>
                  <a:close/>
                  <a:moveTo>
                    <a:pt x="575" y="55"/>
                  </a:moveTo>
                  <a:cubicBezTo>
                    <a:pt x="575" y="56"/>
                    <a:pt x="575" y="58"/>
                    <a:pt x="574" y="58"/>
                  </a:cubicBezTo>
                  <a:cubicBezTo>
                    <a:pt x="573" y="59"/>
                    <a:pt x="572" y="59"/>
                    <a:pt x="571" y="59"/>
                  </a:cubicBezTo>
                  <a:lnTo>
                    <a:pt x="534" y="59"/>
                  </a:lnTo>
                  <a:cubicBezTo>
                    <a:pt x="534" y="62"/>
                    <a:pt x="534" y="65"/>
                    <a:pt x="535" y="68"/>
                  </a:cubicBezTo>
                  <a:cubicBezTo>
                    <a:pt x="536" y="70"/>
                    <a:pt x="537" y="72"/>
                    <a:pt x="538" y="74"/>
                  </a:cubicBezTo>
                  <a:cubicBezTo>
                    <a:pt x="540" y="76"/>
                    <a:pt x="541" y="77"/>
                    <a:pt x="544" y="78"/>
                  </a:cubicBezTo>
                  <a:cubicBezTo>
                    <a:pt x="546" y="79"/>
                    <a:pt x="549" y="80"/>
                    <a:pt x="552" y="80"/>
                  </a:cubicBezTo>
                  <a:cubicBezTo>
                    <a:pt x="555" y="80"/>
                    <a:pt x="557" y="79"/>
                    <a:pt x="560" y="79"/>
                  </a:cubicBezTo>
                  <a:cubicBezTo>
                    <a:pt x="562" y="79"/>
                    <a:pt x="563" y="78"/>
                    <a:pt x="565" y="78"/>
                  </a:cubicBezTo>
                  <a:cubicBezTo>
                    <a:pt x="567" y="77"/>
                    <a:pt x="568" y="77"/>
                    <a:pt x="569" y="76"/>
                  </a:cubicBezTo>
                  <a:cubicBezTo>
                    <a:pt x="570" y="76"/>
                    <a:pt x="570" y="75"/>
                    <a:pt x="571" y="75"/>
                  </a:cubicBezTo>
                  <a:cubicBezTo>
                    <a:pt x="571" y="75"/>
                    <a:pt x="572" y="75"/>
                    <a:pt x="572" y="76"/>
                  </a:cubicBezTo>
                  <a:cubicBezTo>
                    <a:pt x="572" y="76"/>
                    <a:pt x="572" y="76"/>
                    <a:pt x="572" y="76"/>
                  </a:cubicBezTo>
                  <a:cubicBezTo>
                    <a:pt x="572" y="77"/>
                    <a:pt x="573" y="77"/>
                    <a:pt x="573" y="78"/>
                  </a:cubicBezTo>
                  <a:cubicBezTo>
                    <a:pt x="573" y="78"/>
                    <a:pt x="573" y="79"/>
                    <a:pt x="573" y="79"/>
                  </a:cubicBezTo>
                  <a:cubicBezTo>
                    <a:pt x="573" y="80"/>
                    <a:pt x="573" y="80"/>
                    <a:pt x="573" y="81"/>
                  </a:cubicBezTo>
                  <a:cubicBezTo>
                    <a:pt x="573" y="81"/>
                    <a:pt x="573" y="82"/>
                    <a:pt x="572" y="82"/>
                  </a:cubicBezTo>
                  <a:cubicBezTo>
                    <a:pt x="572" y="82"/>
                    <a:pt x="572" y="82"/>
                    <a:pt x="572" y="83"/>
                  </a:cubicBezTo>
                  <a:cubicBezTo>
                    <a:pt x="572" y="83"/>
                    <a:pt x="572" y="83"/>
                    <a:pt x="572" y="83"/>
                  </a:cubicBezTo>
                  <a:cubicBezTo>
                    <a:pt x="571" y="84"/>
                    <a:pt x="571" y="84"/>
                    <a:pt x="570" y="85"/>
                  </a:cubicBezTo>
                  <a:cubicBezTo>
                    <a:pt x="568" y="85"/>
                    <a:pt x="567" y="86"/>
                    <a:pt x="565" y="86"/>
                  </a:cubicBezTo>
                  <a:cubicBezTo>
                    <a:pt x="563" y="87"/>
                    <a:pt x="561" y="87"/>
                    <a:pt x="559" y="87"/>
                  </a:cubicBezTo>
                  <a:cubicBezTo>
                    <a:pt x="557" y="88"/>
                    <a:pt x="554" y="88"/>
                    <a:pt x="551" y="88"/>
                  </a:cubicBezTo>
                  <a:cubicBezTo>
                    <a:pt x="547" y="88"/>
                    <a:pt x="543" y="87"/>
                    <a:pt x="539" y="86"/>
                  </a:cubicBezTo>
                  <a:cubicBezTo>
                    <a:pt x="536" y="85"/>
                    <a:pt x="533" y="83"/>
                    <a:pt x="531" y="80"/>
                  </a:cubicBezTo>
                  <a:cubicBezTo>
                    <a:pt x="528" y="78"/>
                    <a:pt x="526" y="75"/>
                    <a:pt x="525" y="71"/>
                  </a:cubicBezTo>
                  <a:cubicBezTo>
                    <a:pt x="524" y="67"/>
                    <a:pt x="523" y="63"/>
                    <a:pt x="523" y="57"/>
                  </a:cubicBezTo>
                  <a:cubicBezTo>
                    <a:pt x="523" y="53"/>
                    <a:pt x="524" y="48"/>
                    <a:pt x="525" y="44"/>
                  </a:cubicBezTo>
                  <a:cubicBezTo>
                    <a:pt x="526" y="41"/>
                    <a:pt x="528" y="37"/>
                    <a:pt x="531" y="35"/>
                  </a:cubicBezTo>
                  <a:cubicBezTo>
                    <a:pt x="533" y="32"/>
                    <a:pt x="536" y="30"/>
                    <a:pt x="539" y="28"/>
                  </a:cubicBezTo>
                  <a:cubicBezTo>
                    <a:pt x="542" y="27"/>
                    <a:pt x="546" y="26"/>
                    <a:pt x="550" y="26"/>
                  </a:cubicBezTo>
                  <a:cubicBezTo>
                    <a:pt x="555" y="26"/>
                    <a:pt x="558" y="27"/>
                    <a:pt x="562" y="28"/>
                  </a:cubicBezTo>
                  <a:cubicBezTo>
                    <a:pt x="565" y="30"/>
                    <a:pt x="567" y="32"/>
                    <a:pt x="569" y="34"/>
                  </a:cubicBezTo>
                  <a:cubicBezTo>
                    <a:pt x="571" y="36"/>
                    <a:pt x="573" y="39"/>
                    <a:pt x="574" y="43"/>
                  </a:cubicBezTo>
                  <a:cubicBezTo>
                    <a:pt x="575" y="46"/>
                    <a:pt x="575" y="49"/>
                    <a:pt x="575" y="53"/>
                  </a:cubicBezTo>
                  <a:lnTo>
                    <a:pt x="575" y="55"/>
                  </a:lnTo>
                  <a:close/>
                  <a:moveTo>
                    <a:pt x="565" y="52"/>
                  </a:moveTo>
                  <a:cubicBezTo>
                    <a:pt x="565" y="46"/>
                    <a:pt x="564" y="42"/>
                    <a:pt x="561" y="39"/>
                  </a:cubicBezTo>
                  <a:cubicBezTo>
                    <a:pt x="559" y="36"/>
                    <a:pt x="555" y="34"/>
                    <a:pt x="550" y="34"/>
                  </a:cubicBezTo>
                  <a:cubicBezTo>
                    <a:pt x="547" y="34"/>
                    <a:pt x="545" y="35"/>
                    <a:pt x="543" y="36"/>
                  </a:cubicBezTo>
                  <a:cubicBezTo>
                    <a:pt x="541" y="37"/>
                    <a:pt x="540" y="38"/>
                    <a:pt x="538" y="40"/>
                  </a:cubicBezTo>
                  <a:cubicBezTo>
                    <a:pt x="537" y="41"/>
                    <a:pt x="536" y="43"/>
                    <a:pt x="535" y="45"/>
                  </a:cubicBezTo>
                  <a:cubicBezTo>
                    <a:pt x="534" y="47"/>
                    <a:pt x="534" y="49"/>
                    <a:pt x="534" y="52"/>
                  </a:cubicBezTo>
                  <a:lnTo>
                    <a:pt x="565" y="52"/>
                  </a:lnTo>
                  <a:close/>
                  <a:moveTo>
                    <a:pt x="624" y="33"/>
                  </a:moveTo>
                  <a:cubicBezTo>
                    <a:pt x="624" y="34"/>
                    <a:pt x="624" y="34"/>
                    <a:pt x="624" y="35"/>
                  </a:cubicBezTo>
                  <a:cubicBezTo>
                    <a:pt x="624" y="36"/>
                    <a:pt x="624" y="36"/>
                    <a:pt x="624" y="37"/>
                  </a:cubicBezTo>
                  <a:cubicBezTo>
                    <a:pt x="624" y="37"/>
                    <a:pt x="623" y="37"/>
                    <a:pt x="623" y="37"/>
                  </a:cubicBezTo>
                  <a:cubicBezTo>
                    <a:pt x="623" y="38"/>
                    <a:pt x="623" y="38"/>
                    <a:pt x="622" y="38"/>
                  </a:cubicBezTo>
                  <a:cubicBezTo>
                    <a:pt x="622" y="38"/>
                    <a:pt x="622" y="38"/>
                    <a:pt x="621" y="37"/>
                  </a:cubicBezTo>
                  <a:cubicBezTo>
                    <a:pt x="621" y="37"/>
                    <a:pt x="620" y="37"/>
                    <a:pt x="620" y="37"/>
                  </a:cubicBezTo>
                  <a:cubicBezTo>
                    <a:pt x="619" y="37"/>
                    <a:pt x="618" y="36"/>
                    <a:pt x="618" y="36"/>
                  </a:cubicBezTo>
                  <a:cubicBezTo>
                    <a:pt x="617" y="36"/>
                    <a:pt x="616" y="36"/>
                    <a:pt x="615" y="36"/>
                  </a:cubicBezTo>
                  <a:cubicBezTo>
                    <a:pt x="614" y="36"/>
                    <a:pt x="613" y="36"/>
                    <a:pt x="612" y="37"/>
                  </a:cubicBezTo>
                  <a:cubicBezTo>
                    <a:pt x="611" y="37"/>
                    <a:pt x="610" y="38"/>
                    <a:pt x="609" y="39"/>
                  </a:cubicBezTo>
                  <a:cubicBezTo>
                    <a:pt x="608" y="40"/>
                    <a:pt x="607" y="41"/>
                    <a:pt x="605" y="42"/>
                  </a:cubicBezTo>
                  <a:cubicBezTo>
                    <a:pt x="604" y="44"/>
                    <a:pt x="603" y="46"/>
                    <a:pt x="601" y="48"/>
                  </a:cubicBezTo>
                  <a:lnTo>
                    <a:pt x="601" y="85"/>
                  </a:lnTo>
                  <a:cubicBezTo>
                    <a:pt x="601" y="86"/>
                    <a:pt x="601" y="86"/>
                    <a:pt x="601" y="86"/>
                  </a:cubicBezTo>
                  <a:cubicBezTo>
                    <a:pt x="601" y="86"/>
                    <a:pt x="601" y="87"/>
                    <a:pt x="600" y="87"/>
                  </a:cubicBezTo>
                  <a:cubicBezTo>
                    <a:pt x="600" y="87"/>
                    <a:pt x="599" y="87"/>
                    <a:pt x="599" y="87"/>
                  </a:cubicBezTo>
                  <a:cubicBezTo>
                    <a:pt x="598" y="87"/>
                    <a:pt x="597" y="87"/>
                    <a:pt x="596" y="87"/>
                  </a:cubicBezTo>
                  <a:cubicBezTo>
                    <a:pt x="595" y="87"/>
                    <a:pt x="594" y="87"/>
                    <a:pt x="594" y="87"/>
                  </a:cubicBezTo>
                  <a:cubicBezTo>
                    <a:pt x="593" y="87"/>
                    <a:pt x="593" y="87"/>
                    <a:pt x="592" y="87"/>
                  </a:cubicBezTo>
                  <a:cubicBezTo>
                    <a:pt x="592" y="87"/>
                    <a:pt x="591" y="86"/>
                    <a:pt x="591" y="86"/>
                  </a:cubicBezTo>
                  <a:cubicBezTo>
                    <a:pt x="591" y="86"/>
                    <a:pt x="591" y="86"/>
                    <a:pt x="591" y="85"/>
                  </a:cubicBezTo>
                  <a:lnTo>
                    <a:pt x="591" y="29"/>
                  </a:lnTo>
                  <a:cubicBezTo>
                    <a:pt x="591" y="29"/>
                    <a:pt x="591" y="28"/>
                    <a:pt x="591" y="28"/>
                  </a:cubicBezTo>
                  <a:cubicBezTo>
                    <a:pt x="591" y="28"/>
                    <a:pt x="592" y="28"/>
                    <a:pt x="592" y="28"/>
                  </a:cubicBezTo>
                  <a:cubicBezTo>
                    <a:pt x="592" y="27"/>
                    <a:pt x="593" y="27"/>
                    <a:pt x="593" y="27"/>
                  </a:cubicBezTo>
                  <a:cubicBezTo>
                    <a:pt x="594" y="27"/>
                    <a:pt x="595" y="27"/>
                    <a:pt x="596" y="27"/>
                  </a:cubicBezTo>
                  <a:cubicBezTo>
                    <a:pt x="597" y="27"/>
                    <a:pt x="597" y="27"/>
                    <a:pt x="598" y="27"/>
                  </a:cubicBezTo>
                  <a:cubicBezTo>
                    <a:pt x="599" y="27"/>
                    <a:pt x="599" y="27"/>
                    <a:pt x="599" y="28"/>
                  </a:cubicBezTo>
                  <a:cubicBezTo>
                    <a:pt x="600" y="28"/>
                    <a:pt x="600" y="28"/>
                    <a:pt x="600" y="28"/>
                  </a:cubicBezTo>
                  <a:cubicBezTo>
                    <a:pt x="600" y="28"/>
                    <a:pt x="600" y="29"/>
                    <a:pt x="600" y="29"/>
                  </a:cubicBezTo>
                  <a:lnTo>
                    <a:pt x="600" y="37"/>
                  </a:lnTo>
                  <a:cubicBezTo>
                    <a:pt x="602" y="35"/>
                    <a:pt x="603" y="33"/>
                    <a:pt x="605" y="32"/>
                  </a:cubicBezTo>
                  <a:cubicBezTo>
                    <a:pt x="606" y="30"/>
                    <a:pt x="607" y="29"/>
                    <a:pt x="609" y="28"/>
                  </a:cubicBezTo>
                  <a:cubicBezTo>
                    <a:pt x="610" y="28"/>
                    <a:pt x="611" y="27"/>
                    <a:pt x="612" y="27"/>
                  </a:cubicBezTo>
                  <a:cubicBezTo>
                    <a:pt x="613" y="26"/>
                    <a:pt x="615" y="26"/>
                    <a:pt x="616" y="26"/>
                  </a:cubicBezTo>
                  <a:cubicBezTo>
                    <a:pt x="616" y="26"/>
                    <a:pt x="617" y="26"/>
                    <a:pt x="618" y="26"/>
                  </a:cubicBezTo>
                  <a:cubicBezTo>
                    <a:pt x="618" y="26"/>
                    <a:pt x="619" y="27"/>
                    <a:pt x="620" y="27"/>
                  </a:cubicBezTo>
                  <a:cubicBezTo>
                    <a:pt x="621" y="27"/>
                    <a:pt x="621" y="27"/>
                    <a:pt x="622" y="27"/>
                  </a:cubicBezTo>
                  <a:cubicBezTo>
                    <a:pt x="622" y="27"/>
                    <a:pt x="623" y="28"/>
                    <a:pt x="623" y="28"/>
                  </a:cubicBezTo>
                  <a:cubicBezTo>
                    <a:pt x="623" y="28"/>
                    <a:pt x="623" y="28"/>
                    <a:pt x="624" y="28"/>
                  </a:cubicBezTo>
                  <a:cubicBezTo>
                    <a:pt x="624" y="29"/>
                    <a:pt x="624" y="29"/>
                    <a:pt x="624" y="29"/>
                  </a:cubicBezTo>
                  <a:cubicBezTo>
                    <a:pt x="624" y="29"/>
                    <a:pt x="624" y="30"/>
                    <a:pt x="624" y="30"/>
                  </a:cubicBezTo>
                  <a:cubicBezTo>
                    <a:pt x="624" y="31"/>
                    <a:pt x="624" y="32"/>
                    <a:pt x="624" y="33"/>
                  </a:cubicBezTo>
                  <a:close/>
                  <a:moveTo>
                    <a:pt x="726" y="75"/>
                  </a:moveTo>
                  <a:cubicBezTo>
                    <a:pt x="726" y="76"/>
                    <a:pt x="726" y="77"/>
                    <a:pt x="726" y="77"/>
                  </a:cubicBezTo>
                  <a:cubicBezTo>
                    <a:pt x="726" y="78"/>
                    <a:pt x="726" y="78"/>
                    <a:pt x="726" y="78"/>
                  </a:cubicBezTo>
                  <a:cubicBezTo>
                    <a:pt x="726" y="79"/>
                    <a:pt x="726" y="79"/>
                    <a:pt x="726" y="79"/>
                  </a:cubicBezTo>
                  <a:cubicBezTo>
                    <a:pt x="725" y="80"/>
                    <a:pt x="725" y="80"/>
                    <a:pt x="725" y="81"/>
                  </a:cubicBezTo>
                  <a:cubicBezTo>
                    <a:pt x="724" y="81"/>
                    <a:pt x="723" y="82"/>
                    <a:pt x="722" y="82"/>
                  </a:cubicBezTo>
                  <a:cubicBezTo>
                    <a:pt x="721" y="83"/>
                    <a:pt x="719" y="84"/>
                    <a:pt x="717" y="85"/>
                  </a:cubicBezTo>
                  <a:cubicBezTo>
                    <a:pt x="715" y="86"/>
                    <a:pt x="713" y="86"/>
                    <a:pt x="710" y="87"/>
                  </a:cubicBezTo>
                  <a:cubicBezTo>
                    <a:pt x="708" y="88"/>
                    <a:pt x="705" y="88"/>
                    <a:pt x="702" y="88"/>
                  </a:cubicBezTo>
                  <a:cubicBezTo>
                    <a:pt x="697" y="88"/>
                    <a:pt x="692" y="87"/>
                    <a:pt x="688" y="85"/>
                  </a:cubicBezTo>
                  <a:cubicBezTo>
                    <a:pt x="683" y="83"/>
                    <a:pt x="680" y="81"/>
                    <a:pt x="677" y="77"/>
                  </a:cubicBezTo>
                  <a:cubicBezTo>
                    <a:pt x="674" y="74"/>
                    <a:pt x="672" y="70"/>
                    <a:pt x="670" y="65"/>
                  </a:cubicBezTo>
                  <a:cubicBezTo>
                    <a:pt x="668" y="60"/>
                    <a:pt x="668" y="54"/>
                    <a:pt x="668" y="47"/>
                  </a:cubicBezTo>
                  <a:cubicBezTo>
                    <a:pt x="668" y="41"/>
                    <a:pt x="668" y="35"/>
                    <a:pt x="670" y="30"/>
                  </a:cubicBezTo>
                  <a:cubicBezTo>
                    <a:pt x="672" y="24"/>
                    <a:pt x="674" y="20"/>
                    <a:pt x="677" y="16"/>
                  </a:cubicBezTo>
                  <a:cubicBezTo>
                    <a:pt x="681" y="13"/>
                    <a:pt x="684" y="10"/>
                    <a:pt x="689" y="8"/>
                  </a:cubicBezTo>
                  <a:cubicBezTo>
                    <a:pt x="693" y="6"/>
                    <a:pt x="698" y="5"/>
                    <a:pt x="703" y="5"/>
                  </a:cubicBezTo>
                  <a:cubicBezTo>
                    <a:pt x="705" y="5"/>
                    <a:pt x="708" y="5"/>
                    <a:pt x="710" y="6"/>
                  </a:cubicBezTo>
                  <a:cubicBezTo>
                    <a:pt x="712" y="6"/>
                    <a:pt x="714" y="7"/>
                    <a:pt x="716" y="7"/>
                  </a:cubicBezTo>
                  <a:cubicBezTo>
                    <a:pt x="718" y="8"/>
                    <a:pt x="720" y="9"/>
                    <a:pt x="721" y="10"/>
                  </a:cubicBezTo>
                  <a:cubicBezTo>
                    <a:pt x="723" y="10"/>
                    <a:pt x="724" y="11"/>
                    <a:pt x="724" y="12"/>
                  </a:cubicBezTo>
                  <a:cubicBezTo>
                    <a:pt x="725" y="12"/>
                    <a:pt x="725" y="13"/>
                    <a:pt x="725" y="13"/>
                  </a:cubicBezTo>
                  <a:cubicBezTo>
                    <a:pt x="725" y="13"/>
                    <a:pt x="725" y="14"/>
                    <a:pt x="726" y="14"/>
                  </a:cubicBezTo>
                  <a:cubicBezTo>
                    <a:pt x="726" y="14"/>
                    <a:pt x="726" y="15"/>
                    <a:pt x="726" y="15"/>
                  </a:cubicBezTo>
                  <a:cubicBezTo>
                    <a:pt x="726" y="16"/>
                    <a:pt x="726" y="17"/>
                    <a:pt x="726" y="17"/>
                  </a:cubicBezTo>
                  <a:cubicBezTo>
                    <a:pt x="726" y="18"/>
                    <a:pt x="726" y="19"/>
                    <a:pt x="726" y="20"/>
                  </a:cubicBezTo>
                  <a:cubicBezTo>
                    <a:pt x="726" y="20"/>
                    <a:pt x="726" y="21"/>
                    <a:pt x="725" y="21"/>
                  </a:cubicBezTo>
                  <a:cubicBezTo>
                    <a:pt x="725" y="21"/>
                    <a:pt x="725" y="22"/>
                    <a:pt x="725" y="22"/>
                  </a:cubicBezTo>
                  <a:cubicBezTo>
                    <a:pt x="725" y="22"/>
                    <a:pt x="724" y="22"/>
                    <a:pt x="724" y="22"/>
                  </a:cubicBezTo>
                  <a:cubicBezTo>
                    <a:pt x="723" y="22"/>
                    <a:pt x="723" y="22"/>
                    <a:pt x="722" y="21"/>
                  </a:cubicBezTo>
                  <a:cubicBezTo>
                    <a:pt x="721" y="20"/>
                    <a:pt x="719" y="19"/>
                    <a:pt x="717" y="18"/>
                  </a:cubicBezTo>
                  <a:cubicBezTo>
                    <a:pt x="716" y="17"/>
                    <a:pt x="714" y="16"/>
                    <a:pt x="711" y="16"/>
                  </a:cubicBezTo>
                  <a:cubicBezTo>
                    <a:pt x="709" y="15"/>
                    <a:pt x="706" y="14"/>
                    <a:pt x="703" y="14"/>
                  </a:cubicBezTo>
                  <a:cubicBezTo>
                    <a:pt x="699" y="14"/>
                    <a:pt x="696" y="15"/>
                    <a:pt x="693" y="17"/>
                  </a:cubicBezTo>
                  <a:cubicBezTo>
                    <a:pt x="690" y="18"/>
                    <a:pt x="688" y="20"/>
                    <a:pt x="686" y="23"/>
                  </a:cubicBezTo>
                  <a:cubicBezTo>
                    <a:pt x="683" y="26"/>
                    <a:pt x="682" y="29"/>
                    <a:pt x="681" y="33"/>
                  </a:cubicBezTo>
                  <a:cubicBezTo>
                    <a:pt x="680" y="37"/>
                    <a:pt x="679" y="42"/>
                    <a:pt x="679" y="47"/>
                  </a:cubicBezTo>
                  <a:cubicBezTo>
                    <a:pt x="679" y="52"/>
                    <a:pt x="680" y="57"/>
                    <a:pt x="681" y="60"/>
                  </a:cubicBezTo>
                  <a:cubicBezTo>
                    <a:pt x="682" y="64"/>
                    <a:pt x="683" y="68"/>
                    <a:pt x="685" y="70"/>
                  </a:cubicBezTo>
                  <a:cubicBezTo>
                    <a:pt x="687" y="73"/>
                    <a:pt x="690" y="75"/>
                    <a:pt x="693" y="76"/>
                  </a:cubicBezTo>
                  <a:cubicBezTo>
                    <a:pt x="696" y="78"/>
                    <a:pt x="699" y="78"/>
                    <a:pt x="703" y="78"/>
                  </a:cubicBezTo>
                  <a:cubicBezTo>
                    <a:pt x="706" y="78"/>
                    <a:pt x="709" y="78"/>
                    <a:pt x="712" y="77"/>
                  </a:cubicBezTo>
                  <a:cubicBezTo>
                    <a:pt x="714" y="76"/>
                    <a:pt x="716" y="75"/>
                    <a:pt x="718" y="75"/>
                  </a:cubicBezTo>
                  <a:cubicBezTo>
                    <a:pt x="720" y="74"/>
                    <a:pt x="721" y="73"/>
                    <a:pt x="722" y="72"/>
                  </a:cubicBezTo>
                  <a:cubicBezTo>
                    <a:pt x="723" y="71"/>
                    <a:pt x="724" y="71"/>
                    <a:pt x="725" y="71"/>
                  </a:cubicBezTo>
                  <a:cubicBezTo>
                    <a:pt x="725" y="71"/>
                    <a:pt x="725" y="71"/>
                    <a:pt x="725" y="71"/>
                  </a:cubicBezTo>
                  <a:cubicBezTo>
                    <a:pt x="726" y="71"/>
                    <a:pt x="726" y="71"/>
                    <a:pt x="726" y="72"/>
                  </a:cubicBezTo>
                  <a:cubicBezTo>
                    <a:pt x="726" y="72"/>
                    <a:pt x="726" y="72"/>
                    <a:pt x="726" y="73"/>
                  </a:cubicBezTo>
                  <a:cubicBezTo>
                    <a:pt x="726" y="74"/>
                    <a:pt x="726" y="74"/>
                    <a:pt x="726" y="75"/>
                  </a:cubicBezTo>
                  <a:close/>
                  <a:moveTo>
                    <a:pt x="784" y="85"/>
                  </a:moveTo>
                  <a:cubicBezTo>
                    <a:pt x="784" y="86"/>
                    <a:pt x="783" y="86"/>
                    <a:pt x="783" y="86"/>
                  </a:cubicBezTo>
                  <a:cubicBezTo>
                    <a:pt x="783" y="86"/>
                    <a:pt x="783" y="87"/>
                    <a:pt x="782" y="87"/>
                  </a:cubicBezTo>
                  <a:cubicBezTo>
                    <a:pt x="782" y="87"/>
                    <a:pt x="782" y="87"/>
                    <a:pt x="781" y="87"/>
                  </a:cubicBezTo>
                  <a:cubicBezTo>
                    <a:pt x="780" y="87"/>
                    <a:pt x="779" y="87"/>
                    <a:pt x="778" y="87"/>
                  </a:cubicBezTo>
                  <a:cubicBezTo>
                    <a:pt x="777" y="87"/>
                    <a:pt x="776" y="87"/>
                    <a:pt x="776" y="87"/>
                  </a:cubicBezTo>
                  <a:cubicBezTo>
                    <a:pt x="775" y="87"/>
                    <a:pt x="775" y="87"/>
                    <a:pt x="774" y="87"/>
                  </a:cubicBezTo>
                  <a:cubicBezTo>
                    <a:pt x="774" y="87"/>
                    <a:pt x="774" y="86"/>
                    <a:pt x="773" y="86"/>
                  </a:cubicBezTo>
                  <a:cubicBezTo>
                    <a:pt x="773" y="86"/>
                    <a:pt x="773" y="86"/>
                    <a:pt x="773" y="85"/>
                  </a:cubicBezTo>
                  <a:lnTo>
                    <a:pt x="773" y="52"/>
                  </a:lnTo>
                  <a:cubicBezTo>
                    <a:pt x="773" y="49"/>
                    <a:pt x="773" y="47"/>
                    <a:pt x="772" y="45"/>
                  </a:cubicBezTo>
                  <a:cubicBezTo>
                    <a:pt x="772" y="43"/>
                    <a:pt x="771" y="41"/>
                    <a:pt x="770" y="40"/>
                  </a:cubicBezTo>
                  <a:cubicBezTo>
                    <a:pt x="769" y="38"/>
                    <a:pt x="768" y="37"/>
                    <a:pt x="767" y="36"/>
                  </a:cubicBezTo>
                  <a:cubicBezTo>
                    <a:pt x="765" y="36"/>
                    <a:pt x="763" y="35"/>
                    <a:pt x="761" y="35"/>
                  </a:cubicBezTo>
                  <a:cubicBezTo>
                    <a:pt x="759" y="35"/>
                    <a:pt x="756" y="36"/>
                    <a:pt x="754" y="38"/>
                  </a:cubicBezTo>
                  <a:cubicBezTo>
                    <a:pt x="751" y="40"/>
                    <a:pt x="748" y="42"/>
                    <a:pt x="745" y="46"/>
                  </a:cubicBezTo>
                  <a:lnTo>
                    <a:pt x="745" y="85"/>
                  </a:lnTo>
                  <a:cubicBezTo>
                    <a:pt x="745" y="86"/>
                    <a:pt x="745" y="86"/>
                    <a:pt x="745" y="86"/>
                  </a:cubicBezTo>
                  <a:cubicBezTo>
                    <a:pt x="745" y="86"/>
                    <a:pt x="745" y="87"/>
                    <a:pt x="744" y="87"/>
                  </a:cubicBezTo>
                  <a:cubicBezTo>
                    <a:pt x="744" y="87"/>
                    <a:pt x="743" y="87"/>
                    <a:pt x="743" y="87"/>
                  </a:cubicBezTo>
                  <a:cubicBezTo>
                    <a:pt x="742" y="87"/>
                    <a:pt x="741" y="87"/>
                    <a:pt x="740" y="87"/>
                  </a:cubicBezTo>
                  <a:cubicBezTo>
                    <a:pt x="739" y="87"/>
                    <a:pt x="738" y="87"/>
                    <a:pt x="738" y="87"/>
                  </a:cubicBezTo>
                  <a:cubicBezTo>
                    <a:pt x="737" y="87"/>
                    <a:pt x="737" y="87"/>
                    <a:pt x="736" y="87"/>
                  </a:cubicBezTo>
                  <a:cubicBezTo>
                    <a:pt x="736" y="87"/>
                    <a:pt x="735" y="86"/>
                    <a:pt x="735" y="86"/>
                  </a:cubicBezTo>
                  <a:cubicBezTo>
                    <a:pt x="735" y="86"/>
                    <a:pt x="735" y="86"/>
                    <a:pt x="735" y="85"/>
                  </a:cubicBezTo>
                  <a:lnTo>
                    <a:pt x="735" y="2"/>
                  </a:lnTo>
                  <a:cubicBezTo>
                    <a:pt x="735" y="1"/>
                    <a:pt x="735" y="1"/>
                    <a:pt x="735" y="1"/>
                  </a:cubicBezTo>
                  <a:cubicBezTo>
                    <a:pt x="735" y="1"/>
                    <a:pt x="736" y="0"/>
                    <a:pt x="736" y="0"/>
                  </a:cubicBezTo>
                  <a:cubicBezTo>
                    <a:pt x="737" y="0"/>
                    <a:pt x="737" y="0"/>
                    <a:pt x="738" y="0"/>
                  </a:cubicBezTo>
                  <a:cubicBezTo>
                    <a:pt x="738" y="0"/>
                    <a:pt x="739" y="0"/>
                    <a:pt x="740" y="0"/>
                  </a:cubicBezTo>
                  <a:cubicBezTo>
                    <a:pt x="741" y="0"/>
                    <a:pt x="742" y="0"/>
                    <a:pt x="743" y="0"/>
                  </a:cubicBezTo>
                  <a:cubicBezTo>
                    <a:pt x="743" y="0"/>
                    <a:pt x="744" y="0"/>
                    <a:pt x="744" y="0"/>
                  </a:cubicBezTo>
                  <a:cubicBezTo>
                    <a:pt x="745" y="0"/>
                    <a:pt x="745" y="1"/>
                    <a:pt x="745" y="1"/>
                  </a:cubicBezTo>
                  <a:cubicBezTo>
                    <a:pt x="745" y="1"/>
                    <a:pt x="745" y="1"/>
                    <a:pt x="745" y="2"/>
                  </a:cubicBezTo>
                  <a:lnTo>
                    <a:pt x="745" y="35"/>
                  </a:lnTo>
                  <a:cubicBezTo>
                    <a:pt x="748" y="32"/>
                    <a:pt x="751" y="30"/>
                    <a:pt x="754" y="29"/>
                  </a:cubicBezTo>
                  <a:cubicBezTo>
                    <a:pt x="757" y="27"/>
                    <a:pt x="760" y="26"/>
                    <a:pt x="763" y="26"/>
                  </a:cubicBezTo>
                  <a:cubicBezTo>
                    <a:pt x="767" y="26"/>
                    <a:pt x="770" y="27"/>
                    <a:pt x="773" y="28"/>
                  </a:cubicBezTo>
                  <a:cubicBezTo>
                    <a:pt x="775" y="29"/>
                    <a:pt x="777" y="31"/>
                    <a:pt x="779" y="33"/>
                  </a:cubicBezTo>
                  <a:cubicBezTo>
                    <a:pt x="781" y="35"/>
                    <a:pt x="782" y="38"/>
                    <a:pt x="782" y="41"/>
                  </a:cubicBezTo>
                  <a:cubicBezTo>
                    <a:pt x="783" y="44"/>
                    <a:pt x="784" y="47"/>
                    <a:pt x="784" y="51"/>
                  </a:cubicBezTo>
                  <a:lnTo>
                    <a:pt x="784" y="85"/>
                  </a:lnTo>
                  <a:close/>
                  <a:moveTo>
                    <a:pt x="847" y="55"/>
                  </a:moveTo>
                  <a:cubicBezTo>
                    <a:pt x="847" y="56"/>
                    <a:pt x="847" y="58"/>
                    <a:pt x="846" y="58"/>
                  </a:cubicBezTo>
                  <a:cubicBezTo>
                    <a:pt x="845" y="59"/>
                    <a:pt x="844" y="59"/>
                    <a:pt x="843" y="59"/>
                  </a:cubicBezTo>
                  <a:lnTo>
                    <a:pt x="806" y="59"/>
                  </a:lnTo>
                  <a:cubicBezTo>
                    <a:pt x="806" y="62"/>
                    <a:pt x="806" y="65"/>
                    <a:pt x="807" y="68"/>
                  </a:cubicBezTo>
                  <a:cubicBezTo>
                    <a:pt x="808" y="70"/>
                    <a:pt x="809" y="72"/>
                    <a:pt x="810" y="74"/>
                  </a:cubicBezTo>
                  <a:cubicBezTo>
                    <a:pt x="812" y="76"/>
                    <a:pt x="813" y="77"/>
                    <a:pt x="816" y="78"/>
                  </a:cubicBezTo>
                  <a:cubicBezTo>
                    <a:pt x="818" y="79"/>
                    <a:pt x="821" y="80"/>
                    <a:pt x="824" y="80"/>
                  </a:cubicBezTo>
                  <a:cubicBezTo>
                    <a:pt x="827" y="80"/>
                    <a:pt x="829" y="79"/>
                    <a:pt x="832" y="79"/>
                  </a:cubicBezTo>
                  <a:cubicBezTo>
                    <a:pt x="834" y="79"/>
                    <a:pt x="835" y="78"/>
                    <a:pt x="837" y="78"/>
                  </a:cubicBezTo>
                  <a:cubicBezTo>
                    <a:pt x="839" y="77"/>
                    <a:pt x="840" y="77"/>
                    <a:pt x="841" y="76"/>
                  </a:cubicBezTo>
                  <a:cubicBezTo>
                    <a:pt x="842" y="76"/>
                    <a:pt x="842" y="75"/>
                    <a:pt x="843" y="75"/>
                  </a:cubicBezTo>
                  <a:cubicBezTo>
                    <a:pt x="843" y="75"/>
                    <a:pt x="844" y="75"/>
                    <a:pt x="844" y="76"/>
                  </a:cubicBezTo>
                  <a:cubicBezTo>
                    <a:pt x="844" y="76"/>
                    <a:pt x="844" y="76"/>
                    <a:pt x="844" y="76"/>
                  </a:cubicBezTo>
                  <a:cubicBezTo>
                    <a:pt x="844" y="77"/>
                    <a:pt x="845" y="77"/>
                    <a:pt x="845" y="78"/>
                  </a:cubicBezTo>
                  <a:cubicBezTo>
                    <a:pt x="845" y="78"/>
                    <a:pt x="845" y="79"/>
                    <a:pt x="845" y="79"/>
                  </a:cubicBezTo>
                  <a:cubicBezTo>
                    <a:pt x="845" y="80"/>
                    <a:pt x="845" y="80"/>
                    <a:pt x="845" y="81"/>
                  </a:cubicBezTo>
                  <a:cubicBezTo>
                    <a:pt x="845" y="81"/>
                    <a:pt x="845" y="82"/>
                    <a:pt x="844" y="82"/>
                  </a:cubicBezTo>
                  <a:cubicBezTo>
                    <a:pt x="844" y="82"/>
                    <a:pt x="844" y="82"/>
                    <a:pt x="844" y="83"/>
                  </a:cubicBezTo>
                  <a:cubicBezTo>
                    <a:pt x="844" y="83"/>
                    <a:pt x="844" y="83"/>
                    <a:pt x="844" y="83"/>
                  </a:cubicBezTo>
                  <a:cubicBezTo>
                    <a:pt x="843" y="84"/>
                    <a:pt x="843" y="84"/>
                    <a:pt x="842" y="85"/>
                  </a:cubicBezTo>
                  <a:cubicBezTo>
                    <a:pt x="840" y="85"/>
                    <a:pt x="839" y="86"/>
                    <a:pt x="837" y="86"/>
                  </a:cubicBezTo>
                  <a:cubicBezTo>
                    <a:pt x="835" y="87"/>
                    <a:pt x="833" y="87"/>
                    <a:pt x="831" y="87"/>
                  </a:cubicBezTo>
                  <a:cubicBezTo>
                    <a:pt x="829" y="88"/>
                    <a:pt x="826" y="88"/>
                    <a:pt x="823" y="88"/>
                  </a:cubicBezTo>
                  <a:cubicBezTo>
                    <a:pt x="819" y="88"/>
                    <a:pt x="815" y="87"/>
                    <a:pt x="811" y="86"/>
                  </a:cubicBezTo>
                  <a:cubicBezTo>
                    <a:pt x="808" y="85"/>
                    <a:pt x="805" y="83"/>
                    <a:pt x="803" y="80"/>
                  </a:cubicBezTo>
                  <a:cubicBezTo>
                    <a:pt x="800" y="78"/>
                    <a:pt x="798" y="75"/>
                    <a:pt x="797" y="71"/>
                  </a:cubicBezTo>
                  <a:cubicBezTo>
                    <a:pt x="796" y="67"/>
                    <a:pt x="795" y="63"/>
                    <a:pt x="795" y="57"/>
                  </a:cubicBezTo>
                  <a:cubicBezTo>
                    <a:pt x="795" y="53"/>
                    <a:pt x="796" y="48"/>
                    <a:pt x="797" y="44"/>
                  </a:cubicBezTo>
                  <a:cubicBezTo>
                    <a:pt x="798" y="41"/>
                    <a:pt x="800" y="37"/>
                    <a:pt x="803" y="35"/>
                  </a:cubicBezTo>
                  <a:cubicBezTo>
                    <a:pt x="805" y="32"/>
                    <a:pt x="808" y="30"/>
                    <a:pt x="811" y="28"/>
                  </a:cubicBezTo>
                  <a:cubicBezTo>
                    <a:pt x="814" y="27"/>
                    <a:pt x="818" y="26"/>
                    <a:pt x="822" y="26"/>
                  </a:cubicBezTo>
                  <a:cubicBezTo>
                    <a:pt x="827" y="26"/>
                    <a:pt x="830" y="27"/>
                    <a:pt x="834" y="28"/>
                  </a:cubicBezTo>
                  <a:cubicBezTo>
                    <a:pt x="837" y="30"/>
                    <a:pt x="839" y="32"/>
                    <a:pt x="841" y="34"/>
                  </a:cubicBezTo>
                  <a:cubicBezTo>
                    <a:pt x="843" y="36"/>
                    <a:pt x="845" y="39"/>
                    <a:pt x="846" y="43"/>
                  </a:cubicBezTo>
                  <a:cubicBezTo>
                    <a:pt x="847" y="46"/>
                    <a:pt x="847" y="49"/>
                    <a:pt x="847" y="53"/>
                  </a:cubicBezTo>
                  <a:lnTo>
                    <a:pt x="847" y="55"/>
                  </a:lnTo>
                  <a:close/>
                  <a:moveTo>
                    <a:pt x="837" y="52"/>
                  </a:moveTo>
                  <a:cubicBezTo>
                    <a:pt x="837" y="46"/>
                    <a:pt x="836" y="42"/>
                    <a:pt x="833" y="39"/>
                  </a:cubicBezTo>
                  <a:cubicBezTo>
                    <a:pt x="831" y="36"/>
                    <a:pt x="827" y="34"/>
                    <a:pt x="822" y="34"/>
                  </a:cubicBezTo>
                  <a:cubicBezTo>
                    <a:pt x="819" y="34"/>
                    <a:pt x="817" y="35"/>
                    <a:pt x="815" y="36"/>
                  </a:cubicBezTo>
                  <a:cubicBezTo>
                    <a:pt x="813" y="37"/>
                    <a:pt x="812" y="38"/>
                    <a:pt x="810" y="40"/>
                  </a:cubicBezTo>
                  <a:cubicBezTo>
                    <a:pt x="809" y="41"/>
                    <a:pt x="808" y="43"/>
                    <a:pt x="807" y="45"/>
                  </a:cubicBezTo>
                  <a:cubicBezTo>
                    <a:pt x="806" y="47"/>
                    <a:pt x="806" y="49"/>
                    <a:pt x="806" y="52"/>
                  </a:cubicBezTo>
                  <a:lnTo>
                    <a:pt x="837" y="52"/>
                  </a:lnTo>
                  <a:close/>
                  <a:moveTo>
                    <a:pt x="904" y="77"/>
                  </a:moveTo>
                  <a:cubicBezTo>
                    <a:pt x="904" y="77"/>
                    <a:pt x="903" y="78"/>
                    <a:pt x="903" y="79"/>
                  </a:cubicBezTo>
                  <a:cubicBezTo>
                    <a:pt x="903" y="79"/>
                    <a:pt x="903" y="80"/>
                    <a:pt x="903" y="80"/>
                  </a:cubicBezTo>
                  <a:cubicBezTo>
                    <a:pt x="903" y="80"/>
                    <a:pt x="903" y="81"/>
                    <a:pt x="903" y="81"/>
                  </a:cubicBezTo>
                  <a:cubicBezTo>
                    <a:pt x="903" y="81"/>
                    <a:pt x="902" y="81"/>
                    <a:pt x="902" y="82"/>
                  </a:cubicBezTo>
                  <a:cubicBezTo>
                    <a:pt x="901" y="83"/>
                    <a:pt x="900" y="83"/>
                    <a:pt x="899" y="84"/>
                  </a:cubicBezTo>
                  <a:cubicBezTo>
                    <a:pt x="898" y="85"/>
                    <a:pt x="897" y="85"/>
                    <a:pt x="895" y="86"/>
                  </a:cubicBezTo>
                  <a:cubicBezTo>
                    <a:pt x="893" y="87"/>
                    <a:pt x="892" y="87"/>
                    <a:pt x="890" y="87"/>
                  </a:cubicBezTo>
                  <a:cubicBezTo>
                    <a:pt x="888" y="88"/>
                    <a:pt x="886" y="88"/>
                    <a:pt x="884" y="88"/>
                  </a:cubicBezTo>
                  <a:cubicBezTo>
                    <a:pt x="880" y="88"/>
                    <a:pt x="877" y="87"/>
                    <a:pt x="873" y="86"/>
                  </a:cubicBezTo>
                  <a:cubicBezTo>
                    <a:pt x="870" y="85"/>
                    <a:pt x="868" y="83"/>
                    <a:pt x="866" y="80"/>
                  </a:cubicBezTo>
                  <a:cubicBezTo>
                    <a:pt x="864" y="78"/>
                    <a:pt x="862" y="74"/>
                    <a:pt x="861" y="71"/>
                  </a:cubicBezTo>
                  <a:cubicBezTo>
                    <a:pt x="860" y="67"/>
                    <a:pt x="859" y="63"/>
                    <a:pt x="859" y="58"/>
                  </a:cubicBezTo>
                  <a:cubicBezTo>
                    <a:pt x="859" y="52"/>
                    <a:pt x="860" y="48"/>
                    <a:pt x="861" y="44"/>
                  </a:cubicBezTo>
                  <a:cubicBezTo>
                    <a:pt x="863" y="40"/>
                    <a:pt x="864" y="36"/>
                    <a:pt x="867" y="34"/>
                  </a:cubicBezTo>
                  <a:cubicBezTo>
                    <a:pt x="869" y="31"/>
                    <a:pt x="872" y="29"/>
                    <a:pt x="875" y="28"/>
                  </a:cubicBezTo>
                  <a:cubicBezTo>
                    <a:pt x="878" y="27"/>
                    <a:pt x="882" y="26"/>
                    <a:pt x="885" y="26"/>
                  </a:cubicBezTo>
                  <a:cubicBezTo>
                    <a:pt x="887" y="26"/>
                    <a:pt x="889" y="26"/>
                    <a:pt x="891" y="27"/>
                  </a:cubicBezTo>
                  <a:cubicBezTo>
                    <a:pt x="892" y="27"/>
                    <a:pt x="894" y="28"/>
                    <a:pt x="895" y="28"/>
                  </a:cubicBezTo>
                  <a:cubicBezTo>
                    <a:pt x="897" y="29"/>
                    <a:pt x="898" y="29"/>
                    <a:pt x="899" y="30"/>
                  </a:cubicBezTo>
                  <a:cubicBezTo>
                    <a:pt x="900" y="31"/>
                    <a:pt x="901" y="31"/>
                    <a:pt x="901" y="32"/>
                  </a:cubicBezTo>
                  <a:cubicBezTo>
                    <a:pt x="902" y="32"/>
                    <a:pt x="902" y="33"/>
                    <a:pt x="902" y="33"/>
                  </a:cubicBezTo>
                  <a:cubicBezTo>
                    <a:pt x="903" y="33"/>
                    <a:pt x="903" y="34"/>
                    <a:pt x="903" y="34"/>
                  </a:cubicBezTo>
                  <a:cubicBezTo>
                    <a:pt x="903" y="34"/>
                    <a:pt x="903" y="35"/>
                    <a:pt x="903" y="35"/>
                  </a:cubicBezTo>
                  <a:cubicBezTo>
                    <a:pt x="903" y="36"/>
                    <a:pt x="903" y="36"/>
                    <a:pt x="903" y="37"/>
                  </a:cubicBezTo>
                  <a:cubicBezTo>
                    <a:pt x="903" y="39"/>
                    <a:pt x="903" y="40"/>
                    <a:pt x="903" y="41"/>
                  </a:cubicBezTo>
                  <a:cubicBezTo>
                    <a:pt x="902" y="41"/>
                    <a:pt x="902" y="42"/>
                    <a:pt x="901" y="42"/>
                  </a:cubicBezTo>
                  <a:cubicBezTo>
                    <a:pt x="901" y="42"/>
                    <a:pt x="900" y="41"/>
                    <a:pt x="899" y="41"/>
                  </a:cubicBezTo>
                  <a:cubicBezTo>
                    <a:pt x="898" y="40"/>
                    <a:pt x="897" y="39"/>
                    <a:pt x="896" y="38"/>
                  </a:cubicBezTo>
                  <a:cubicBezTo>
                    <a:pt x="895" y="37"/>
                    <a:pt x="893" y="37"/>
                    <a:pt x="892" y="36"/>
                  </a:cubicBezTo>
                  <a:cubicBezTo>
                    <a:pt x="890" y="35"/>
                    <a:pt x="888" y="35"/>
                    <a:pt x="885" y="35"/>
                  </a:cubicBezTo>
                  <a:cubicBezTo>
                    <a:pt x="880" y="35"/>
                    <a:pt x="876" y="37"/>
                    <a:pt x="874" y="41"/>
                  </a:cubicBezTo>
                  <a:cubicBezTo>
                    <a:pt x="871" y="45"/>
                    <a:pt x="870" y="50"/>
                    <a:pt x="870" y="57"/>
                  </a:cubicBezTo>
                  <a:cubicBezTo>
                    <a:pt x="870" y="61"/>
                    <a:pt x="870" y="64"/>
                    <a:pt x="871" y="67"/>
                  </a:cubicBezTo>
                  <a:cubicBezTo>
                    <a:pt x="872" y="70"/>
                    <a:pt x="873" y="72"/>
                    <a:pt x="874" y="74"/>
                  </a:cubicBezTo>
                  <a:cubicBezTo>
                    <a:pt x="875" y="76"/>
                    <a:pt x="877" y="77"/>
                    <a:pt x="879" y="78"/>
                  </a:cubicBezTo>
                  <a:cubicBezTo>
                    <a:pt x="881" y="79"/>
                    <a:pt x="883" y="79"/>
                    <a:pt x="886" y="79"/>
                  </a:cubicBezTo>
                  <a:cubicBezTo>
                    <a:pt x="888" y="79"/>
                    <a:pt x="890" y="79"/>
                    <a:pt x="892" y="78"/>
                  </a:cubicBezTo>
                  <a:cubicBezTo>
                    <a:pt x="894" y="77"/>
                    <a:pt x="895" y="76"/>
                    <a:pt x="896" y="76"/>
                  </a:cubicBezTo>
                  <a:cubicBezTo>
                    <a:pt x="898" y="75"/>
                    <a:pt x="899" y="74"/>
                    <a:pt x="900" y="73"/>
                  </a:cubicBezTo>
                  <a:cubicBezTo>
                    <a:pt x="901" y="72"/>
                    <a:pt x="901" y="72"/>
                    <a:pt x="902" y="72"/>
                  </a:cubicBezTo>
                  <a:cubicBezTo>
                    <a:pt x="902" y="72"/>
                    <a:pt x="902" y="72"/>
                    <a:pt x="903" y="72"/>
                  </a:cubicBezTo>
                  <a:cubicBezTo>
                    <a:pt x="903" y="72"/>
                    <a:pt x="903" y="73"/>
                    <a:pt x="903" y="73"/>
                  </a:cubicBezTo>
                  <a:cubicBezTo>
                    <a:pt x="903" y="73"/>
                    <a:pt x="903" y="74"/>
                    <a:pt x="903" y="75"/>
                  </a:cubicBezTo>
                  <a:cubicBezTo>
                    <a:pt x="903" y="75"/>
                    <a:pt x="904" y="76"/>
                    <a:pt x="904" y="77"/>
                  </a:cubicBezTo>
                  <a:close/>
                  <a:moveTo>
                    <a:pt x="973" y="85"/>
                  </a:moveTo>
                  <a:cubicBezTo>
                    <a:pt x="973" y="86"/>
                    <a:pt x="973" y="86"/>
                    <a:pt x="973" y="86"/>
                  </a:cubicBezTo>
                  <a:cubicBezTo>
                    <a:pt x="973" y="86"/>
                    <a:pt x="973" y="87"/>
                    <a:pt x="972" y="87"/>
                  </a:cubicBezTo>
                  <a:cubicBezTo>
                    <a:pt x="972" y="87"/>
                    <a:pt x="971" y="87"/>
                    <a:pt x="971" y="87"/>
                  </a:cubicBezTo>
                  <a:cubicBezTo>
                    <a:pt x="970" y="87"/>
                    <a:pt x="969" y="87"/>
                    <a:pt x="968" y="87"/>
                  </a:cubicBezTo>
                  <a:cubicBezTo>
                    <a:pt x="967" y="87"/>
                    <a:pt x="966" y="87"/>
                    <a:pt x="965" y="87"/>
                  </a:cubicBezTo>
                  <a:cubicBezTo>
                    <a:pt x="964" y="87"/>
                    <a:pt x="964" y="87"/>
                    <a:pt x="963" y="87"/>
                  </a:cubicBezTo>
                  <a:cubicBezTo>
                    <a:pt x="963" y="87"/>
                    <a:pt x="962" y="86"/>
                    <a:pt x="962" y="86"/>
                  </a:cubicBezTo>
                  <a:cubicBezTo>
                    <a:pt x="962" y="86"/>
                    <a:pt x="961" y="86"/>
                    <a:pt x="961" y="85"/>
                  </a:cubicBezTo>
                  <a:lnTo>
                    <a:pt x="937" y="54"/>
                  </a:lnTo>
                  <a:lnTo>
                    <a:pt x="937" y="85"/>
                  </a:lnTo>
                  <a:cubicBezTo>
                    <a:pt x="937" y="86"/>
                    <a:pt x="937" y="86"/>
                    <a:pt x="937" y="86"/>
                  </a:cubicBezTo>
                  <a:cubicBezTo>
                    <a:pt x="937" y="86"/>
                    <a:pt x="937" y="87"/>
                    <a:pt x="936" y="87"/>
                  </a:cubicBezTo>
                  <a:cubicBezTo>
                    <a:pt x="936" y="87"/>
                    <a:pt x="935" y="87"/>
                    <a:pt x="935" y="87"/>
                  </a:cubicBezTo>
                  <a:cubicBezTo>
                    <a:pt x="934" y="87"/>
                    <a:pt x="933" y="87"/>
                    <a:pt x="932" y="87"/>
                  </a:cubicBezTo>
                  <a:cubicBezTo>
                    <a:pt x="931" y="87"/>
                    <a:pt x="930" y="87"/>
                    <a:pt x="930" y="87"/>
                  </a:cubicBezTo>
                  <a:cubicBezTo>
                    <a:pt x="929" y="87"/>
                    <a:pt x="929" y="87"/>
                    <a:pt x="928" y="87"/>
                  </a:cubicBezTo>
                  <a:cubicBezTo>
                    <a:pt x="928" y="87"/>
                    <a:pt x="927" y="86"/>
                    <a:pt x="927" y="86"/>
                  </a:cubicBezTo>
                  <a:cubicBezTo>
                    <a:pt x="927" y="86"/>
                    <a:pt x="927" y="86"/>
                    <a:pt x="927" y="85"/>
                  </a:cubicBezTo>
                  <a:lnTo>
                    <a:pt x="927" y="2"/>
                  </a:lnTo>
                  <a:cubicBezTo>
                    <a:pt x="927" y="1"/>
                    <a:pt x="927" y="1"/>
                    <a:pt x="927" y="1"/>
                  </a:cubicBezTo>
                  <a:cubicBezTo>
                    <a:pt x="927" y="1"/>
                    <a:pt x="928" y="0"/>
                    <a:pt x="928" y="0"/>
                  </a:cubicBezTo>
                  <a:cubicBezTo>
                    <a:pt x="929" y="0"/>
                    <a:pt x="929" y="0"/>
                    <a:pt x="930" y="0"/>
                  </a:cubicBezTo>
                  <a:cubicBezTo>
                    <a:pt x="930" y="0"/>
                    <a:pt x="931" y="0"/>
                    <a:pt x="932" y="0"/>
                  </a:cubicBezTo>
                  <a:cubicBezTo>
                    <a:pt x="933" y="0"/>
                    <a:pt x="934" y="0"/>
                    <a:pt x="935" y="0"/>
                  </a:cubicBezTo>
                  <a:cubicBezTo>
                    <a:pt x="935" y="0"/>
                    <a:pt x="936" y="0"/>
                    <a:pt x="936" y="0"/>
                  </a:cubicBezTo>
                  <a:cubicBezTo>
                    <a:pt x="937" y="0"/>
                    <a:pt x="937" y="1"/>
                    <a:pt x="937" y="1"/>
                  </a:cubicBezTo>
                  <a:cubicBezTo>
                    <a:pt x="937" y="1"/>
                    <a:pt x="937" y="1"/>
                    <a:pt x="937" y="2"/>
                  </a:cubicBezTo>
                  <a:lnTo>
                    <a:pt x="937" y="53"/>
                  </a:lnTo>
                  <a:lnTo>
                    <a:pt x="959" y="29"/>
                  </a:lnTo>
                  <a:cubicBezTo>
                    <a:pt x="959" y="29"/>
                    <a:pt x="959" y="29"/>
                    <a:pt x="960" y="28"/>
                  </a:cubicBezTo>
                  <a:cubicBezTo>
                    <a:pt x="960" y="28"/>
                    <a:pt x="961" y="28"/>
                    <a:pt x="961" y="28"/>
                  </a:cubicBezTo>
                  <a:cubicBezTo>
                    <a:pt x="962" y="27"/>
                    <a:pt x="962" y="27"/>
                    <a:pt x="963" y="27"/>
                  </a:cubicBezTo>
                  <a:cubicBezTo>
                    <a:pt x="964" y="27"/>
                    <a:pt x="964" y="27"/>
                    <a:pt x="965" y="27"/>
                  </a:cubicBezTo>
                  <a:cubicBezTo>
                    <a:pt x="966" y="27"/>
                    <a:pt x="967" y="27"/>
                    <a:pt x="968" y="27"/>
                  </a:cubicBezTo>
                  <a:cubicBezTo>
                    <a:pt x="969" y="27"/>
                    <a:pt x="969" y="27"/>
                    <a:pt x="970" y="28"/>
                  </a:cubicBezTo>
                  <a:cubicBezTo>
                    <a:pt x="970" y="28"/>
                    <a:pt x="971" y="28"/>
                    <a:pt x="971" y="28"/>
                  </a:cubicBezTo>
                  <a:cubicBezTo>
                    <a:pt x="971" y="28"/>
                    <a:pt x="971" y="29"/>
                    <a:pt x="971" y="29"/>
                  </a:cubicBezTo>
                  <a:cubicBezTo>
                    <a:pt x="971" y="29"/>
                    <a:pt x="971" y="30"/>
                    <a:pt x="971" y="30"/>
                  </a:cubicBezTo>
                  <a:cubicBezTo>
                    <a:pt x="970" y="31"/>
                    <a:pt x="970" y="32"/>
                    <a:pt x="969" y="32"/>
                  </a:cubicBezTo>
                  <a:lnTo>
                    <a:pt x="949" y="53"/>
                  </a:lnTo>
                  <a:lnTo>
                    <a:pt x="972" y="82"/>
                  </a:lnTo>
                  <a:cubicBezTo>
                    <a:pt x="972" y="83"/>
                    <a:pt x="973" y="84"/>
                    <a:pt x="973" y="84"/>
                  </a:cubicBezTo>
                  <a:cubicBezTo>
                    <a:pt x="973" y="84"/>
                    <a:pt x="973" y="85"/>
                    <a:pt x="973" y="85"/>
                  </a:cubicBezTo>
                  <a:close/>
                  <a:moveTo>
                    <a:pt x="1027" y="57"/>
                  </a:moveTo>
                  <a:cubicBezTo>
                    <a:pt x="1027" y="61"/>
                    <a:pt x="1027" y="65"/>
                    <a:pt x="1026" y="69"/>
                  </a:cubicBezTo>
                  <a:cubicBezTo>
                    <a:pt x="1024" y="73"/>
                    <a:pt x="1023" y="76"/>
                    <a:pt x="1020" y="79"/>
                  </a:cubicBezTo>
                  <a:cubicBezTo>
                    <a:pt x="1018" y="82"/>
                    <a:pt x="1015" y="84"/>
                    <a:pt x="1011" y="86"/>
                  </a:cubicBezTo>
                  <a:cubicBezTo>
                    <a:pt x="1008" y="87"/>
                    <a:pt x="1003" y="88"/>
                    <a:pt x="999" y="88"/>
                  </a:cubicBezTo>
                  <a:cubicBezTo>
                    <a:pt x="994" y="88"/>
                    <a:pt x="990" y="87"/>
                    <a:pt x="987" y="86"/>
                  </a:cubicBezTo>
                  <a:cubicBezTo>
                    <a:pt x="983" y="85"/>
                    <a:pt x="980" y="83"/>
                    <a:pt x="978" y="80"/>
                  </a:cubicBezTo>
                  <a:cubicBezTo>
                    <a:pt x="976" y="77"/>
                    <a:pt x="974" y="74"/>
                    <a:pt x="973" y="70"/>
                  </a:cubicBezTo>
                  <a:cubicBezTo>
                    <a:pt x="972" y="67"/>
                    <a:pt x="971" y="62"/>
                    <a:pt x="971" y="58"/>
                  </a:cubicBezTo>
                  <a:cubicBezTo>
                    <a:pt x="971" y="53"/>
                    <a:pt x="972" y="49"/>
                    <a:pt x="973" y="45"/>
                  </a:cubicBezTo>
                  <a:cubicBezTo>
                    <a:pt x="974" y="41"/>
                    <a:pt x="976" y="38"/>
                    <a:pt x="978" y="35"/>
                  </a:cubicBezTo>
                  <a:cubicBezTo>
                    <a:pt x="981" y="32"/>
                    <a:pt x="984" y="30"/>
                    <a:pt x="987" y="29"/>
                  </a:cubicBezTo>
                  <a:cubicBezTo>
                    <a:pt x="991" y="27"/>
                    <a:pt x="995" y="26"/>
                    <a:pt x="1000" y="26"/>
                  </a:cubicBezTo>
                  <a:cubicBezTo>
                    <a:pt x="1004" y="26"/>
                    <a:pt x="1008" y="27"/>
                    <a:pt x="1012" y="28"/>
                  </a:cubicBezTo>
                  <a:cubicBezTo>
                    <a:pt x="1015" y="30"/>
                    <a:pt x="1018" y="32"/>
                    <a:pt x="1021" y="34"/>
                  </a:cubicBezTo>
                  <a:cubicBezTo>
                    <a:pt x="1023" y="37"/>
                    <a:pt x="1025" y="40"/>
                    <a:pt x="1026" y="44"/>
                  </a:cubicBezTo>
                  <a:cubicBezTo>
                    <a:pt x="1027" y="48"/>
                    <a:pt x="1027" y="52"/>
                    <a:pt x="1027" y="57"/>
                  </a:cubicBezTo>
                  <a:close/>
                  <a:moveTo>
                    <a:pt x="1017" y="57"/>
                  </a:moveTo>
                  <a:cubicBezTo>
                    <a:pt x="1017" y="54"/>
                    <a:pt x="1016" y="51"/>
                    <a:pt x="1016" y="49"/>
                  </a:cubicBezTo>
                  <a:cubicBezTo>
                    <a:pt x="1015" y="46"/>
                    <a:pt x="1014" y="44"/>
                    <a:pt x="1013" y="41"/>
                  </a:cubicBezTo>
                  <a:cubicBezTo>
                    <a:pt x="1012" y="39"/>
                    <a:pt x="1010" y="38"/>
                    <a:pt x="1008" y="37"/>
                  </a:cubicBezTo>
                  <a:cubicBezTo>
                    <a:pt x="1006" y="35"/>
                    <a:pt x="1003" y="35"/>
                    <a:pt x="999" y="35"/>
                  </a:cubicBezTo>
                  <a:cubicBezTo>
                    <a:pt x="996" y="35"/>
                    <a:pt x="994" y="35"/>
                    <a:pt x="992" y="36"/>
                  </a:cubicBezTo>
                  <a:cubicBezTo>
                    <a:pt x="989" y="38"/>
                    <a:pt x="987" y="39"/>
                    <a:pt x="986" y="41"/>
                  </a:cubicBezTo>
                  <a:cubicBezTo>
                    <a:pt x="985" y="43"/>
                    <a:pt x="984" y="45"/>
                    <a:pt x="983" y="48"/>
                  </a:cubicBezTo>
                  <a:cubicBezTo>
                    <a:pt x="982" y="51"/>
                    <a:pt x="982" y="54"/>
                    <a:pt x="982" y="57"/>
                  </a:cubicBezTo>
                  <a:cubicBezTo>
                    <a:pt x="982" y="60"/>
                    <a:pt x="982" y="63"/>
                    <a:pt x="983" y="66"/>
                  </a:cubicBezTo>
                  <a:cubicBezTo>
                    <a:pt x="983" y="68"/>
                    <a:pt x="984" y="71"/>
                    <a:pt x="986" y="73"/>
                  </a:cubicBezTo>
                  <a:cubicBezTo>
                    <a:pt x="987" y="75"/>
                    <a:pt x="989" y="76"/>
                    <a:pt x="991" y="78"/>
                  </a:cubicBezTo>
                  <a:cubicBezTo>
                    <a:pt x="993" y="79"/>
                    <a:pt x="996" y="79"/>
                    <a:pt x="999" y="79"/>
                  </a:cubicBezTo>
                  <a:cubicBezTo>
                    <a:pt x="1002" y="79"/>
                    <a:pt x="1005" y="79"/>
                    <a:pt x="1007" y="78"/>
                  </a:cubicBezTo>
                  <a:cubicBezTo>
                    <a:pt x="1009" y="77"/>
                    <a:pt x="1011" y="75"/>
                    <a:pt x="1013" y="73"/>
                  </a:cubicBezTo>
                  <a:cubicBezTo>
                    <a:pt x="1014" y="71"/>
                    <a:pt x="1015" y="69"/>
                    <a:pt x="1016" y="66"/>
                  </a:cubicBezTo>
                  <a:cubicBezTo>
                    <a:pt x="1016" y="63"/>
                    <a:pt x="1017" y="60"/>
                    <a:pt x="1017" y="57"/>
                  </a:cubicBezTo>
                  <a:close/>
                  <a:moveTo>
                    <a:pt x="1087" y="85"/>
                  </a:moveTo>
                  <a:cubicBezTo>
                    <a:pt x="1087" y="86"/>
                    <a:pt x="1087" y="86"/>
                    <a:pt x="1087" y="86"/>
                  </a:cubicBezTo>
                  <a:cubicBezTo>
                    <a:pt x="1087" y="86"/>
                    <a:pt x="1087" y="87"/>
                    <a:pt x="1086" y="87"/>
                  </a:cubicBezTo>
                  <a:cubicBezTo>
                    <a:pt x="1086" y="87"/>
                    <a:pt x="1085" y="87"/>
                    <a:pt x="1085" y="87"/>
                  </a:cubicBezTo>
                  <a:cubicBezTo>
                    <a:pt x="1084" y="87"/>
                    <a:pt x="1083" y="87"/>
                    <a:pt x="1083" y="87"/>
                  </a:cubicBezTo>
                  <a:cubicBezTo>
                    <a:pt x="1082" y="87"/>
                    <a:pt x="1081" y="87"/>
                    <a:pt x="1080" y="87"/>
                  </a:cubicBezTo>
                  <a:cubicBezTo>
                    <a:pt x="1080" y="87"/>
                    <a:pt x="1079" y="87"/>
                    <a:pt x="1079" y="87"/>
                  </a:cubicBezTo>
                  <a:cubicBezTo>
                    <a:pt x="1078" y="87"/>
                    <a:pt x="1078" y="86"/>
                    <a:pt x="1078" y="86"/>
                  </a:cubicBezTo>
                  <a:cubicBezTo>
                    <a:pt x="1078" y="86"/>
                    <a:pt x="1078" y="86"/>
                    <a:pt x="1078" y="85"/>
                  </a:cubicBezTo>
                  <a:lnTo>
                    <a:pt x="1078" y="78"/>
                  </a:lnTo>
                  <a:cubicBezTo>
                    <a:pt x="1075" y="81"/>
                    <a:pt x="1072" y="84"/>
                    <a:pt x="1068" y="86"/>
                  </a:cubicBezTo>
                  <a:cubicBezTo>
                    <a:pt x="1065" y="87"/>
                    <a:pt x="1062" y="88"/>
                    <a:pt x="1059" y="88"/>
                  </a:cubicBezTo>
                  <a:cubicBezTo>
                    <a:pt x="1055" y="88"/>
                    <a:pt x="1052" y="87"/>
                    <a:pt x="1049" y="86"/>
                  </a:cubicBezTo>
                  <a:cubicBezTo>
                    <a:pt x="1047" y="85"/>
                    <a:pt x="1045" y="83"/>
                    <a:pt x="1043" y="81"/>
                  </a:cubicBezTo>
                  <a:cubicBezTo>
                    <a:pt x="1042" y="79"/>
                    <a:pt x="1040" y="76"/>
                    <a:pt x="1040" y="74"/>
                  </a:cubicBezTo>
                  <a:cubicBezTo>
                    <a:pt x="1039" y="71"/>
                    <a:pt x="1039" y="67"/>
                    <a:pt x="1039" y="63"/>
                  </a:cubicBezTo>
                  <a:lnTo>
                    <a:pt x="1039" y="29"/>
                  </a:lnTo>
                  <a:cubicBezTo>
                    <a:pt x="1039" y="29"/>
                    <a:pt x="1039" y="28"/>
                    <a:pt x="1039" y="28"/>
                  </a:cubicBezTo>
                  <a:cubicBezTo>
                    <a:pt x="1039" y="28"/>
                    <a:pt x="1039" y="28"/>
                    <a:pt x="1040" y="28"/>
                  </a:cubicBezTo>
                  <a:cubicBezTo>
                    <a:pt x="1040" y="27"/>
                    <a:pt x="1041" y="27"/>
                    <a:pt x="1041" y="27"/>
                  </a:cubicBezTo>
                  <a:cubicBezTo>
                    <a:pt x="1042" y="27"/>
                    <a:pt x="1043" y="27"/>
                    <a:pt x="1044" y="27"/>
                  </a:cubicBezTo>
                  <a:cubicBezTo>
                    <a:pt x="1045" y="27"/>
                    <a:pt x="1046" y="27"/>
                    <a:pt x="1046" y="27"/>
                  </a:cubicBezTo>
                  <a:cubicBezTo>
                    <a:pt x="1047" y="27"/>
                    <a:pt x="1048" y="27"/>
                    <a:pt x="1048" y="28"/>
                  </a:cubicBezTo>
                  <a:cubicBezTo>
                    <a:pt x="1048" y="28"/>
                    <a:pt x="1049" y="28"/>
                    <a:pt x="1049" y="28"/>
                  </a:cubicBezTo>
                  <a:cubicBezTo>
                    <a:pt x="1049" y="28"/>
                    <a:pt x="1049" y="29"/>
                    <a:pt x="1049" y="29"/>
                  </a:cubicBezTo>
                  <a:lnTo>
                    <a:pt x="1049" y="62"/>
                  </a:lnTo>
                  <a:cubicBezTo>
                    <a:pt x="1049" y="65"/>
                    <a:pt x="1049" y="68"/>
                    <a:pt x="1050" y="70"/>
                  </a:cubicBezTo>
                  <a:cubicBezTo>
                    <a:pt x="1050" y="72"/>
                    <a:pt x="1051" y="73"/>
                    <a:pt x="1052" y="75"/>
                  </a:cubicBezTo>
                  <a:cubicBezTo>
                    <a:pt x="1053" y="76"/>
                    <a:pt x="1054" y="77"/>
                    <a:pt x="1056" y="78"/>
                  </a:cubicBezTo>
                  <a:cubicBezTo>
                    <a:pt x="1057" y="79"/>
                    <a:pt x="1059" y="79"/>
                    <a:pt x="1061" y="79"/>
                  </a:cubicBezTo>
                  <a:cubicBezTo>
                    <a:pt x="1064" y="79"/>
                    <a:pt x="1066" y="78"/>
                    <a:pt x="1069" y="76"/>
                  </a:cubicBezTo>
                  <a:cubicBezTo>
                    <a:pt x="1071" y="75"/>
                    <a:pt x="1074" y="72"/>
                    <a:pt x="1077" y="68"/>
                  </a:cubicBezTo>
                  <a:lnTo>
                    <a:pt x="1077" y="29"/>
                  </a:lnTo>
                  <a:cubicBezTo>
                    <a:pt x="1077" y="29"/>
                    <a:pt x="1077" y="28"/>
                    <a:pt x="1077" y="28"/>
                  </a:cubicBezTo>
                  <a:cubicBezTo>
                    <a:pt x="1077" y="28"/>
                    <a:pt x="1078" y="28"/>
                    <a:pt x="1078" y="28"/>
                  </a:cubicBezTo>
                  <a:cubicBezTo>
                    <a:pt x="1078" y="27"/>
                    <a:pt x="1079" y="27"/>
                    <a:pt x="1080" y="27"/>
                  </a:cubicBezTo>
                  <a:cubicBezTo>
                    <a:pt x="1080" y="27"/>
                    <a:pt x="1081" y="27"/>
                    <a:pt x="1082" y="27"/>
                  </a:cubicBezTo>
                  <a:cubicBezTo>
                    <a:pt x="1083" y="27"/>
                    <a:pt x="1084" y="27"/>
                    <a:pt x="1085" y="27"/>
                  </a:cubicBezTo>
                  <a:cubicBezTo>
                    <a:pt x="1085" y="27"/>
                    <a:pt x="1086" y="27"/>
                    <a:pt x="1086" y="28"/>
                  </a:cubicBezTo>
                  <a:cubicBezTo>
                    <a:pt x="1087" y="28"/>
                    <a:pt x="1087" y="28"/>
                    <a:pt x="1087" y="28"/>
                  </a:cubicBezTo>
                  <a:cubicBezTo>
                    <a:pt x="1087" y="28"/>
                    <a:pt x="1087" y="29"/>
                    <a:pt x="1087" y="29"/>
                  </a:cubicBezTo>
                  <a:lnTo>
                    <a:pt x="1087" y="85"/>
                  </a:lnTo>
                  <a:close/>
                  <a:moveTo>
                    <a:pt x="1148" y="81"/>
                  </a:moveTo>
                  <a:cubicBezTo>
                    <a:pt x="1148" y="82"/>
                    <a:pt x="1148" y="83"/>
                    <a:pt x="1148" y="84"/>
                  </a:cubicBezTo>
                  <a:cubicBezTo>
                    <a:pt x="1148" y="85"/>
                    <a:pt x="1148" y="85"/>
                    <a:pt x="1147" y="86"/>
                  </a:cubicBezTo>
                  <a:cubicBezTo>
                    <a:pt x="1147" y="86"/>
                    <a:pt x="1146" y="86"/>
                    <a:pt x="1146" y="87"/>
                  </a:cubicBezTo>
                  <a:cubicBezTo>
                    <a:pt x="1145" y="87"/>
                    <a:pt x="1144" y="87"/>
                    <a:pt x="1144" y="87"/>
                  </a:cubicBezTo>
                  <a:cubicBezTo>
                    <a:pt x="1143" y="87"/>
                    <a:pt x="1142" y="88"/>
                    <a:pt x="1141" y="88"/>
                  </a:cubicBezTo>
                  <a:cubicBezTo>
                    <a:pt x="1140" y="88"/>
                    <a:pt x="1139" y="88"/>
                    <a:pt x="1138" y="88"/>
                  </a:cubicBezTo>
                  <a:cubicBezTo>
                    <a:pt x="1135" y="88"/>
                    <a:pt x="1133" y="88"/>
                    <a:pt x="1130" y="87"/>
                  </a:cubicBezTo>
                  <a:cubicBezTo>
                    <a:pt x="1128" y="86"/>
                    <a:pt x="1127" y="85"/>
                    <a:pt x="1125" y="83"/>
                  </a:cubicBezTo>
                  <a:cubicBezTo>
                    <a:pt x="1124" y="82"/>
                    <a:pt x="1123" y="80"/>
                    <a:pt x="1122" y="77"/>
                  </a:cubicBezTo>
                  <a:cubicBezTo>
                    <a:pt x="1122" y="75"/>
                    <a:pt x="1122" y="72"/>
                    <a:pt x="1122" y="69"/>
                  </a:cubicBezTo>
                  <a:lnTo>
                    <a:pt x="1122" y="36"/>
                  </a:lnTo>
                  <a:lnTo>
                    <a:pt x="1114" y="36"/>
                  </a:lnTo>
                  <a:cubicBezTo>
                    <a:pt x="1113" y="36"/>
                    <a:pt x="1113" y="36"/>
                    <a:pt x="1112" y="35"/>
                  </a:cubicBezTo>
                  <a:cubicBezTo>
                    <a:pt x="1112" y="34"/>
                    <a:pt x="1112" y="33"/>
                    <a:pt x="1112" y="32"/>
                  </a:cubicBezTo>
                  <a:cubicBezTo>
                    <a:pt x="1112" y="31"/>
                    <a:pt x="1112" y="30"/>
                    <a:pt x="1112" y="30"/>
                  </a:cubicBezTo>
                  <a:cubicBezTo>
                    <a:pt x="1112" y="29"/>
                    <a:pt x="1112" y="29"/>
                    <a:pt x="1112" y="28"/>
                  </a:cubicBezTo>
                  <a:cubicBezTo>
                    <a:pt x="1112" y="28"/>
                    <a:pt x="1113" y="28"/>
                    <a:pt x="1113" y="28"/>
                  </a:cubicBezTo>
                  <a:cubicBezTo>
                    <a:pt x="1113" y="27"/>
                    <a:pt x="1113" y="27"/>
                    <a:pt x="1114" y="27"/>
                  </a:cubicBezTo>
                  <a:lnTo>
                    <a:pt x="1122" y="27"/>
                  </a:lnTo>
                  <a:lnTo>
                    <a:pt x="1122" y="14"/>
                  </a:lnTo>
                  <a:cubicBezTo>
                    <a:pt x="1122" y="14"/>
                    <a:pt x="1122" y="13"/>
                    <a:pt x="1122" y="13"/>
                  </a:cubicBezTo>
                  <a:cubicBezTo>
                    <a:pt x="1122" y="13"/>
                    <a:pt x="1122" y="13"/>
                    <a:pt x="1123" y="13"/>
                  </a:cubicBezTo>
                  <a:cubicBezTo>
                    <a:pt x="1123" y="12"/>
                    <a:pt x="1123" y="12"/>
                    <a:pt x="1124" y="12"/>
                  </a:cubicBezTo>
                  <a:cubicBezTo>
                    <a:pt x="1125" y="12"/>
                    <a:pt x="1126" y="12"/>
                    <a:pt x="1127" y="12"/>
                  </a:cubicBezTo>
                  <a:cubicBezTo>
                    <a:pt x="1128" y="12"/>
                    <a:pt x="1129" y="12"/>
                    <a:pt x="1129" y="12"/>
                  </a:cubicBezTo>
                  <a:cubicBezTo>
                    <a:pt x="1130" y="12"/>
                    <a:pt x="1130" y="12"/>
                    <a:pt x="1131" y="13"/>
                  </a:cubicBezTo>
                  <a:cubicBezTo>
                    <a:pt x="1131" y="13"/>
                    <a:pt x="1131" y="13"/>
                    <a:pt x="1132" y="13"/>
                  </a:cubicBezTo>
                  <a:cubicBezTo>
                    <a:pt x="1132" y="13"/>
                    <a:pt x="1132" y="14"/>
                    <a:pt x="1132" y="14"/>
                  </a:cubicBezTo>
                  <a:lnTo>
                    <a:pt x="1132" y="27"/>
                  </a:lnTo>
                  <a:lnTo>
                    <a:pt x="1146" y="27"/>
                  </a:lnTo>
                  <a:cubicBezTo>
                    <a:pt x="1147" y="27"/>
                    <a:pt x="1147" y="27"/>
                    <a:pt x="1147" y="28"/>
                  </a:cubicBezTo>
                  <a:cubicBezTo>
                    <a:pt x="1147" y="28"/>
                    <a:pt x="1148" y="28"/>
                    <a:pt x="1148" y="28"/>
                  </a:cubicBezTo>
                  <a:cubicBezTo>
                    <a:pt x="1148" y="29"/>
                    <a:pt x="1148" y="29"/>
                    <a:pt x="1148" y="30"/>
                  </a:cubicBezTo>
                  <a:cubicBezTo>
                    <a:pt x="1148" y="30"/>
                    <a:pt x="1148" y="31"/>
                    <a:pt x="1148" y="32"/>
                  </a:cubicBezTo>
                  <a:cubicBezTo>
                    <a:pt x="1148" y="33"/>
                    <a:pt x="1148" y="34"/>
                    <a:pt x="1148" y="35"/>
                  </a:cubicBezTo>
                  <a:cubicBezTo>
                    <a:pt x="1147" y="36"/>
                    <a:pt x="1147" y="36"/>
                    <a:pt x="1146" y="36"/>
                  </a:cubicBezTo>
                  <a:lnTo>
                    <a:pt x="1132" y="36"/>
                  </a:lnTo>
                  <a:lnTo>
                    <a:pt x="1132" y="67"/>
                  </a:lnTo>
                  <a:cubicBezTo>
                    <a:pt x="1132" y="71"/>
                    <a:pt x="1132" y="74"/>
                    <a:pt x="1134" y="76"/>
                  </a:cubicBezTo>
                  <a:cubicBezTo>
                    <a:pt x="1135" y="78"/>
                    <a:pt x="1137" y="79"/>
                    <a:pt x="1140" y="79"/>
                  </a:cubicBezTo>
                  <a:cubicBezTo>
                    <a:pt x="1141" y="79"/>
                    <a:pt x="1142" y="79"/>
                    <a:pt x="1142" y="79"/>
                  </a:cubicBezTo>
                  <a:cubicBezTo>
                    <a:pt x="1143" y="79"/>
                    <a:pt x="1144" y="78"/>
                    <a:pt x="1144" y="78"/>
                  </a:cubicBezTo>
                  <a:cubicBezTo>
                    <a:pt x="1145" y="78"/>
                    <a:pt x="1145" y="78"/>
                    <a:pt x="1146" y="78"/>
                  </a:cubicBezTo>
                  <a:cubicBezTo>
                    <a:pt x="1146" y="77"/>
                    <a:pt x="1147" y="77"/>
                    <a:pt x="1147" y="77"/>
                  </a:cubicBezTo>
                  <a:cubicBezTo>
                    <a:pt x="1147" y="77"/>
                    <a:pt x="1147" y="77"/>
                    <a:pt x="1147" y="78"/>
                  </a:cubicBezTo>
                  <a:cubicBezTo>
                    <a:pt x="1148" y="78"/>
                    <a:pt x="1148" y="78"/>
                    <a:pt x="1148" y="78"/>
                  </a:cubicBezTo>
                  <a:cubicBezTo>
                    <a:pt x="1148" y="78"/>
                    <a:pt x="1148" y="79"/>
                    <a:pt x="1148" y="79"/>
                  </a:cubicBezTo>
                  <a:cubicBezTo>
                    <a:pt x="1148" y="80"/>
                    <a:pt x="1148" y="80"/>
                    <a:pt x="1148" y="81"/>
                  </a:cubicBezTo>
                  <a:close/>
                  <a:moveTo>
                    <a:pt x="1197" y="82"/>
                  </a:moveTo>
                  <a:cubicBezTo>
                    <a:pt x="1197" y="83"/>
                    <a:pt x="1197" y="84"/>
                    <a:pt x="1197" y="84"/>
                  </a:cubicBezTo>
                  <a:cubicBezTo>
                    <a:pt x="1197" y="85"/>
                    <a:pt x="1197" y="85"/>
                    <a:pt x="1197" y="86"/>
                  </a:cubicBezTo>
                  <a:cubicBezTo>
                    <a:pt x="1196" y="86"/>
                    <a:pt x="1196" y="86"/>
                    <a:pt x="1196" y="87"/>
                  </a:cubicBezTo>
                  <a:cubicBezTo>
                    <a:pt x="1196" y="87"/>
                    <a:pt x="1195" y="87"/>
                    <a:pt x="1195" y="87"/>
                  </a:cubicBezTo>
                  <a:lnTo>
                    <a:pt x="1156" y="87"/>
                  </a:lnTo>
                  <a:cubicBezTo>
                    <a:pt x="1155" y="87"/>
                    <a:pt x="1154" y="87"/>
                    <a:pt x="1154" y="86"/>
                  </a:cubicBezTo>
                  <a:cubicBezTo>
                    <a:pt x="1153" y="85"/>
                    <a:pt x="1152" y="84"/>
                    <a:pt x="1152" y="82"/>
                  </a:cubicBezTo>
                  <a:lnTo>
                    <a:pt x="1152" y="10"/>
                  </a:lnTo>
                  <a:cubicBezTo>
                    <a:pt x="1152" y="9"/>
                    <a:pt x="1153" y="8"/>
                    <a:pt x="1154" y="7"/>
                  </a:cubicBezTo>
                  <a:cubicBezTo>
                    <a:pt x="1154" y="6"/>
                    <a:pt x="1155" y="6"/>
                    <a:pt x="1156" y="6"/>
                  </a:cubicBezTo>
                  <a:lnTo>
                    <a:pt x="1195" y="6"/>
                  </a:lnTo>
                  <a:cubicBezTo>
                    <a:pt x="1195" y="6"/>
                    <a:pt x="1195" y="6"/>
                    <a:pt x="1196" y="6"/>
                  </a:cubicBezTo>
                  <a:cubicBezTo>
                    <a:pt x="1196" y="6"/>
                    <a:pt x="1196" y="7"/>
                    <a:pt x="1196" y="7"/>
                  </a:cubicBezTo>
                  <a:cubicBezTo>
                    <a:pt x="1196" y="7"/>
                    <a:pt x="1196" y="8"/>
                    <a:pt x="1197" y="8"/>
                  </a:cubicBezTo>
                  <a:cubicBezTo>
                    <a:pt x="1197" y="9"/>
                    <a:pt x="1197" y="10"/>
                    <a:pt x="1197" y="11"/>
                  </a:cubicBezTo>
                  <a:cubicBezTo>
                    <a:pt x="1197" y="11"/>
                    <a:pt x="1197" y="12"/>
                    <a:pt x="1197" y="13"/>
                  </a:cubicBezTo>
                  <a:cubicBezTo>
                    <a:pt x="1196" y="13"/>
                    <a:pt x="1196" y="14"/>
                    <a:pt x="1196" y="14"/>
                  </a:cubicBezTo>
                  <a:cubicBezTo>
                    <a:pt x="1196" y="14"/>
                    <a:pt x="1196" y="15"/>
                    <a:pt x="1196" y="15"/>
                  </a:cubicBezTo>
                  <a:cubicBezTo>
                    <a:pt x="1195" y="15"/>
                    <a:pt x="1195" y="15"/>
                    <a:pt x="1195" y="15"/>
                  </a:cubicBezTo>
                  <a:lnTo>
                    <a:pt x="1163" y="15"/>
                  </a:lnTo>
                  <a:lnTo>
                    <a:pt x="1163" y="40"/>
                  </a:lnTo>
                  <a:lnTo>
                    <a:pt x="1190" y="40"/>
                  </a:lnTo>
                  <a:cubicBezTo>
                    <a:pt x="1190" y="40"/>
                    <a:pt x="1191" y="40"/>
                    <a:pt x="1191" y="41"/>
                  </a:cubicBezTo>
                  <a:cubicBezTo>
                    <a:pt x="1191" y="41"/>
                    <a:pt x="1192" y="41"/>
                    <a:pt x="1192" y="41"/>
                  </a:cubicBezTo>
                  <a:cubicBezTo>
                    <a:pt x="1192" y="42"/>
                    <a:pt x="1192" y="42"/>
                    <a:pt x="1192" y="43"/>
                  </a:cubicBezTo>
                  <a:cubicBezTo>
                    <a:pt x="1192" y="43"/>
                    <a:pt x="1192" y="44"/>
                    <a:pt x="1192" y="45"/>
                  </a:cubicBezTo>
                  <a:cubicBezTo>
                    <a:pt x="1192" y="46"/>
                    <a:pt x="1192" y="46"/>
                    <a:pt x="1192" y="47"/>
                  </a:cubicBezTo>
                  <a:cubicBezTo>
                    <a:pt x="1192" y="47"/>
                    <a:pt x="1192" y="48"/>
                    <a:pt x="1192" y="48"/>
                  </a:cubicBezTo>
                  <a:cubicBezTo>
                    <a:pt x="1192" y="48"/>
                    <a:pt x="1191" y="49"/>
                    <a:pt x="1191" y="49"/>
                  </a:cubicBezTo>
                  <a:cubicBezTo>
                    <a:pt x="1191" y="49"/>
                    <a:pt x="1190" y="49"/>
                    <a:pt x="1190" y="49"/>
                  </a:cubicBezTo>
                  <a:lnTo>
                    <a:pt x="1163" y="49"/>
                  </a:lnTo>
                  <a:lnTo>
                    <a:pt x="1163" y="78"/>
                  </a:lnTo>
                  <a:lnTo>
                    <a:pt x="1195" y="78"/>
                  </a:lnTo>
                  <a:cubicBezTo>
                    <a:pt x="1195" y="78"/>
                    <a:pt x="1196" y="78"/>
                    <a:pt x="1196" y="78"/>
                  </a:cubicBezTo>
                  <a:cubicBezTo>
                    <a:pt x="1196" y="78"/>
                    <a:pt x="1196" y="79"/>
                    <a:pt x="1197" y="79"/>
                  </a:cubicBezTo>
                  <a:cubicBezTo>
                    <a:pt x="1197" y="79"/>
                    <a:pt x="1197" y="80"/>
                    <a:pt x="1197" y="80"/>
                  </a:cubicBezTo>
                  <a:cubicBezTo>
                    <a:pt x="1197" y="81"/>
                    <a:pt x="1197" y="82"/>
                    <a:pt x="1197" y="82"/>
                  </a:cubicBezTo>
                  <a:close/>
                  <a:moveTo>
                    <a:pt x="1261" y="29"/>
                  </a:moveTo>
                  <a:cubicBezTo>
                    <a:pt x="1261" y="29"/>
                    <a:pt x="1261" y="29"/>
                    <a:pt x="1261" y="29"/>
                  </a:cubicBezTo>
                  <a:cubicBezTo>
                    <a:pt x="1261" y="30"/>
                    <a:pt x="1261" y="30"/>
                    <a:pt x="1261" y="30"/>
                  </a:cubicBezTo>
                  <a:cubicBezTo>
                    <a:pt x="1261" y="30"/>
                    <a:pt x="1261" y="30"/>
                    <a:pt x="1261" y="31"/>
                  </a:cubicBezTo>
                  <a:cubicBezTo>
                    <a:pt x="1261" y="31"/>
                    <a:pt x="1261" y="31"/>
                    <a:pt x="1261" y="32"/>
                  </a:cubicBezTo>
                  <a:lnTo>
                    <a:pt x="1242" y="85"/>
                  </a:lnTo>
                  <a:cubicBezTo>
                    <a:pt x="1241" y="85"/>
                    <a:pt x="1241" y="86"/>
                    <a:pt x="1241" y="86"/>
                  </a:cubicBezTo>
                  <a:cubicBezTo>
                    <a:pt x="1241" y="86"/>
                    <a:pt x="1240" y="87"/>
                    <a:pt x="1240" y="87"/>
                  </a:cubicBezTo>
                  <a:cubicBezTo>
                    <a:pt x="1239" y="87"/>
                    <a:pt x="1238" y="87"/>
                    <a:pt x="1238" y="87"/>
                  </a:cubicBezTo>
                  <a:cubicBezTo>
                    <a:pt x="1237" y="87"/>
                    <a:pt x="1236" y="87"/>
                    <a:pt x="1234" y="87"/>
                  </a:cubicBezTo>
                  <a:cubicBezTo>
                    <a:pt x="1233" y="87"/>
                    <a:pt x="1232" y="87"/>
                    <a:pt x="1231" y="87"/>
                  </a:cubicBezTo>
                  <a:cubicBezTo>
                    <a:pt x="1230" y="87"/>
                    <a:pt x="1230" y="87"/>
                    <a:pt x="1229" y="87"/>
                  </a:cubicBezTo>
                  <a:cubicBezTo>
                    <a:pt x="1229" y="87"/>
                    <a:pt x="1228" y="86"/>
                    <a:pt x="1228" y="86"/>
                  </a:cubicBezTo>
                  <a:cubicBezTo>
                    <a:pt x="1228" y="86"/>
                    <a:pt x="1228" y="85"/>
                    <a:pt x="1227" y="85"/>
                  </a:cubicBezTo>
                  <a:lnTo>
                    <a:pt x="1208" y="32"/>
                  </a:lnTo>
                  <a:cubicBezTo>
                    <a:pt x="1208" y="31"/>
                    <a:pt x="1208" y="31"/>
                    <a:pt x="1208" y="30"/>
                  </a:cubicBezTo>
                  <a:cubicBezTo>
                    <a:pt x="1208" y="30"/>
                    <a:pt x="1208" y="30"/>
                    <a:pt x="1208" y="29"/>
                  </a:cubicBezTo>
                  <a:cubicBezTo>
                    <a:pt x="1208" y="29"/>
                    <a:pt x="1208" y="29"/>
                    <a:pt x="1208" y="29"/>
                  </a:cubicBezTo>
                  <a:cubicBezTo>
                    <a:pt x="1208" y="29"/>
                    <a:pt x="1208" y="28"/>
                    <a:pt x="1208" y="28"/>
                  </a:cubicBezTo>
                  <a:cubicBezTo>
                    <a:pt x="1208" y="28"/>
                    <a:pt x="1208" y="28"/>
                    <a:pt x="1209" y="27"/>
                  </a:cubicBezTo>
                  <a:cubicBezTo>
                    <a:pt x="1209" y="27"/>
                    <a:pt x="1210" y="27"/>
                    <a:pt x="1210" y="27"/>
                  </a:cubicBezTo>
                  <a:cubicBezTo>
                    <a:pt x="1211" y="27"/>
                    <a:pt x="1212" y="27"/>
                    <a:pt x="1213" y="27"/>
                  </a:cubicBezTo>
                  <a:cubicBezTo>
                    <a:pt x="1214" y="27"/>
                    <a:pt x="1215" y="27"/>
                    <a:pt x="1216" y="27"/>
                  </a:cubicBezTo>
                  <a:cubicBezTo>
                    <a:pt x="1216" y="27"/>
                    <a:pt x="1217" y="27"/>
                    <a:pt x="1217" y="28"/>
                  </a:cubicBezTo>
                  <a:cubicBezTo>
                    <a:pt x="1218" y="28"/>
                    <a:pt x="1218" y="28"/>
                    <a:pt x="1218" y="28"/>
                  </a:cubicBezTo>
                  <a:cubicBezTo>
                    <a:pt x="1218" y="28"/>
                    <a:pt x="1219" y="29"/>
                    <a:pt x="1219" y="29"/>
                  </a:cubicBezTo>
                  <a:lnTo>
                    <a:pt x="1235" y="75"/>
                  </a:lnTo>
                  <a:lnTo>
                    <a:pt x="1235" y="76"/>
                  </a:lnTo>
                  <a:lnTo>
                    <a:pt x="1235" y="75"/>
                  </a:lnTo>
                  <a:lnTo>
                    <a:pt x="1251" y="29"/>
                  </a:lnTo>
                  <a:cubicBezTo>
                    <a:pt x="1251" y="29"/>
                    <a:pt x="1251" y="28"/>
                    <a:pt x="1251" y="28"/>
                  </a:cubicBezTo>
                  <a:cubicBezTo>
                    <a:pt x="1251" y="28"/>
                    <a:pt x="1252" y="28"/>
                    <a:pt x="1252" y="28"/>
                  </a:cubicBezTo>
                  <a:cubicBezTo>
                    <a:pt x="1252" y="27"/>
                    <a:pt x="1253" y="27"/>
                    <a:pt x="1254" y="27"/>
                  </a:cubicBezTo>
                  <a:cubicBezTo>
                    <a:pt x="1254" y="27"/>
                    <a:pt x="1255" y="27"/>
                    <a:pt x="1256" y="27"/>
                  </a:cubicBezTo>
                  <a:cubicBezTo>
                    <a:pt x="1257" y="27"/>
                    <a:pt x="1258" y="27"/>
                    <a:pt x="1259" y="27"/>
                  </a:cubicBezTo>
                  <a:cubicBezTo>
                    <a:pt x="1259" y="27"/>
                    <a:pt x="1260" y="27"/>
                    <a:pt x="1260" y="27"/>
                  </a:cubicBezTo>
                  <a:cubicBezTo>
                    <a:pt x="1261" y="28"/>
                    <a:pt x="1261" y="28"/>
                    <a:pt x="1261" y="28"/>
                  </a:cubicBezTo>
                  <a:cubicBezTo>
                    <a:pt x="1261" y="28"/>
                    <a:pt x="1261" y="29"/>
                    <a:pt x="1261" y="29"/>
                  </a:cubicBezTo>
                  <a:close/>
                  <a:moveTo>
                    <a:pt x="1327" y="55"/>
                  </a:moveTo>
                  <a:cubicBezTo>
                    <a:pt x="1327" y="56"/>
                    <a:pt x="1327" y="58"/>
                    <a:pt x="1326" y="58"/>
                  </a:cubicBezTo>
                  <a:cubicBezTo>
                    <a:pt x="1325" y="59"/>
                    <a:pt x="1324" y="59"/>
                    <a:pt x="1323" y="59"/>
                  </a:cubicBezTo>
                  <a:lnTo>
                    <a:pt x="1286" y="59"/>
                  </a:lnTo>
                  <a:cubicBezTo>
                    <a:pt x="1286" y="62"/>
                    <a:pt x="1286" y="65"/>
                    <a:pt x="1287" y="68"/>
                  </a:cubicBezTo>
                  <a:cubicBezTo>
                    <a:pt x="1288" y="70"/>
                    <a:pt x="1289" y="72"/>
                    <a:pt x="1290" y="74"/>
                  </a:cubicBezTo>
                  <a:cubicBezTo>
                    <a:pt x="1292" y="76"/>
                    <a:pt x="1293" y="77"/>
                    <a:pt x="1296" y="78"/>
                  </a:cubicBezTo>
                  <a:cubicBezTo>
                    <a:pt x="1298" y="79"/>
                    <a:pt x="1301" y="80"/>
                    <a:pt x="1304" y="80"/>
                  </a:cubicBezTo>
                  <a:cubicBezTo>
                    <a:pt x="1307" y="80"/>
                    <a:pt x="1309" y="79"/>
                    <a:pt x="1312" y="79"/>
                  </a:cubicBezTo>
                  <a:cubicBezTo>
                    <a:pt x="1314" y="79"/>
                    <a:pt x="1315" y="78"/>
                    <a:pt x="1317" y="78"/>
                  </a:cubicBezTo>
                  <a:cubicBezTo>
                    <a:pt x="1319" y="77"/>
                    <a:pt x="1320" y="77"/>
                    <a:pt x="1321" y="76"/>
                  </a:cubicBezTo>
                  <a:cubicBezTo>
                    <a:pt x="1322" y="76"/>
                    <a:pt x="1322" y="75"/>
                    <a:pt x="1323" y="75"/>
                  </a:cubicBezTo>
                  <a:cubicBezTo>
                    <a:pt x="1323" y="75"/>
                    <a:pt x="1324" y="75"/>
                    <a:pt x="1324" y="76"/>
                  </a:cubicBezTo>
                  <a:cubicBezTo>
                    <a:pt x="1324" y="76"/>
                    <a:pt x="1324" y="76"/>
                    <a:pt x="1324" y="76"/>
                  </a:cubicBezTo>
                  <a:cubicBezTo>
                    <a:pt x="1324" y="77"/>
                    <a:pt x="1325" y="77"/>
                    <a:pt x="1325" y="78"/>
                  </a:cubicBezTo>
                  <a:cubicBezTo>
                    <a:pt x="1325" y="78"/>
                    <a:pt x="1325" y="79"/>
                    <a:pt x="1325" y="79"/>
                  </a:cubicBezTo>
                  <a:cubicBezTo>
                    <a:pt x="1325" y="80"/>
                    <a:pt x="1325" y="80"/>
                    <a:pt x="1325" y="81"/>
                  </a:cubicBezTo>
                  <a:cubicBezTo>
                    <a:pt x="1325" y="81"/>
                    <a:pt x="1325" y="82"/>
                    <a:pt x="1324" y="82"/>
                  </a:cubicBezTo>
                  <a:cubicBezTo>
                    <a:pt x="1324" y="82"/>
                    <a:pt x="1324" y="82"/>
                    <a:pt x="1324" y="83"/>
                  </a:cubicBezTo>
                  <a:cubicBezTo>
                    <a:pt x="1324" y="83"/>
                    <a:pt x="1324" y="83"/>
                    <a:pt x="1324" y="83"/>
                  </a:cubicBezTo>
                  <a:cubicBezTo>
                    <a:pt x="1323" y="84"/>
                    <a:pt x="1323" y="84"/>
                    <a:pt x="1322" y="85"/>
                  </a:cubicBezTo>
                  <a:cubicBezTo>
                    <a:pt x="1320" y="85"/>
                    <a:pt x="1319" y="86"/>
                    <a:pt x="1317" y="86"/>
                  </a:cubicBezTo>
                  <a:cubicBezTo>
                    <a:pt x="1315" y="87"/>
                    <a:pt x="1313" y="87"/>
                    <a:pt x="1311" y="87"/>
                  </a:cubicBezTo>
                  <a:cubicBezTo>
                    <a:pt x="1309" y="88"/>
                    <a:pt x="1306" y="88"/>
                    <a:pt x="1303" y="88"/>
                  </a:cubicBezTo>
                  <a:cubicBezTo>
                    <a:pt x="1299" y="88"/>
                    <a:pt x="1295" y="87"/>
                    <a:pt x="1291" y="86"/>
                  </a:cubicBezTo>
                  <a:cubicBezTo>
                    <a:pt x="1288" y="85"/>
                    <a:pt x="1285" y="83"/>
                    <a:pt x="1283" y="80"/>
                  </a:cubicBezTo>
                  <a:cubicBezTo>
                    <a:pt x="1280" y="78"/>
                    <a:pt x="1278" y="75"/>
                    <a:pt x="1277" y="71"/>
                  </a:cubicBezTo>
                  <a:cubicBezTo>
                    <a:pt x="1276" y="67"/>
                    <a:pt x="1275" y="63"/>
                    <a:pt x="1275" y="57"/>
                  </a:cubicBezTo>
                  <a:cubicBezTo>
                    <a:pt x="1275" y="53"/>
                    <a:pt x="1276" y="48"/>
                    <a:pt x="1277" y="44"/>
                  </a:cubicBezTo>
                  <a:cubicBezTo>
                    <a:pt x="1278" y="41"/>
                    <a:pt x="1280" y="37"/>
                    <a:pt x="1283" y="35"/>
                  </a:cubicBezTo>
                  <a:cubicBezTo>
                    <a:pt x="1285" y="32"/>
                    <a:pt x="1288" y="30"/>
                    <a:pt x="1291" y="28"/>
                  </a:cubicBezTo>
                  <a:cubicBezTo>
                    <a:pt x="1294" y="27"/>
                    <a:pt x="1298" y="26"/>
                    <a:pt x="1302" y="26"/>
                  </a:cubicBezTo>
                  <a:cubicBezTo>
                    <a:pt x="1307" y="26"/>
                    <a:pt x="1310" y="27"/>
                    <a:pt x="1314" y="28"/>
                  </a:cubicBezTo>
                  <a:cubicBezTo>
                    <a:pt x="1317" y="30"/>
                    <a:pt x="1319" y="32"/>
                    <a:pt x="1321" y="34"/>
                  </a:cubicBezTo>
                  <a:cubicBezTo>
                    <a:pt x="1323" y="36"/>
                    <a:pt x="1325" y="39"/>
                    <a:pt x="1326" y="43"/>
                  </a:cubicBezTo>
                  <a:cubicBezTo>
                    <a:pt x="1327" y="46"/>
                    <a:pt x="1327" y="49"/>
                    <a:pt x="1327" y="53"/>
                  </a:cubicBezTo>
                  <a:lnTo>
                    <a:pt x="1327" y="55"/>
                  </a:lnTo>
                  <a:close/>
                  <a:moveTo>
                    <a:pt x="1317" y="52"/>
                  </a:moveTo>
                  <a:cubicBezTo>
                    <a:pt x="1317" y="46"/>
                    <a:pt x="1316" y="42"/>
                    <a:pt x="1313" y="39"/>
                  </a:cubicBezTo>
                  <a:cubicBezTo>
                    <a:pt x="1311" y="36"/>
                    <a:pt x="1307" y="34"/>
                    <a:pt x="1302" y="34"/>
                  </a:cubicBezTo>
                  <a:cubicBezTo>
                    <a:pt x="1299" y="34"/>
                    <a:pt x="1297" y="35"/>
                    <a:pt x="1295" y="36"/>
                  </a:cubicBezTo>
                  <a:cubicBezTo>
                    <a:pt x="1293" y="37"/>
                    <a:pt x="1292" y="38"/>
                    <a:pt x="1290" y="40"/>
                  </a:cubicBezTo>
                  <a:cubicBezTo>
                    <a:pt x="1289" y="41"/>
                    <a:pt x="1288" y="43"/>
                    <a:pt x="1287" y="45"/>
                  </a:cubicBezTo>
                  <a:cubicBezTo>
                    <a:pt x="1286" y="47"/>
                    <a:pt x="1286" y="49"/>
                    <a:pt x="1286" y="52"/>
                  </a:cubicBezTo>
                  <a:lnTo>
                    <a:pt x="1317" y="52"/>
                  </a:lnTo>
                  <a:close/>
                  <a:moveTo>
                    <a:pt x="1392" y="85"/>
                  </a:moveTo>
                  <a:cubicBezTo>
                    <a:pt x="1392" y="86"/>
                    <a:pt x="1391" y="86"/>
                    <a:pt x="1391" y="86"/>
                  </a:cubicBezTo>
                  <a:cubicBezTo>
                    <a:pt x="1391" y="86"/>
                    <a:pt x="1391" y="87"/>
                    <a:pt x="1390" y="87"/>
                  </a:cubicBezTo>
                  <a:cubicBezTo>
                    <a:pt x="1390" y="87"/>
                    <a:pt x="1390" y="87"/>
                    <a:pt x="1389" y="87"/>
                  </a:cubicBezTo>
                  <a:cubicBezTo>
                    <a:pt x="1388" y="87"/>
                    <a:pt x="1387" y="87"/>
                    <a:pt x="1386" y="87"/>
                  </a:cubicBezTo>
                  <a:cubicBezTo>
                    <a:pt x="1385" y="87"/>
                    <a:pt x="1384" y="87"/>
                    <a:pt x="1384" y="87"/>
                  </a:cubicBezTo>
                  <a:cubicBezTo>
                    <a:pt x="1383" y="87"/>
                    <a:pt x="1383" y="87"/>
                    <a:pt x="1382" y="87"/>
                  </a:cubicBezTo>
                  <a:cubicBezTo>
                    <a:pt x="1382" y="87"/>
                    <a:pt x="1382" y="86"/>
                    <a:pt x="1381" y="86"/>
                  </a:cubicBezTo>
                  <a:cubicBezTo>
                    <a:pt x="1381" y="86"/>
                    <a:pt x="1381" y="86"/>
                    <a:pt x="1381" y="85"/>
                  </a:cubicBezTo>
                  <a:lnTo>
                    <a:pt x="1381" y="52"/>
                  </a:lnTo>
                  <a:cubicBezTo>
                    <a:pt x="1381" y="49"/>
                    <a:pt x="1381" y="47"/>
                    <a:pt x="1380" y="45"/>
                  </a:cubicBezTo>
                  <a:cubicBezTo>
                    <a:pt x="1380" y="43"/>
                    <a:pt x="1379" y="41"/>
                    <a:pt x="1378" y="40"/>
                  </a:cubicBezTo>
                  <a:cubicBezTo>
                    <a:pt x="1377" y="38"/>
                    <a:pt x="1376" y="37"/>
                    <a:pt x="1375" y="36"/>
                  </a:cubicBezTo>
                  <a:cubicBezTo>
                    <a:pt x="1373" y="36"/>
                    <a:pt x="1371" y="35"/>
                    <a:pt x="1369" y="35"/>
                  </a:cubicBezTo>
                  <a:cubicBezTo>
                    <a:pt x="1367" y="35"/>
                    <a:pt x="1364" y="36"/>
                    <a:pt x="1362" y="38"/>
                  </a:cubicBezTo>
                  <a:cubicBezTo>
                    <a:pt x="1359" y="40"/>
                    <a:pt x="1356" y="42"/>
                    <a:pt x="1353" y="46"/>
                  </a:cubicBezTo>
                  <a:lnTo>
                    <a:pt x="1353" y="85"/>
                  </a:lnTo>
                  <a:cubicBezTo>
                    <a:pt x="1353" y="86"/>
                    <a:pt x="1353" y="86"/>
                    <a:pt x="1353" y="86"/>
                  </a:cubicBezTo>
                  <a:cubicBezTo>
                    <a:pt x="1353" y="86"/>
                    <a:pt x="1353" y="87"/>
                    <a:pt x="1352" y="87"/>
                  </a:cubicBezTo>
                  <a:cubicBezTo>
                    <a:pt x="1352" y="87"/>
                    <a:pt x="1351" y="87"/>
                    <a:pt x="1351" y="87"/>
                  </a:cubicBezTo>
                  <a:cubicBezTo>
                    <a:pt x="1350" y="87"/>
                    <a:pt x="1349" y="87"/>
                    <a:pt x="1348" y="87"/>
                  </a:cubicBezTo>
                  <a:cubicBezTo>
                    <a:pt x="1347" y="87"/>
                    <a:pt x="1346" y="87"/>
                    <a:pt x="1346" y="87"/>
                  </a:cubicBezTo>
                  <a:cubicBezTo>
                    <a:pt x="1345" y="87"/>
                    <a:pt x="1345" y="87"/>
                    <a:pt x="1344" y="87"/>
                  </a:cubicBezTo>
                  <a:cubicBezTo>
                    <a:pt x="1344" y="87"/>
                    <a:pt x="1343" y="86"/>
                    <a:pt x="1343" y="86"/>
                  </a:cubicBezTo>
                  <a:cubicBezTo>
                    <a:pt x="1343" y="86"/>
                    <a:pt x="1343" y="86"/>
                    <a:pt x="1343" y="85"/>
                  </a:cubicBezTo>
                  <a:lnTo>
                    <a:pt x="1343" y="29"/>
                  </a:lnTo>
                  <a:cubicBezTo>
                    <a:pt x="1343" y="29"/>
                    <a:pt x="1343" y="28"/>
                    <a:pt x="1343" y="28"/>
                  </a:cubicBezTo>
                  <a:cubicBezTo>
                    <a:pt x="1343" y="28"/>
                    <a:pt x="1344" y="28"/>
                    <a:pt x="1344" y="28"/>
                  </a:cubicBezTo>
                  <a:cubicBezTo>
                    <a:pt x="1344" y="27"/>
                    <a:pt x="1345" y="27"/>
                    <a:pt x="1345" y="27"/>
                  </a:cubicBezTo>
                  <a:cubicBezTo>
                    <a:pt x="1346" y="27"/>
                    <a:pt x="1347" y="27"/>
                    <a:pt x="1348" y="27"/>
                  </a:cubicBezTo>
                  <a:cubicBezTo>
                    <a:pt x="1349" y="27"/>
                    <a:pt x="1349" y="27"/>
                    <a:pt x="1350" y="27"/>
                  </a:cubicBezTo>
                  <a:cubicBezTo>
                    <a:pt x="1351" y="27"/>
                    <a:pt x="1351" y="27"/>
                    <a:pt x="1351" y="28"/>
                  </a:cubicBezTo>
                  <a:cubicBezTo>
                    <a:pt x="1352" y="28"/>
                    <a:pt x="1352" y="28"/>
                    <a:pt x="1352" y="28"/>
                  </a:cubicBezTo>
                  <a:cubicBezTo>
                    <a:pt x="1352" y="28"/>
                    <a:pt x="1352" y="29"/>
                    <a:pt x="1352" y="29"/>
                  </a:cubicBezTo>
                  <a:lnTo>
                    <a:pt x="1352" y="36"/>
                  </a:lnTo>
                  <a:cubicBezTo>
                    <a:pt x="1356" y="33"/>
                    <a:pt x="1359" y="30"/>
                    <a:pt x="1362" y="29"/>
                  </a:cubicBezTo>
                  <a:cubicBezTo>
                    <a:pt x="1365" y="27"/>
                    <a:pt x="1368" y="26"/>
                    <a:pt x="1371" y="26"/>
                  </a:cubicBezTo>
                  <a:cubicBezTo>
                    <a:pt x="1375" y="26"/>
                    <a:pt x="1378" y="27"/>
                    <a:pt x="1381" y="28"/>
                  </a:cubicBezTo>
                  <a:cubicBezTo>
                    <a:pt x="1383" y="29"/>
                    <a:pt x="1385" y="31"/>
                    <a:pt x="1387" y="33"/>
                  </a:cubicBezTo>
                  <a:cubicBezTo>
                    <a:pt x="1389" y="35"/>
                    <a:pt x="1390" y="38"/>
                    <a:pt x="1390" y="41"/>
                  </a:cubicBezTo>
                  <a:cubicBezTo>
                    <a:pt x="1391" y="44"/>
                    <a:pt x="1392" y="47"/>
                    <a:pt x="1392" y="51"/>
                  </a:cubicBezTo>
                  <a:lnTo>
                    <a:pt x="1392" y="85"/>
                  </a:lnTo>
                  <a:close/>
                  <a:moveTo>
                    <a:pt x="1436" y="81"/>
                  </a:moveTo>
                  <a:cubicBezTo>
                    <a:pt x="1436" y="82"/>
                    <a:pt x="1436" y="83"/>
                    <a:pt x="1436" y="84"/>
                  </a:cubicBezTo>
                  <a:cubicBezTo>
                    <a:pt x="1436" y="85"/>
                    <a:pt x="1436" y="85"/>
                    <a:pt x="1435" y="86"/>
                  </a:cubicBezTo>
                  <a:cubicBezTo>
                    <a:pt x="1435" y="86"/>
                    <a:pt x="1434" y="86"/>
                    <a:pt x="1434" y="87"/>
                  </a:cubicBezTo>
                  <a:cubicBezTo>
                    <a:pt x="1433" y="87"/>
                    <a:pt x="1432" y="87"/>
                    <a:pt x="1432" y="87"/>
                  </a:cubicBezTo>
                  <a:cubicBezTo>
                    <a:pt x="1431" y="87"/>
                    <a:pt x="1430" y="88"/>
                    <a:pt x="1429" y="88"/>
                  </a:cubicBezTo>
                  <a:cubicBezTo>
                    <a:pt x="1428" y="88"/>
                    <a:pt x="1427" y="88"/>
                    <a:pt x="1426" y="88"/>
                  </a:cubicBezTo>
                  <a:cubicBezTo>
                    <a:pt x="1423" y="88"/>
                    <a:pt x="1421" y="88"/>
                    <a:pt x="1418" y="87"/>
                  </a:cubicBezTo>
                  <a:cubicBezTo>
                    <a:pt x="1416" y="86"/>
                    <a:pt x="1415" y="85"/>
                    <a:pt x="1413" y="83"/>
                  </a:cubicBezTo>
                  <a:cubicBezTo>
                    <a:pt x="1412" y="82"/>
                    <a:pt x="1411" y="80"/>
                    <a:pt x="1410" y="77"/>
                  </a:cubicBezTo>
                  <a:cubicBezTo>
                    <a:pt x="1410" y="75"/>
                    <a:pt x="1410" y="72"/>
                    <a:pt x="1410" y="69"/>
                  </a:cubicBezTo>
                  <a:lnTo>
                    <a:pt x="1410" y="36"/>
                  </a:lnTo>
                  <a:lnTo>
                    <a:pt x="1402" y="36"/>
                  </a:lnTo>
                  <a:cubicBezTo>
                    <a:pt x="1401" y="36"/>
                    <a:pt x="1401" y="36"/>
                    <a:pt x="1400" y="35"/>
                  </a:cubicBezTo>
                  <a:cubicBezTo>
                    <a:pt x="1400" y="34"/>
                    <a:pt x="1400" y="33"/>
                    <a:pt x="1400" y="32"/>
                  </a:cubicBezTo>
                  <a:cubicBezTo>
                    <a:pt x="1400" y="31"/>
                    <a:pt x="1400" y="30"/>
                    <a:pt x="1400" y="30"/>
                  </a:cubicBezTo>
                  <a:cubicBezTo>
                    <a:pt x="1400" y="29"/>
                    <a:pt x="1400" y="29"/>
                    <a:pt x="1400" y="28"/>
                  </a:cubicBezTo>
                  <a:cubicBezTo>
                    <a:pt x="1400" y="28"/>
                    <a:pt x="1401" y="28"/>
                    <a:pt x="1401" y="28"/>
                  </a:cubicBezTo>
                  <a:cubicBezTo>
                    <a:pt x="1401" y="27"/>
                    <a:pt x="1401" y="27"/>
                    <a:pt x="1402" y="27"/>
                  </a:cubicBezTo>
                  <a:lnTo>
                    <a:pt x="1410" y="27"/>
                  </a:lnTo>
                  <a:lnTo>
                    <a:pt x="1410" y="14"/>
                  </a:lnTo>
                  <a:cubicBezTo>
                    <a:pt x="1410" y="14"/>
                    <a:pt x="1410" y="13"/>
                    <a:pt x="1410" y="13"/>
                  </a:cubicBezTo>
                  <a:cubicBezTo>
                    <a:pt x="1410" y="13"/>
                    <a:pt x="1410" y="13"/>
                    <a:pt x="1411" y="13"/>
                  </a:cubicBezTo>
                  <a:cubicBezTo>
                    <a:pt x="1411" y="12"/>
                    <a:pt x="1411" y="12"/>
                    <a:pt x="1412" y="12"/>
                  </a:cubicBezTo>
                  <a:cubicBezTo>
                    <a:pt x="1413" y="12"/>
                    <a:pt x="1414" y="12"/>
                    <a:pt x="1415" y="12"/>
                  </a:cubicBezTo>
                  <a:cubicBezTo>
                    <a:pt x="1416" y="12"/>
                    <a:pt x="1417" y="12"/>
                    <a:pt x="1417" y="12"/>
                  </a:cubicBezTo>
                  <a:cubicBezTo>
                    <a:pt x="1418" y="12"/>
                    <a:pt x="1418" y="12"/>
                    <a:pt x="1419" y="13"/>
                  </a:cubicBezTo>
                  <a:cubicBezTo>
                    <a:pt x="1419" y="13"/>
                    <a:pt x="1419" y="13"/>
                    <a:pt x="1420" y="13"/>
                  </a:cubicBezTo>
                  <a:cubicBezTo>
                    <a:pt x="1420" y="13"/>
                    <a:pt x="1420" y="14"/>
                    <a:pt x="1420" y="14"/>
                  </a:cubicBezTo>
                  <a:lnTo>
                    <a:pt x="1420" y="27"/>
                  </a:lnTo>
                  <a:lnTo>
                    <a:pt x="1434" y="27"/>
                  </a:lnTo>
                  <a:cubicBezTo>
                    <a:pt x="1435" y="27"/>
                    <a:pt x="1435" y="27"/>
                    <a:pt x="1435" y="28"/>
                  </a:cubicBezTo>
                  <a:cubicBezTo>
                    <a:pt x="1435" y="28"/>
                    <a:pt x="1436" y="28"/>
                    <a:pt x="1436" y="28"/>
                  </a:cubicBezTo>
                  <a:cubicBezTo>
                    <a:pt x="1436" y="29"/>
                    <a:pt x="1436" y="29"/>
                    <a:pt x="1436" y="30"/>
                  </a:cubicBezTo>
                  <a:cubicBezTo>
                    <a:pt x="1436" y="30"/>
                    <a:pt x="1436" y="31"/>
                    <a:pt x="1436" y="32"/>
                  </a:cubicBezTo>
                  <a:cubicBezTo>
                    <a:pt x="1436" y="33"/>
                    <a:pt x="1436" y="34"/>
                    <a:pt x="1436" y="35"/>
                  </a:cubicBezTo>
                  <a:cubicBezTo>
                    <a:pt x="1435" y="36"/>
                    <a:pt x="1435" y="36"/>
                    <a:pt x="1434" y="36"/>
                  </a:cubicBezTo>
                  <a:lnTo>
                    <a:pt x="1420" y="36"/>
                  </a:lnTo>
                  <a:lnTo>
                    <a:pt x="1420" y="67"/>
                  </a:lnTo>
                  <a:cubicBezTo>
                    <a:pt x="1420" y="71"/>
                    <a:pt x="1420" y="74"/>
                    <a:pt x="1422" y="76"/>
                  </a:cubicBezTo>
                  <a:cubicBezTo>
                    <a:pt x="1423" y="78"/>
                    <a:pt x="1425" y="79"/>
                    <a:pt x="1428" y="79"/>
                  </a:cubicBezTo>
                  <a:cubicBezTo>
                    <a:pt x="1429" y="79"/>
                    <a:pt x="1430" y="79"/>
                    <a:pt x="1430" y="79"/>
                  </a:cubicBezTo>
                  <a:cubicBezTo>
                    <a:pt x="1431" y="79"/>
                    <a:pt x="1432" y="78"/>
                    <a:pt x="1432" y="78"/>
                  </a:cubicBezTo>
                  <a:cubicBezTo>
                    <a:pt x="1433" y="78"/>
                    <a:pt x="1433" y="78"/>
                    <a:pt x="1434" y="78"/>
                  </a:cubicBezTo>
                  <a:cubicBezTo>
                    <a:pt x="1434" y="77"/>
                    <a:pt x="1435" y="77"/>
                    <a:pt x="1435" y="77"/>
                  </a:cubicBezTo>
                  <a:cubicBezTo>
                    <a:pt x="1435" y="77"/>
                    <a:pt x="1435" y="77"/>
                    <a:pt x="1435" y="78"/>
                  </a:cubicBezTo>
                  <a:cubicBezTo>
                    <a:pt x="1436" y="78"/>
                    <a:pt x="1436" y="78"/>
                    <a:pt x="1436" y="78"/>
                  </a:cubicBezTo>
                  <a:cubicBezTo>
                    <a:pt x="1436" y="78"/>
                    <a:pt x="1436" y="79"/>
                    <a:pt x="1436" y="79"/>
                  </a:cubicBezTo>
                  <a:cubicBezTo>
                    <a:pt x="1436" y="80"/>
                    <a:pt x="1436" y="80"/>
                    <a:pt x="1436" y="81"/>
                  </a:cubicBez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41" name="Freeform 159">
              <a:extLst>
                <a:ext uri="{FF2B5EF4-FFF2-40B4-BE49-F238E27FC236}">
                  <a16:creationId xmlns:a16="http://schemas.microsoft.com/office/drawing/2014/main" id="{1B162E44-5DC6-4D80-972A-BC95D13EBAC0}"/>
                </a:ext>
              </a:extLst>
            </p:cNvPr>
            <p:cNvSpPr>
              <a:spLocks noEditPoints="1"/>
            </p:cNvSpPr>
            <p:nvPr/>
          </p:nvSpPr>
          <p:spPr bwMode="auto">
            <a:xfrm>
              <a:off x="4956" y="3563"/>
              <a:ext cx="959" cy="89"/>
            </a:xfrm>
            <a:custGeom>
              <a:avLst/>
              <a:gdLst>
                <a:gd name="T0" fmla="*/ 2 w 2142"/>
                <a:gd name="T1" fmla="*/ 141 h 199"/>
                <a:gd name="T2" fmla="*/ 102 w 2142"/>
                <a:gd name="T3" fmla="*/ 151 h 199"/>
                <a:gd name="T4" fmla="*/ 125 w 2142"/>
                <a:gd name="T5" fmla="*/ 151 h 199"/>
                <a:gd name="T6" fmla="*/ 122 w 2142"/>
                <a:gd name="T7" fmla="*/ 154 h 199"/>
                <a:gd name="T8" fmla="*/ 221 w 2142"/>
                <a:gd name="T9" fmla="*/ 169 h 199"/>
                <a:gd name="T10" fmla="*/ 271 w 2142"/>
                <a:gd name="T11" fmla="*/ 170 h 199"/>
                <a:gd name="T12" fmla="*/ 246 w 2142"/>
                <a:gd name="T13" fmla="*/ 172 h 199"/>
                <a:gd name="T14" fmla="*/ 346 w 2142"/>
                <a:gd name="T15" fmla="*/ 178 h 199"/>
                <a:gd name="T16" fmla="*/ 369 w 2142"/>
                <a:gd name="T17" fmla="*/ 177 h 199"/>
                <a:gd name="T18" fmla="*/ 366 w 2142"/>
                <a:gd name="T19" fmla="*/ 179 h 199"/>
                <a:gd name="T20" fmla="*/ 466 w 2142"/>
                <a:gd name="T21" fmla="*/ 189 h 199"/>
                <a:gd name="T22" fmla="*/ 527 w 2142"/>
                <a:gd name="T23" fmla="*/ 188 h 199"/>
                <a:gd name="T24" fmla="*/ 491 w 2142"/>
                <a:gd name="T25" fmla="*/ 185 h 199"/>
                <a:gd name="T26" fmla="*/ 553 w 2142"/>
                <a:gd name="T27" fmla="*/ 194 h 199"/>
                <a:gd name="T28" fmla="*/ 652 w 2142"/>
                <a:gd name="T29" fmla="*/ 194 h 199"/>
                <a:gd name="T30" fmla="*/ 675 w 2142"/>
                <a:gd name="T31" fmla="*/ 191 h 199"/>
                <a:gd name="T32" fmla="*/ 673 w 2142"/>
                <a:gd name="T33" fmla="*/ 194 h 199"/>
                <a:gd name="T34" fmla="*/ 773 w 2142"/>
                <a:gd name="T35" fmla="*/ 198 h 199"/>
                <a:gd name="T36" fmla="*/ 810 w 2142"/>
                <a:gd name="T37" fmla="*/ 194 h 199"/>
                <a:gd name="T38" fmla="*/ 798 w 2142"/>
                <a:gd name="T39" fmla="*/ 199 h 199"/>
                <a:gd name="T40" fmla="*/ 898 w 2142"/>
                <a:gd name="T41" fmla="*/ 193 h 199"/>
                <a:gd name="T42" fmla="*/ 921 w 2142"/>
                <a:gd name="T43" fmla="*/ 190 h 199"/>
                <a:gd name="T44" fmla="*/ 918 w 2142"/>
                <a:gd name="T45" fmla="*/ 192 h 199"/>
                <a:gd name="T46" fmla="*/ 1018 w 2142"/>
                <a:gd name="T47" fmla="*/ 191 h 199"/>
                <a:gd name="T48" fmla="*/ 1078 w 2142"/>
                <a:gd name="T49" fmla="*/ 184 h 199"/>
                <a:gd name="T50" fmla="*/ 1044 w 2142"/>
                <a:gd name="T51" fmla="*/ 190 h 199"/>
                <a:gd name="T52" fmla="*/ 1143 w 2142"/>
                <a:gd name="T53" fmla="*/ 181 h 199"/>
                <a:gd name="T54" fmla="*/ 1166 w 2142"/>
                <a:gd name="T55" fmla="*/ 176 h 199"/>
                <a:gd name="T56" fmla="*/ 1164 w 2142"/>
                <a:gd name="T57" fmla="*/ 179 h 199"/>
                <a:gd name="T58" fmla="*/ 1263 w 2142"/>
                <a:gd name="T59" fmla="*/ 172 h 199"/>
                <a:gd name="T60" fmla="*/ 1324 w 2142"/>
                <a:gd name="T61" fmla="*/ 162 h 199"/>
                <a:gd name="T62" fmla="*/ 1288 w 2142"/>
                <a:gd name="T63" fmla="*/ 165 h 199"/>
                <a:gd name="T64" fmla="*/ 1350 w 2142"/>
                <a:gd name="T65" fmla="*/ 165 h 199"/>
                <a:gd name="T66" fmla="*/ 1449 w 2142"/>
                <a:gd name="T67" fmla="*/ 148 h 199"/>
                <a:gd name="T68" fmla="*/ 1471 w 2142"/>
                <a:gd name="T69" fmla="*/ 142 h 199"/>
                <a:gd name="T70" fmla="*/ 1469 w 2142"/>
                <a:gd name="T71" fmla="*/ 145 h 199"/>
                <a:gd name="T72" fmla="*/ 1568 w 2142"/>
                <a:gd name="T73" fmla="*/ 133 h 199"/>
                <a:gd name="T74" fmla="*/ 1613 w 2142"/>
                <a:gd name="T75" fmla="*/ 121 h 199"/>
                <a:gd name="T76" fmla="*/ 1593 w 2142"/>
                <a:gd name="T77" fmla="*/ 129 h 199"/>
                <a:gd name="T78" fmla="*/ 1691 w 2142"/>
                <a:gd name="T79" fmla="*/ 108 h 199"/>
                <a:gd name="T80" fmla="*/ 1713 w 2142"/>
                <a:gd name="T81" fmla="*/ 101 h 199"/>
                <a:gd name="T82" fmla="*/ 1711 w 2142"/>
                <a:gd name="T83" fmla="*/ 104 h 199"/>
                <a:gd name="T84" fmla="*/ 1810 w 2142"/>
                <a:gd name="T85" fmla="*/ 87 h 199"/>
                <a:gd name="T86" fmla="*/ 1869 w 2142"/>
                <a:gd name="T87" fmla="*/ 70 h 199"/>
                <a:gd name="T88" fmla="*/ 1834 w 2142"/>
                <a:gd name="T89" fmla="*/ 77 h 199"/>
                <a:gd name="T90" fmla="*/ 1895 w 2142"/>
                <a:gd name="T91" fmla="*/ 69 h 199"/>
                <a:gd name="T92" fmla="*/ 1991 w 2142"/>
                <a:gd name="T93" fmla="*/ 41 h 199"/>
                <a:gd name="T94" fmla="*/ 2012 w 2142"/>
                <a:gd name="T95" fmla="*/ 33 h 199"/>
                <a:gd name="T96" fmla="*/ 2011 w 2142"/>
                <a:gd name="T97" fmla="*/ 36 h 199"/>
                <a:gd name="T98" fmla="*/ 2108 w 2142"/>
                <a:gd name="T99" fmla="*/ 13 h 199"/>
                <a:gd name="T100" fmla="*/ 2139 w 2142"/>
                <a:gd name="T101" fmla="*/ 0 h 199"/>
                <a:gd name="T102" fmla="*/ 2131 w 2142"/>
                <a:gd name="T103" fmla="*/ 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2" h="199">
                  <a:moveTo>
                    <a:pt x="3" y="136"/>
                  </a:moveTo>
                  <a:lnTo>
                    <a:pt x="38" y="140"/>
                  </a:lnTo>
                  <a:cubicBezTo>
                    <a:pt x="40" y="141"/>
                    <a:pt x="41" y="142"/>
                    <a:pt x="41" y="143"/>
                  </a:cubicBezTo>
                  <a:cubicBezTo>
                    <a:pt x="40" y="145"/>
                    <a:pt x="39" y="146"/>
                    <a:pt x="38" y="146"/>
                  </a:cubicBezTo>
                  <a:lnTo>
                    <a:pt x="2" y="141"/>
                  </a:lnTo>
                  <a:cubicBezTo>
                    <a:pt x="1" y="141"/>
                    <a:pt x="0" y="140"/>
                    <a:pt x="0" y="138"/>
                  </a:cubicBezTo>
                  <a:cubicBezTo>
                    <a:pt x="0" y="137"/>
                    <a:pt x="1" y="136"/>
                    <a:pt x="3" y="136"/>
                  </a:cubicBezTo>
                  <a:close/>
                  <a:moveTo>
                    <a:pt x="64" y="144"/>
                  </a:moveTo>
                  <a:lnTo>
                    <a:pt x="99" y="148"/>
                  </a:lnTo>
                  <a:cubicBezTo>
                    <a:pt x="101" y="148"/>
                    <a:pt x="102" y="150"/>
                    <a:pt x="102" y="151"/>
                  </a:cubicBezTo>
                  <a:cubicBezTo>
                    <a:pt x="101" y="152"/>
                    <a:pt x="100" y="153"/>
                    <a:pt x="99" y="153"/>
                  </a:cubicBezTo>
                  <a:lnTo>
                    <a:pt x="63" y="149"/>
                  </a:lnTo>
                  <a:cubicBezTo>
                    <a:pt x="62" y="149"/>
                    <a:pt x="61" y="147"/>
                    <a:pt x="61" y="146"/>
                  </a:cubicBezTo>
                  <a:cubicBezTo>
                    <a:pt x="61" y="144"/>
                    <a:pt x="62" y="143"/>
                    <a:pt x="64" y="144"/>
                  </a:cubicBezTo>
                  <a:close/>
                  <a:moveTo>
                    <a:pt x="125" y="151"/>
                  </a:moveTo>
                  <a:lnTo>
                    <a:pt x="160" y="156"/>
                  </a:lnTo>
                  <a:cubicBezTo>
                    <a:pt x="162" y="156"/>
                    <a:pt x="163" y="157"/>
                    <a:pt x="162" y="159"/>
                  </a:cubicBezTo>
                  <a:cubicBezTo>
                    <a:pt x="162" y="160"/>
                    <a:pt x="161" y="161"/>
                    <a:pt x="160" y="161"/>
                  </a:cubicBezTo>
                  <a:lnTo>
                    <a:pt x="124" y="156"/>
                  </a:lnTo>
                  <a:cubicBezTo>
                    <a:pt x="123" y="156"/>
                    <a:pt x="122" y="155"/>
                    <a:pt x="122" y="154"/>
                  </a:cubicBezTo>
                  <a:cubicBezTo>
                    <a:pt x="122" y="152"/>
                    <a:pt x="123" y="151"/>
                    <a:pt x="125" y="151"/>
                  </a:cubicBezTo>
                  <a:close/>
                  <a:moveTo>
                    <a:pt x="186" y="159"/>
                  </a:moveTo>
                  <a:lnTo>
                    <a:pt x="221" y="164"/>
                  </a:lnTo>
                  <a:cubicBezTo>
                    <a:pt x="223" y="164"/>
                    <a:pt x="224" y="165"/>
                    <a:pt x="223" y="166"/>
                  </a:cubicBezTo>
                  <a:cubicBezTo>
                    <a:pt x="223" y="168"/>
                    <a:pt x="222" y="169"/>
                    <a:pt x="221" y="169"/>
                  </a:cubicBezTo>
                  <a:lnTo>
                    <a:pt x="185" y="164"/>
                  </a:lnTo>
                  <a:cubicBezTo>
                    <a:pt x="184" y="164"/>
                    <a:pt x="183" y="163"/>
                    <a:pt x="183" y="161"/>
                  </a:cubicBezTo>
                  <a:cubicBezTo>
                    <a:pt x="183" y="160"/>
                    <a:pt x="184" y="159"/>
                    <a:pt x="186" y="159"/>
                  </a:cubicBezTo>
                  <a:close/>
                  <a:moveTo>
                    <a:pt x="247" y="167"/>
                  </a:moveTo>
                  <a:lnTo>
                    <a:pt x="271" y="170"/>
                  </a:lnTo>
                  <a:lnTo>
                    <a:pt x="282" y="171"/>
                  </a:lnTo>
                  <a:cubicBezTo>
                    <a:pt x="283" y="171"/>
                    <a:pt x="285" y="172"/>
                    <a:pt x="284" y="173"/>
                  </a:cubicBezTo>
                  <a:cubicBezTo>
                    <a:pt x="284" y="175"/>
                    <a:pt x="283" y="176"/>
                    <a:pt x="282" y="176"/>
                  </a:cubicBezTo>
                  <a:lnTo>
                    <a:pt x="270" y="175"/>
                  </a:lnTo>
                  <a:lnTo>
                    <a:pt x="246" y="172"/>
                  </a:lnTo>
                  <a:cubicBezTo>
                    <a:pt x="245" y="172"/>
                    <a:pt x="244" y="170"/>
                    <a:pt x="244" y="169"/>
                  </a:cubicBezTo>
                  <a:cubicBezTo>
                    <a:pt x="244" y="168"/>
                    <a:pt x="245" y="167"/>
                    <a:pt x="247" y="167"/>
                  </a:cubicBezTo>
                  <a:close/>
                  <a:moveTo>
                    <a:pt x="308" y="173"/>
                  </a:moveTo>
                  <a:lnTo>
                    <a:pt x="343" y="175"/>
                  </a:lnTo>
                  <a:cubicBezTo>
                    <a:pt x="345" y="175"/>
                    <a:pt x="346" y="176"/>
                    <a:pt x="346" y="178"/>
                  </a:cubicBezTo>
                  <a:cubicBezTo>
                    <a:pt x="346" y="179"/>
                    <a:pt x="344" y="180"/>
                    <a:pt x="343" y="180"/>
                  </a:cubicBezTo>
                  <a:lnTo>
                    <a:pt x="307" y="178"/>
                  </a:lnTo>
                  <a:cubicBezTo>
                    <a:pt x="306" y="178"/>
                    <a:pt x="305" y="176"/>
                    <a:pt x="305" y="175"/>
                  </a:cubicBezTo>
                  <a:cubicBezTo>
                    <a:pt x="305" y="173"/>
                    <a:pt x="306" y="172"/>
                    <a:pt x="308" y="173"/>
                  </a:cubicBezTo>
                  <a:close/>
                  <a:moveTo>
                    <a:pt x="369" y="177"/>
                  </a:moveTo>
                  <a:lnTo>
                    <a:pt x="405" y="179"/>
                  </a:lnTo>
                  <a:cubicBezTo>
                    <a:pt x="406" y="179"/>
                    <a:pt x="407" y="181"/>
                    <a:pt x="407" y="182"/>
                  </a:cubicBezTo>
                  <a:cubicBezTo>
                    <a:pt x="407" y="183"/>
                    <a:pt x="406" y="185"/>
                    <a:pt x="404" y="184"/>
                  </a:cubicBezTo>
                  <a:lnTo>
                    <a:pt x="368" y="182"/>
                  </a:lnTo>
                  <a:cubicBezTo>
                    <a:pt x="367" y="182"/>
                    <a:pt x="366" y="181"/>
                    <a:pt x="366" y="179"/>
                  </a:cubicBezTo>
                  <a:cubicBezTo>
                    <a:pt x="366" y="178"/>
                    <a:pt x="367" y="177"/>
                    <a:pt x="369" y="177"/>
                  </a:cubicBezTo>
                  <a:close/>
                  <a:moveTo>
                    <a:pt x="430" y="181"/>
                  </a:moveTo>
                  <a:lnTo>
                    <a:pt x="466" y="184"/>
                  </a:lnTo>
                  <a:cubicBezTo>
                    <a:pt x="467" y="184"/>
                    <a:pt x="468" y="185"/>
                    <a:pt x="468" y="186"/>
                  </a:cubicBezTo>
                  <a:cubicBezTo>
                    <a:pt x="468" y="188"/>
                    <a:pt x="467" y="189"/>
                    <a:pt x="466" y="189"/>
                  </a:cubicBezTo>
                  <a:lnTo>
                    <a:pt x="430" y="186"/>
                  </a:lnTo>
                  <a:cubicBezTo>
                    <a:pt x="428" y="186"/>
                    <a:pt x="427" y="185"/>
                    <a:pt x="427" y="184"/>
                  </a:cubicBezTo>
                  <a:cubicBezTo>
                    <a:pt x="428" y="182"/>
                    <a:pt x="429" y="181"/>
                    <a:pt x="430" y="181"/>
                  </a:cubicBezTo>
                  <a:close/>
                  <a:moveTo>
                    <a:pt x="491" y="185"/>
                  </a:moveTo>
                  <a:lnTo>
                    <a:pt x="527" y="188"/>
                  </a:lnTo>
                  <a:cubicBezTo>
                    <a:pt x="529" y="188"/>
                    <a:pt x="530" y="189"/>
                    <a:pt x="530" y="191"/>
                  </a:cubicBezTo>
                  <a:cubicBezTo>
                    <a:pt x="529" y="192"/>
                    <a:pt x="528" y="193"/>
                    <a:pt x="527" y="193"/>
                  </a:cubicBezTo>
                  <a:lnTo>
                    <a:pt x="491" y="191"/>
                  </a:lnTo>
                  <a:cubicBezTo>
                    <a:pt x="490" y="190"/>
                    <a:pt x="489" y="189"/>
                    <a:pt x="489" y="188"/>
                  </a:cubicBezTo>
                  <a:cubicBezTo>
                    <a:pt x="489" y="186"/>
                    <a:pt x="490" y="185"/>
                    <a:pt x="491" y="185"/>
                  </a:cubicBezTo>
                  <a:close/>
                  <a:moveTo>
                    <a:pt x="553" y="189"/>
                  </a:moveTo>
                  <a:lnTo>
                    <a:pt x="588" y="190"/>
                  </a:lnTo>
                  <a:cubicBezTo>
                    <a:pt x="590" y="190"/>
                    <a:pt x="591" y="191"/>
                    <a:pt x="591" y="192"/>
                  </a:cubicBezTo>
                  <a:cubicBezTo>
                    <a:pt x="591" y="194"/>
                    <a:pt x="590" y="195"/>
                    <a:pt x="588" y="195"/>
                  </a:cubicBezTo>
                  <a:lnTo>
                    <a:pt x="553" y="194"/>
                  </a:lnTo>
                  <a:cubicBezTo>
                    <a:pt x="551" y="194"/>
                    <a:pt x="550" y="193"/>
                    <a:pt x="550" y="192"/>
                  </a:cubicBezTo>
                  <a:cubicBezTo>
                    <a:pt x="550" y="190"/>
                    <a:pt x="551" y="189"/>
                    <a:pt x="553" y="189"/>
                  </a:cubicBezTo>
                  <a:close/>
                  <a:moveTo>
                    <a:pt x="614" y="190"/>
                  </a:moveTo>
                  <a:lnTo>
                    <a:pt x="650" y="191"/>
                  </a:lnTo>
                  <a:cubicBezTo>
                    <a:pt x="651" y="191"/>
                    <a:pt x="652" y="192"/>
                    <a:pt x="652" y="194"/>
                  </a:cubicBezTo>
                  <a:cubicBezTo>
                    <a:pt x="652" y="195"/>
                    <a:pt x="651" y="196"/>
                    <a:pt x="650" y="196"/>
                  </a:cubicBezTo>
                  <a:lnTo>
                    <a:pt x="614" y="195"/>
                  </a:lnTo>
                  <a:cubicBezTo>
                    <a:pt x="613" y="195"/>
                    <a:pt x="611" y="194"/>
                    <a:pt x="611" y="193"/>
                  </a:cubicBezTo>
                  <a:cubicBezTo>
                    <a:pt x="611" y="191"/>
                    <a:pt x="613" y="190"/>
                    <a:pt x="614" y="190"/>
                  </a:cubicBezTo>
                  <a:close/>
                  <a:moveTo>
                    <a:pt x="675" y="191"/>
                  </a:moveTo>
                  <a:lnTo>
                    <a:pt x="711" y="192"/>
                  </a:lnTo>
                  <a:cubicBezTo>
                    <a:pt x="713" y="192"/>
                    <a:pt x="714" y="193"/>
                    <a:pt x="714" y="195"/>
                  </a:cubicBezTo>
                  <a:cubicBezTo>
                    <a:pt x="714" y="196"/>
                    <a:pt x="713" y="197"/>
                    <a:pt x="711" y="197"/>
                  </a:cubicBezTo>
                  <a:lnTo>
                    <a:pt x="675" y="197"/>
                  </a:lnTo>
                  <a:cubicBezTo>
                    <a:pt x="674" y="197"/>
                    <a:pt x="673" y="195"/>
                    <a:pt x="673" y="194"/>
                  </a:cubicBezTo>
                  <a:cubicBezTo>
                    <a:pt x="673" y="193"/>
                    <a:pt x="674" y="191"/>
                    <a:pt x="675" y="191"/>
                  </a:cubicBezTo>
                  <a:close/>
                  <a:moveTo>
                    <a:pt x="737" y="193"/>
                  </a:moveTo>
                  <a:lnTo>
                    <a:pt x="773" y="193"/>
                  </a:lnTo>
                  <a:cubicBezTo>
                    <a:pt x="774" y="193"/>
                    <a:pt x="775" y="194"/>
                    <a:pt x="775" y="196"/>
                  </a:cubicBezTo>
                  <a:cubicBezTo>
                    <a:pt x="775" y="197"/>
                    <a:pt x="774" y="198"/>
                    <a:pt x="773" y="198"/>
                  </a:cubicBezTo>
                  <a:lnTo>
                    <a:pt x="737" y="198"/>
                  </a:lnTo>
                  <a:cubicBezTo>
                    <a:pt x="735" y="198"/>
                    <a:pt x="734" y="196"/>
                    <a:pt x="734" y="195"/>
                  </a:cubicBezTo>
                  <a:cubicBezTo>
                    <a:pt x="734" y="194"/>
                    <a:pt x="735" y="193"/>
                    <a:pt x="737" y="193"/>
                  </a:cubicBezTo>
                  <a:close/>
                  <a:moveTo>
                    <a:pt x="798" y="194"/>
                  </a:moveTo>
                  <a:lnTo>
                    <a:pt x="810" y="194"/>
                  </a:lnTo>
                  <a:lnTo>
                    <a:pt x="834" y="193"/>
                  </a:lnTo>
                  <a:cubicBezTo>
                    <a:pt x="835" y="193"/>
                    <a:pt x="837" y="194"/>
                    <a:pt x="837" y="195"/>
                  </a:cubicBezTo>
                  <a:cubicBezTo>
                    <a:pt x="837" y="197"/>
                    <a:pt x="836" y="198"/>
                    <a:pt x="834" y="198"/>
                  </a:cubicBezTo>
                  <a:lnTo>
                    <a:pt x="809" y="199"/>
                  </a:lnTo>
                  <a:lnTo>
                    <a:pt x="798" y="199"/>
                  </a:lnTo>
                  <a:cubicBezTo>
                    <a:pt x="797" y="199"/>
                    <a:pt x="796" y="198"/>
                    <a:pt x="796" y="196"/>
                  </a:cubicBezTo>
                  <a:cubicBezTo>
                    <a:pt x="796" y="195"/>
                    <a:pt x="797" y="194"/>
                    <a:pt x="798" y="194"/>
                  </a:cubicBezTo>
                  <a:close/>
                  <a:moveTo>
                    <a:pt x="860" y="192"/>
                  </a:moveTo>
                  <a:lnTo>
                    <a:pt x="895" y="191"/>
                  </a:lnTo>
                  <a:cubicBezTo>
                    <a:pt x="897" y="191"/>
                    <a:pt x="898" y="192"/>
                    <a:pt x="898" y="193"/>
                  </a:cubicBezTo>
                  <a:cubicBezTo>
                    <a:pt x="898" y="195"/>
                    <a:pt x="897" y="196"/>
                    <a:pt x="896" y="196"/>
                  </a:cubicBezTo>
                  <a:lnTo>
                    <a:pt x="860" y="197"/>
                  </a:lnTo>
                  <a:cubicBezTo>
                    <a:pt x="858" y="197"/>
                    <a:pt x="857" y="196"/>
                    <a:pt x="857" y="195"/>
                  </a:cubicBezTo>
                  <a:cubicBezTo>
                    <a:pt x="857" y="193"/>
                    <a:pt x="858" y="192"/>
                    <a:pt x="860" y="192"/>
                  </a:cubicBezTo>
                  <a:close/>
                  <a:moveTo>
                    <a:pt x="921" y="190"/>
                  </a:moveTo>
                  <a:lnTo>
                    <a:pt x="957" y="188"/>
                  </a:lnTo>
                  <a:cubicBezTo>
                    <a:pt x="958" y="188"/>
                    <a:pt x="959" y="189"/>
                    <a:pt x="959" y="191"/>
                  </a:cubicBezTo>
                  <a:cubicBezTo>
                    <a:pt x="959" y="192"/>
                    <a:pt x="958" y="193"/>
                    <a:pt x="957" y="194"/>
                  </a:cubicBezTo>
                  <a:lnTo>
                    <a:pt x="921" y="195"/>
                  </a:lnTo>
                  <a:cubicBezTo>
                    <a:pt x="920" y="195"/>
                    <a:pt x="919" y="194"/>
                    <a:pt x="918" y="192"/>
                  </a:cubicBezTo>
                  <a:cubicBezTo>
                    <a:pt x="918" y="191"/>
                    <a:pt x="920" y="190"/>
                    <a:pt x="921" y="190"/>
                  </a:cubicBezTo>
                  <a:close/>
                  <a:moveTo>
                    <a:pt x="982" y="187"/>
                  </a:moveTo>
                  <a:lnTo>
                    <a:pt x="1018" y="186"/>
                  </a:lnTo>
                  <a:cubicBezTo>
                    <a:pt x="1020" y="186"/>
                    <a:pt x="1021" y="187"/>
                    <a:pt x="1021" y="189"/>
                  </a:cubicBezTo>
                  <a:cubicBezTo>
                    <a:pt x="1021" y="190"/>
                    <a:pt x="1020" y="191"/>
                    <a:pt x="1018" y="191"/>
                  </a:cubicBezTo>
                  <a:lnTo>
                    <a:pt x="983" y="193"/>
                  </a:lnTo>
                  <a:cubicBezTo>
                    <a:pt x="981" y="193"/>
                    <a:pt x="980" y="192"/>
                    <a:pt x="980" y="190"/>
                  </a:cubicBezTo>
                  <a:cubicBezTo>
                    <a:pt x="980" y="189"/>
                    <a:pt x="981" y="188"/>
                    <a:pt x="982" y="187"/>
                  </a:cubicBezTo>
                  <a:close/>
                  <a:moveTo>
                    <a:pt x="1044" y="185"/>
                  </a:moveTo>
                  <a:lnTo>
                    <a:pt x="1078" y="184"/>
                  </a:lnTo>
                  <a:lnTo>
                    <a:pt x="1079" y="184"/>
                  </a:lnTo>
                  <a:cubicBezTo>
                    <a:pt x="1081" y="184"/>
                    <a:pt x="1082" y="185"/>
                    <a:pt x="1082" y="186"/>
                  </a:cubicBezTo>
                  <a:cubicBezTo>
                    <a:pt x="1082" y="188"/>
                    <a:pt x="1081" y="189"/>
                    <a:pt x="1080" y="189"/>
                  </a:cubicBezTo>
                  <a:lnTo>
                    <a:pt x="1079" y="189"/>
                  </a:lnTo>
                  <a:lnTo>
                    <a:pt x="1044" y="190"/>
                  </a:lnTo>
                  <a:cubicBezTo>
                    <a:pt x="1042" y="190"/>
                    <a:pt x="1041" y="189"/>
                    <a:pt x="1041" y="188"/>
                  </a:cubicBezTo>
                  <a:cubicBezTo>
                    <a:pt x="1041" y="186"/>
                    <a:pt x="1042" y="185"/>
                    <a:pt x="1044" y="185"/>
                  </a:cubicBezTo>
                  <a:close/>
                  <a:moveTo>
                    <a:pt x="1105" y="182"/>
                  </a:moveTo>
                  <a:lnTo>
                    <a:pt x="1141" y="178"/>
                  </a:lnTo>
                  <a:cubicBezTo>
                    <a:pt x="1142" y="178"/>
                    <a:pt x="1143" y="179"/>
                    <a:pt x="1143" y="181"/>
                  </a:cubicBezTo>
                  <a:cubicBezTo>
                    <a:pt x="1143" y="182"/>
                    <a:pt x="1142" y="183"/>
                    <a:pt x="1141" y="183"/>
                  </a:cubicBezTo>
                  <a:lnTo>
                    <a:pt x="1105" y="187"/>
                  </a:lnTo>
                  <a:cubicBezTo>
                    <a:pt x="1104" y="187"/>
                    <a:pt x="1103" y="186"/>
                    <a:pt x="1103" y="184"/>
                  </a:cubicBezTo>
                  <a:cubicBezTo>
                    <a:pt x="1102" y="183"/>
                    <a:pt x="1103" y="182"/>
                    <a:pt x="1105" y="182"/>
                  </a:cubicBezTo>
                  <a:close/>
                  <a:moveTo>
                    <a:pt x="1166" y="176"/>
                  </a:moveTo>
                  <a:lnTo>
                    <a:pt x="1202" y="173"/>
                  </a:lnTo>
                  <a:cubicBezTo>
                    <a:pt x="1203" y="173"/>
                    <a:pt x="1204" y="174"/>
                    <a:pt x="1205" y="175"/>
                  </a:cubicBezTo>
                  <a:cubicBezTo>
                    <a:pt x="1205" y="177"/>
                    <a:pt x="1204" y="178"/>
                    <a:pt x="1202" y="178"/>
                  </a:cubicBezTo>
                  <a:lnTo>
                    <a:pt x="1167" y="181"/>
                  </a:lnTo>
                  <a:cubicBezTo>
                    <a:pt x="1165" y="181"/>
                    <a:pt x="1164" y="180"/>
                    <a:pt x="1164" y="179"/>
                  </a:cubicBezTo>
                  <a:cubicBezTo>
                    <a:pt x="1164" y="177"/>
                    <a:pt x="1165" y="176"/>
                    <a:pt x="1166" y="176"/>
                  </a:cubicBezTo>
                  <a:close/>
                  <a:moveTo>
                    <a:pt x="1227" y="171"/>
                  </a:moveTo>
                  <a:lnTo>
                    <a:pt x="1263" y="167"/>
                  </a:lnTo>
                  <a:cubicBezTo>
                    <a:pt x="1264" y="167"/>
                    <a:pt x="1266" y="168"/>
                    <a:pt x="1266" y="170"/>
                  </a:cubicBezTo>
                  <a:cubicBezTo>
                    <a:pt x="1266" y="171"/>
                    <a:pt x="1265" y="172"/>
                    <a:pt x="1263" y="172"/>
                  </a:cubicBezTo>
                  <a:lnTo>
                    <a:pt x="1228" y="176"/>
                  </a:lnTo>
                  <a:cubicBezTo>
                    <a:pt x="1226" y="176"/>
                    <a:pt x="1225" y="175"/>
                    <a:pt x="1225" y="173"/>
                  </a:cubicBezTo>
                  <a:cubicBezTo>
                    <a:pt x="1225" y="172"/>
                    <a:pt x="1226" y="171"/>
                    <a:pt x="1227" y="171"/>
                  </a:cubicBezTo>
                  <a:close/>
                  <a:moveTo>
                    <a:pt x="1288" y="165"/>
                  </a:moveTo>
                  <a:lnTo>
                    <a:pt x="1324" y="162"/>
                  </a:lnTo>
                  <a:cubicBezTo>
                    <a:pt x="1326" y="162"/>
                    <a:pt x="1327" y="163"/>
                    <a:pt x="1327" y="164"/>
                  </a:cubicBezTo>
                  <a:cubicBezTo>
                    <a:pt x="1327" y="166"/>
                    <a:pt x="1326" y="167"/>
                    <a:pt x="1325" y="167"/>
                  </a:cubicBezTo>
                  <a:lnTo>
                    <a:pt x="1289" y="170"/>
                  </a:lnTo>
                  <a:cubicBezTo>
                    <a:pt x="1288" y="170"/>
                    <a:pt x="1286" y="169"/>
                    <a:pt x="1286" y="168"/>
                  </a:cubicBezTo>
                  <a:cubicBezTo>
                    <a:pt x="1286" y="166"/>
                    <a:pt x="1287" y="165"/>
                    <a:pt x="1288" y="165"/>
                  </a:cubicBezTo>
                  <a:close/>
                  <a:moveTo>
                    <a:pt x="1349" y="159"/>
                  </a:moveTo>
                  <a:lnTo>
                    <a:pt x="1385" y="154"/>
                  </a:lnTo>
                  <a:cubicBezTo>
                    <a:pt x="1386" y="154"/>
                    <a:pt x="1388" y="155"/>
                    <a:pt x="1388" y="156"/>
                  </a:cubicBezTo>
                  <a:cubicBezTo>
                    <a:pt x="1388" y="158"/>
                    <a:pt x="1387" y="159"/>
                    <a:pt x="1386" y="159"/>
                  </a:cubicBezTo>
                  <a:lnTo>
                    <a:pt x="1350" y="165"/>
                  </a:lnTo>
                  <a:cubicBezTo>
                    <a:pt x="1349" y="165"/>
                    <a:pt x="1348" y="164"/>
                    <a:pt x="1347" y="162"/>
                  </a:cubicBezTo>
                  <a:cubicBezTo>
                    <a:pt x="1347" y="161"/>
                    <a:pt x="1348" y="160"/>
                    <a:pt x="1349" y="159"/>
                  </a:cubicBezTo>
                  <a:close/>
                  <a:moveTo>
                    <a:pt x="1410" y="151"/>
                  </a:moveTo>
                  <a:lnTo>
                    <a:pt x="1446" y="145"/>
                  </a:lnTo>
                  <a:cubicBezTo>
                    <a:pt x="1447" y="145"/>
                    <a:pt x="1448" y="146"/>
                    <a:pt x="1449" y="148"/>
                  </a:cubicBezTo>
                  <a:cubicBezTo>
                    <a:pt x="1449" y="149"/>
                    <a:pt x="1448" y="150"/>
                    <a:pt x="1446" y="150"/>
                  </a:cubicBezTo>
                  <a:lnTo>
                    <a:pt x="1411" y="156"/>
                  </a:lnTo>
                  <a:cubicBezTo>
                    <a:pt x="1410" y="156"/>
                    <a:pt x="1408" y="155"/>
                    <a:pt x="1408" y="153"/>
                  </a:cubicBezTo>
                  <a:cubicBezTo>
                    <a:pt x="1408" y="152"/>
                    <a:pt x="1409" y="151"/>
                    <a:pt x="1410" y="151"/>
                  </a:cubicBezTo>
                  <a:close/>
                  <a:moveTo>
                    <a:pt x="1471" y="142"/>
                  </a:moveTo>
                  <a:lnTo>
                    <a:pt x="1507" y="136"/>
                  </a:lnTo>
                  <a:cubicBezTo>
                    <a:pt x="1508" y="136"/>
                    <a:pt x="1509" y="137"/>
                    <a:pt x="1509" y="139"/>
                  </a:cubicBezTo>
                  <a:cubicBezTo>
                    <a:pt x="1510" y="140"/>
                    <a:pt x="1509" y="141"/>
                    <a:pt x="1507" y="142"/>
                  </a:cubicBezTo>
                  <a:lnTo>
                    <a:pt x="1472" y="147"/>
                  </a:lnTo>
                  <a:cubicBezTo>
                    <a:pt x="1470" y="147"/>
                    <a:pt x="1469" y="146"/>
                    <a:pt x="1469" y="145"/>
                  </a:cubicBezTo>
                  <a:cubicBezTo>
                    <a:pt x="1469" y="143"/>
                    <a:pt x="1470" y="142"/>
                    <a:pt x="1471" y="142"/>
                  </a:cubicBezTo>
                  <a:close/>
                  <a:moveTo>
                    <a:pt x="1532" y="133"/>
                  </a:moveTo>
                  <a:lnTo>
                    <a:pt x="1567" y="128"/>
                  </a:lnTo>
                  <a:cubicBezTo>
                    <a:pt x="1569" y="127"/>
                    <a:pt x="1570" y="128"/>
                    <a:pt x="1570" y="130"/>
                  </a:cubicBezTo>
                  <a:cubicBezTo>
                    <a:pt x="1570" y="131"/>
                    <a:pt x="1569" y="132"/>
                    <a:pt x="1568" y="133"/>
                  </a:cubicBezTo>
                  <a:lnTo>
                    <a:pt x="1533" y="138"/>
                  </a:lnTo>
                  <a:cubicBezTo>
                    <a:pt x="1531" y="138"/>
                    <a:pt x="1530" y="137"/>
                    <a:pt x="1530" y="136"/>
                  </a:cubicBezTo>
                  <a:cubicBezTo>
                    <a:pt x="1529" y="134"/>
                    <a:pt x="1530" y="133"/>
                    <a:pt x="1532" y="133"/>
                  </a:cubicBezTo>
                  <a:close/>
                  <a:moveTo>
                    <a:pt x="1593" y="124"/>
                  </a:moveTo>
                  <a:lnTo>
                    <a:pt x="1613" y="121"/>
                  </a:lnTo>
                  <a:lnTo>
                    <a:pt x="1628" y="118"/>
                  </a:lnTo>
                  <a:cubicBezTo>
                    <a:pt x="1629" y="118"/>
                    <a:pt x="1631" y="119"/>
                    <a:pt x="1631" y="120"/>
                  </a:cubicBezTo>
                  <a:cubicBezTo>
                    <a:pt x="1631" y="121"/>
                    <a:pt x="1630" y="123"/>
                    <a:pt x="1629" y="123"/>
                  </a:cubicBezTo>
                  <a:lnTo>
                    <a:pt x="1614" y="126"/>
                  </a:lnTo>
                  <a:lnTo>
                    <a:pt x="1593" y="129"/>
                  </a:lnTo>
                  <a:cubicBezTo>
                    <a:pt x="1592" y="129"/>
                    <a:pt x="1591" y="128"/>
                    <a:pt x="1590" y="127"/>
                  </a:cubicBezTo>
                  <a:cubicBezTo>
                    <a:pt x="1590" y="125"/>
                    <a:pt x="1591" y="124"/>
                    <a:pt x="1593" y="124"/>
                  </a:cubicBezTo>
                  <a:close/>
                  <a:moveTo>
                    <a:pt x="1653" y="113"/>
                  </a:moveTo>
                  <a:lnTo>
                    <a:pt x="1688" y="106"/>
                  </a:lnTo>
                  <a:cubicBezTo>
                    <a:pt x="1689" y="106"/>
                    <a:pt x="1691" y="106"/>
                    <a:pt x="1691" y="108"/>
                  </a:cubicBezTo>
                  <a:cubicBezTo>
                    <a:pt x="1691" y="109"/>
                    <a:pt x="1690" y="111"/>
                    <a:pt x="1689" y="111"/>
                  </a:cubicBezTo>
                  <a:lnTo>
                    <a:pt x="1654" y="118"/>
                  </a:lnTo>
                  <a:cubicBezTo>
                    <a:pt x="1653" y="118"/>
                    <a:pt x="1651" y="117"/>
                    <a:pt x="1651" y="116"/>
                  </a:cubicBezTo>
                  <a:cubicBezTo>
                    <a:pt x="1651" y="115"/>
                    <a:pt x="1652" y="113"/>
                    <a:pt x="1653" y="113"/>
                  </a:cubicBezTo>
                  <a:close/>
                  <a:moveTo>
                    <a:pt x="1713" y="101"/>
                  </a:moveTo>
                  <a:lnTo>
                    <a:pt x="1748" y="94"/>
                  </a:lnTo>
                  <a:cubicBezTo>
                    <a:pt x="1750" y="94"/>
                    <a:pt x="1751" y="94"/>
                    <a:pt x="1751" y="96"/>
                  </a:cubicBezTo>
                  <a:cubicBezTo>
                    <a:pt x="1752" y="97"/>
                    <a:pt x="1751" y="99"/>
                    <a:pt x="1749" y="99"/>
                  </a:cubicBezTo>
                  <a:lnTo>
                    <a:pt x="1714" y="106"/>
                  </a:lnTo>
                  <a:cubicBezTo>
                    <a:pt x="1713" y="106"/>
                    <a:pt x="1711" y="105"/>
                    <a:pt x="1711" y="104"/>
                  </a:cubicBezTo>
                  <a:cubicBezTo>
                    <a:pt x="1711" y="102"/>
                    <a:pt x="1712" y="101"/>
                    <a:pt x="1713" y="101"/>
                  </a:cubicBezTo>
                  <a:close/>
                  <a:moveTo>
                    <a:pt x="1773" y="89"/>
                  </a:moveTo>
                  <a:lnTo>
                    <a:pt x="1809" y="82"/>
                  </a:lnTo>
                  <a:cubicBezTo>
                    <a:pt x="1810" y="81"/>
                    <a:pt x="1811" y="82"/>
                    <a:pt x="1812" y="84"/>
                  </a:cubicBezTo>
                  <a:cubicBezTo>
                    <a:pt x="1812" y="85"/>
                    <a:pt x="1811" y="86"/>
                    <a:pt x="1810" y="87"/>
                  </a:cubicBezTo>
                  <a:lnTo>
                    <a:pt x="1774" y="94"/>
                  </a:lnTo>
                  <a:cubicBezTo>
                    <a:pt x="1773" y="94"/>
                    <a:pt x="1772" y="93"/>
                    <a:pt x="1771" y="92"/>
                  </a:cubicBezTo>
                  <a:cubicBezTo>
                    <a:pt x="1771" y="90"/>
                    <a:pt x="1772" y="89"/>
                    <a:pt x="1773" y="89"/>
                  </a:cubicBezTo>
                  <a:close/>
                  <a:moveTo>
                    <a:pt x="1834" y="77"/>
                  </a:moveTo>
                  <a:lnTo>
                    <a:pt x="1869" y="70"/>
                  </a:lnTo>
                  <a:cubicBezTo>
                    <a:pt x="1870" y="69"/>
                    <a:pt x="1871" y="70"/>
                    <a:pt x="1872" y="72"/>
                  </a:cubicBezTo>
                  <a:cubicBezTo>
                    <a:pt x="1872" y="73"/>
                    <a:pt x="1871" y="74"/>
                    <a:pt x="1870" y="75"/>
                  </a:cubicBezTo>
                  <a:lnTo>
                    <a:pt x="1835" y="82"/>
                  </a:lnTo>
                  <a:cubicBezTo>
                    <a:pt x="1833" y="82"/>
                    <a:pt x="1832" y="81"/>
                    <a:pt x="1832" y="80"/>
                  </a:cubicBezTo>
                  <a:cubicBezTo>
                    <a:pt x="1831" y="78"/>
                    <a:pt x="1832" y="77"/>
                    <a:pt x="1834" y="77"/>
                  </a:cubicBezTo>
                  <a:close/>
                  <a:moveTo>
                    <a:pt x="1893" y="64"/>
                  </a:moveTo>
                  <a:lnTo>
                    <a:pt x="1928" y="55"/>
                  </a:lnTo>
                  <a:cubicBezTo>
                    <a:pt x="1930" y="54"/>
                    <a:pt x="1931" y="55"/>
                    <a:pt x="1931" y="56"/>
                  </a:cubicBezTo>
                  <a:cubicBezTo>
                    <a:pt x="1932" y="58"/>
                    <a:pt x="1931" y="59"/>
                    <a:pt x="1929" y="60"/>
                  </a:cubicBezTo>
                  <a:lnTo>
                    <a:pt x="1895" y="69"/>
                  </a:lnTo>
                  <a:cubicBezTo>
                    <a:pt x="1893" y="69"/>
                    <a:pt x="1892" y="68"/>
                    <a:pt x="1892" y="67"/>
                  </a:cubicBezTo>
                  <a:cubicBezTo>
                    <a:pt x="1891" y="65"/>
                    <a:pt x="1892" y="64"/>
                    <a:pt x="1893" y="64"/>
                  </a:cubicBezTo>
                  <a:close/>
                  <a:moveTo>
                    <a:pt x="1953" y="48"/>
                  </a:moveTo>
                  <a:lnTo>
                    <a:pt x="1988" y="39"/>
                  </a:lnTo>
                  <a:cubicBezTo>
                    <a:pt x="1989" y="39"/>
                    <a:pt x="1990" y="40"/>
                    <a:pt x="1991" y="41"/>
                  </a:cubicBezTo>
                  <a:cubicBezTo>
                    <a:pt x="1991" y="42"/>
                    <a:pt x="1990" y="44"/>
                    <a:pt x="1989" y="44"/>
                  </a:cubicBezTo>
                  <a:lnTo>
                    <a:pt x="1954" y="53"/>
                  </a:lnTo>
                  <a:cubicBezTo>
                    <a:pt x="1953" y="54"/>
                    <a:pt x="1951" y="53"/>
                    <a:pt x="1951" y="51"/>
                  </a:cubicBezTo>
                  <a:cubicBezTo>
                    <a:pt x="1951" y="50"/>
                    <a:pt x="1952" y="49"/>
                    <a:pt x="1953" y="48"/>
                  </a:cubicBezTo>
                  <a:close/>
                  <a:moveTo>
                    <a:pt x="2012" y="33"/>
                  </a:moveTo>
                  <a:lnTo>
                    <a:pt x="2047" y="24"/>
                  </a:lnTo>
                  <a:cubicBezTo>
                    <a:pt x="2048" y="23"/>
                    <a:pt x="2050" y="24"/>
                    <a:pt x="2050" y="26"/>
                  </a:cubicBezTo>
                  <a:cubicBezTo>
                    <a:pt x="2051" y="27"/>
                    <a:pt x="2050" y="28"/>
                    <a:pt x="2048" y="29"/>
                  </a:cubicBezTo>
                  <a:lnTo>
                    <a:pt x="2014" y="38"/>
                  </a:lnTo>
                  <a:cubicBezTo>
                    <a:pt x="2012" y="38"/>
                    <a:pt x="2011" y="37"/>
                    <a:pt x="2011" y="36"/>
                  </a:cubicBezTo>
                  <a:cubicBezTo>
                    <a:pt x="2010" y="35"/>
                    <a:pt x="2011" y="33"/>
                    <a:pt x="2012" y="33"/>
                  </a:cubicBezTo>
                  <a:close/>
                  <a:moveTo>
                    <a:pt x="2072" y="17"/>
                  </a:moveTo>
                  <a:lnTo>
                    <a:pt x="2107" y="8"/>
                  </a:lnTo>
                  <a:cubicBezTo>
                    <a:pt x="2108" y="8"/>
                    <a:pt x="2109" y="9"/>
                    <a:pt x="2110" y="10"/>
                  </a:cubicBezTo>
                  <a:cubicBezTo>
                    <a:pt x="2110" y="12"/>
                    <a:pt x="2109" y="13"/>
                    <a:pt x="2108" y="13"/>
                  </a:cubicBezTo>
                  <a:lnTo>
                    <a:pt x="2073" y="22"/>
                  </a:lnTo>
                  <a:cubicBezTo>
                    <a:pt x="2072" y="23"/>
                    <a:pt x="2070" y="22"/>
                    <a:pt x="2070" y="20"/>
                  </a:cubicBezTo>
                  <a:cubicBezTo>
                    <a:pt x="2070" y="19"/>
                    <a:pt x="2071" y="18"/>
                    <a:pt x="2072" y="17"/>
                  </a:cubicBezTo>
                  <a:close/>
                  <a:moveTo>
                    <a:pt x="2131" y="2"/>
                  </a:moveTo>
                  <a:lnTo>
                    <a:pt x="2139" y="0"/>
                  </a:lnTo>
                  <a:cubicBezTo>
                    <a:pt x="2140" y="0"/>
                    <a:pt x="2142" y="0"/>
                    <a:pt x="2142" y="2"/>
                  </a:cubicBezTo>
                  <a:cubicBezTo>
                    <a:pt x="2142" y="3"/>
                    <a:pt x="2141" y="5"/>
                    <a:pt x="2140" y="5"/>
                  </a:cubicBezTo>
                  <a:lnTo>
                    <a:pt x="2133" y="7"/>
                  </a:lnTo>
                  <a:cubicBezTo>
                    <a:pt x="2131" y="7"/>
                    <a:pt x="2130" y="6"/>
                    <a:pt x="2130" y="5"/>
                  </a:cubicBezTo>
                  <a:cubicBezTo>
                    <a:pt x="2129" y="4"/>
                    <a:pt x="2130" y="2"/>
                    <a:pt x="2131" y="2"/>
                  </a:cubicBezTo>
                  <a:close/>
                </a:path>
              </a:pathLst>
            </a:custGeom>
            <a:solidFill>
              <a:srgbClr val="0C0C0C"/>
            </a:solidFill>
            <a:ln w="0" cap="flat">
              <a:solidFill>
                <a:srgbClr val="0C0C0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42" name="Freeform 160">
              <a:extLst>
                <a:ext uri="{FF2B5EF4-FFF2-40B4-BE49-F238E27FC236}">
                  <a16:creationId xmlns:a16="http://schemas.microsoft.com/office/drawing/2014/main" id="{8EECB391-A7B5-418E-B6A3-4BB85386DE0A}"/>
                </a:ext>
              </a:extLst>
            </p:cNvPr>
            <p:cNvSpPr>
              <a:spLocks/>
            </p:cNvSpPr>
            <p:nvPr/>
          </p:nvSpPr>
          <p:spPr bwMode="auto">
            <a:xfrm>
              <a:off x="5900" y="3540"/>
              <a:ext cx="58" cy="51"/>
            </a:xfrm>
            <a:custGeom>
              <a:avLst/>
              <a:gdLst>
                <a:gd name="T0" fmla="*/ 0 w 58"/>
                <a:gd name="T1" fmla="*/ 0 h 51"/>
                <a:gd name="T2" fmla="*/ 58 w 58"/>
                <a:gd name="T3" fmla="*/ 11 h 51"/>
                <a:gd name="T4" fmla="*/ 15 w 58"/>
                <a:gd name="T5" fmla="*/ 51 h 51"/>
                <a:gd name="T6" fmla="*/ 0 w 58"/>
                <a:gd name="T7" fmla="*/ 0 h 51"/>
              </a:gdLst>
              <a:ahLst/>
              <a:cxnLst>
                <a:cxn ang="0">
                  <a:pos x="T0" y="T1"/>
                </a:cxn>
                <a:cxn ang="0">
                  <a:pos x="T2" y="T3"/>
                </a:cxn>
                <a:cxn ang="0">
                  <a:pos x="T4" y="T5"/>
                </a:cxn>
                <a:cxn ang="0">
                  <a:pos x="T6" y="T7"/>
                </a:cxn>
              </a:cxnLst>
              <a:rect l="0" t="0" r="r" b="b"/>
              <a:pathLst>
                <a:path w="58" h="51">
                  <a:moveTo>
                    <a:pt x="0" y="0"/>
                  </a:moveTo>
                  <a:lnTo>
                    <a:pt x="58" y="11"/>
                  </a:lnTo>
                  <a:lnTo>
                    <a:pt x="15" y="51"/>
                  </a:lnTo>
                  <a:lnTo>
                    <a:pt x="0" y="0"/>
                  </a:lnTo>
                  <a:close/>
                </a:path>
              </a:pathLst>
            </a:custGeom>
            <a:solidFill>
              <a:srgbClr val="0C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43" name="Rectangle 161">
              <a:extLst>
                <a:ext uri="{FF2B5EF4-FFF2-40B4-BE49-F238E27FC236}">
                  <a16:creationId xmlns:a16="http://schemas.microsoft.com/office/drawing/2014/main" id="{CAD33DE9-4DE0-497E-BE9E-A66552D4A9FA}"/>
                </a:ext>
              </a:extLst>
            </p:cNvPr>
            <p:cNvSpPr>
              <a:spLocks noChangeArrowheads="1"/>
            </p:cNvSpPr>
            <p:nvPr/>
          </p:nvSpPr>
          <p:spPr bwMode="auto">
            <a:xfrm>
              <a:off x="5312" y="3576"/>
              <a:ext cx="299"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44" name="Freeform 162">
              <a:extLst>
                <a:ext uri="{FF2B5EF4-FFF2-40B4-BE49-F238E27FC236}">
                  <a16:creationId xmlns:a16="http://schemas.microsoft.com/office/drawing/2014/main" id="{B33D5AD6-5B7D-4FA1-9C2D-DB56F2BE198E}"/>
                </a:ext>
              </a:extLst>
            </p:cNvPr>
            <p:cNvSpPr>
              <a:spLocks noEditPoints="1"/>
            </p:cNvSpPr>
            <p:nvPr/>
          </p:nvSpPr>
          <p:spPr bwMode="auto">
            <a:xfrm>
              <a:off x="5324" y="3590"/>
              <a:ext cx="278" cy="47"/>
            </a:xfrm>
            <a:custGeom>
              <a:avLst/>
              <a:gdLst>
                <a:gd name="T0" fmla="*/ 43 w 621"/>
                <a:gd name="T1" fmla="*/ 82 h 106"/>
                <a:gd name="T2" fmla="*/ 11 w 621"/>
                <a:gd name="T3" fmla="*/ 82 h 106"/>
                <a:gd name="T4" fmla="*/ 0 w 621"/>
                <a:gd name="T5" fmla="*/ 82 h 106"/>
                <a:gd name="T6" fmla="*/ 45 w 621"/>
                <a:gd name="T7" fmla="*/ 10 h 106"/>
                <a:gd name="T8" fmla="*/ 41 w 621"/>
                <a:gd name="T9" fmla="*/ 50 h 106"/>
                <a:gd name="T10" fmla="*/ 29 w 621"/>
                <a:gd name="T11" fmla="*/ 12 h 106"/>
                <a:gd name="T12" fmla="*/ 37 w 621"/>
                <a:gd name="T13" fmla="*/ 30 h 106"/>
                <a:gd name="T14" fmla="*/ 97 w 621"/>
                <a:gd name="T15" fmla="*/ 82 h 106"/>
                <a:gd name="T16" fmla="*/ 61 w 621"/>
                <a:gd name="T17" fmla="*/ 59 h 106"/>
                <a:gd name="T18" fmla="*/ 88 w 621"/>
                <a:gd name="T19" fmla="*/ 32 h 106"/>
                <a:gd name="T20" fmla="*/ 62 w 621"/>
                <a:gd name="T21" fmla="*/ 35 h 106"/>
                <a:gd name="T22" fmla="*/ 94 w 621"/>
                <a:gd name="T23" fmla="*/ 24 h 106"/>
                <a:gd name="T24" fmla="*/ 74 w 621"/>
                <a:gd name="T25" fmla="*/ 59 h 106"/>
                <a:gd name="T26" fmla="*/ 137 w 621"/>
                <a:gd name="T27" fmla="*/ 82 h 106"/>
                <a:gd name="T28" fmla="*/ 127 w 621"/>
                <a:gd name="T29" fmla="*/ 82 h 106"/>
                <a:gd name="T30" fmla="*/ 137 w 621"/>
                <a:gd name="T31" fmla="*/ 25 h 106"/>
                <a:gd name="T32" fmla="*/ 127 w 621"/>
                <a:gd name="T33" fmla="*/ 2 h 106"/>
                <a:gd name="T34" fmla="*/ 172 w 621"/>
                <a:gd name="T35" fmla="*/ 85 h 106"/>
                <a:gd name="T36" fmla="*/ 155 w 621"/>
                <a:gd name="T37" fmla="*/ 72 h 106"/>
                <a:gd name="T38" fmla="*/ 181 w 621"/>
                <a:gd name="T39" fmla="*/ 74 h 106"/>
                <a:gd name="T40" fmla="*/ 160 w 621"/>
                <a:gd name="T41" fmla="*/ 50 h 106"/>
                <a:gd name="T42" fmla="*/ 185 w 621"/>
                <a:gd name="T43" fmla="*/ 24 h 106"/>
                <a:gd name="T44" fmla="*/ 191 w 621"/>
                <a:gd name="T45" fmla="*/ 34 h 106"/>
                <a:gd name="T46" fmla="*/ 169 w 621"/>
                <a:gd name="T47" fmla="*/ 33 h 106"/>
                <a:gd name="T48" fmla="*/ 190 w 621"/>
                <a:gd name="T49" fmla="*/ 56 h 106"/>
                <a:gd name="T50" fmla="*/ 218 w 621"/>
                <a:gd name="T51" fmla="*/ 71 h 106"/>
                <a:gd name="T52" fmla="*/ 252 w 621"/>
                <a:gd name="T53" fmla="*/ 73 h 106"/>
                <a:gd name="T54" fmla="*/ 245 w 621"/>
                <a:gd name="T55" fmla="*/ 83 h 106"/>
                <a:gd name="T56" fmla="*/ 211 w 621"/>
                <a:gd name="T57" fmla="*/ 31 h 106"/>
                <a:gd name="T58" fmla="*/ 245 w 621"/>
                <a:gd name="T59" fmla="*/ 48 h 106"/>
                <a:gd name="T60" fmla="*/ 349 w 621"/>
                <a:gd name="T61" fmla="*/ 79 h 106"/>
                <a:gd name="T62" fmla="*/ 304 w 621"/>
                <a:gd name="T63" fmla="*/ 7 h 106"/>
                <a:gd name="T64" fmla="*/ 349 w 621"/>
                <a:gd name="T65" fmla="*/ 9 h 106"/>
                <a:gd name="T66" fmla="*/ 344 w 621"/>
                <a:gd name="T67" fmla="*/ 38 h 106"/>
                <a:gd name="T68" fmla="*/ 315 w 621"/>
                <a:gd name="T69" fmla="*/ 74 h 106"/>
                <a:gd name="T70" fmla="*/ 450 w 621"/>
                <a:gd name="T71" fmla="*/ 83 h 106"/>
                <a:gd name="T72" fmla="*/ 440 w 621"/>
                <a:gd name="T73" fmla="*/ 41 h 106"/>
                <a:gd name="T74" fmla="*/ 413 w 621"/>
                <a:gd name="T75" fmla="*/ 83 h 106"/>
                <a:gd name="T76" fmla="*/ 403 w 621"/>
                <a:gd name="T77" fmla="*/ 41 h 106"/>
                <a:gd name="T78" fmla="*/ 376 w 621"/>
                <a:gd name="T79" fmla="*/ 83 h 106"/>
                <a:gd name="T80" fmla="*/ 367 w 621"/>
                <a:gd name="T81" fmla="*/ 25 h 106"/>
                <a:gd name="T82" fmla="*/ 376 w 621"/>
                <a:gd name="T83" fmla="*/ 33 h 106"/>
                <a:gd name="T84" fmla="*/ 422 w 621"/>
                <a:gd name="T85" fmla="*/ 25 h 106"/>
                <a:gd name="T86" fmla="*/ 515 w 621"/>
                <a:gd name="T87" fmla="*/ 53 h 106"/>
                <a:gd name="T88" fmla="*/ 473 w 621"/>
                <a:gd name="T89" fmla="*/ 76 h 106"/>
                <a:gd name="T90" fmla="*/ 463 w 621"/>
                <a:gd name="T91" fmla="*/ 105 h 106"/>
                <a:gd name="T92" fmla="*/ 471 w 621"/>
                <a:gd name="T93" fmla="*/ 24 h 106"/>
                <a:gd name="T94" fmla="*/ 503 w 621"/>
                <a:gd name="T95" fmla="*/ 25 h 106"/>
                <a:gd name="T96" fmla="*/ 490 w 621"/>
                <a:gd name="T97" fmla="*/ 32 h 106"/>
                <a:gd name="T98" fmla="*/ 496 w 621"/>
                <a:gd name="T99" fmla="*/ 74 h 106"/>
                <a:gd name="T100" fmla="*/ 552 w 621"/>
                <a:gd name="T101" fmla="*/ 84 h 106"/>
                <a:gd name="T102" fmla="*/ 522 w 621"/>
                <a:gd name="T103" fmla="*/ 32 h 106"/>
                <a:gd name="T104" fmla="*/ 530 w 621"/>
                <a:gd name="T105" fmla="*/ 11 h 106"/>
                <a:gd name="T106" fmla="*/ 540 w 621"/>
                <a:gd name="T107" fmla="*/ 11 h 106"/>
                <a:gd name="T108" fmla="*/ 554 w 621"/>
                <a:gd name="T109" fmla="*/ 32 h 106"/>
                <a:gd name="T110" fmla="*/ 555 w 621"/>
                <a:gd name="T111" fmla="*/ 74 h 106"/>
                <a:gd name="T112" fmla="*/ 587 w 621"/>
                <a:gd name="T113" fmla="*/ 106 h 106"/>
                <a:gd name="T114" fmla="*/ 568 w 621"/>
                <a:gd name="T115" fmla="*/ 28 h 106"/>
                <a:gd name="T116" fmla="*/ 579 w 621"/>
                <a:gd name="T117" fmla="*/ 26 h 106"/>
                <a:gd name="T118" fmla="*/ 621 w 621"/>
                <a:gd name="T119" fmla="*/ 2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1" h="106">
                  <a:moveTo>
                    <a:pt x="54" y="82"/>
                  </a:moveTo>
                  <a:cubicBezTo>
                    <a:pt x="54" y="82"/>
                    <a:pt x="54" y="82"/>
                    <a:pt x="54" y="83"/>
                  </a:cubicBezTo>
                  <a:cubicBezTo>
                    <a:pt x="54" y="83"/>
                    <a:pt x="54" y="83"/>
                    <a:pt x="53" y="83"/>
                  </a:cubicBezTo>
                  <a:cubicBezTo>
                    <a:pt x="53" y="83"/>
                    <a:pt x="52" y="84"/>
                    <a:pt x="52" y="84"/>
                  </a:cubicBezTo>
                  <a:cubicBezTo>
                    <a:pt x="51" y="84"/>
                    <a:pt x="50" y="84"/>
                    <a:pt x="49" y="84"/>
                  </a:cubicBezTo>
                  <a:cubicBezTo>
                    <a:pt x="47" y="84"/>
                    <a:pt x="47" y="84"/>
                    <a:pt x="46" y="84"/>
                  </a:cubicBezTo>
                  <a:cubicBezTo>
                    <a:pt x="45" y="84"/>
                    <a:pt x="45" y="83"/>
                    <a:pt x="44" y="83"/>
                  </a:cubicBezTo>
                  <a:cubicBezTo>
                    <a:pt x="44" y="83"/>
                    <a:pt x="44" y="83"/>
                    <a:pt x="43" y="82"/>
                  </a:cubicBezTo>
                  <a:cubicBezTo>
                    <a:pt x="43" y="82"/>
                    <a:pt x="43" y="82"/>
                    <a:pt x="43" y="81"/>
                  </a:cubicBezTo>
                  <a:lnTo>
                    <a:pt x="35" y="62"/>
                  </a:lnTo>
                  <a:cubicBezTo>
                    <a:pt x="34" y="60"/>
                    <a:pt x="33" y="58"/>
                    <a:pt x="33" y="56"/>
                  </a:cubicBezTo>
                  <a:cubicBezTo>
                    <a:pt x="32" y="54"/>
                    <a:pt x="30" y="53"/>
                    <a:pt x="29" y="51"/>
                  </a:cubicBezTo>
                  <a:cubicBezTo>
                    <a:pt x="28" y="50"/>
                    <a:pt x="26" y="49"/>
                    <a:pt x="25" y="48"/>
                  </a:cubicBezTo>
                  <a:cubicBezTo>
                    <a:pt x="23" y="48"/>
                    <a:pt x="21" y="47"/>
                    <a:pt x="18" y="47"/>
                  </a:cubicBezTo>
                  <a:lnTo>
                    <a:pt x="11" y="47"/>
                  </a:lnTo>
                  <a:lnTo>
                    <a:pt x="11" y="82"/>
                  </a:lnTo>
                  <a:cubicBezTo>
                    <a:pt x="11" y="82"/>
                    <a:pt x="11" y="82"/>
                    <a:pt x="11" y="83"/>
                  </a:cubicBezTo>
                  <a:cubicBezTo>
                    <a:pt x="11" y="83"/>
                    <a:pt x="10" y="83"/>
                    <a:pt x="10" y="83"/>
                  </a:cubicBezTo>
                  <a:cubicBezTo>
                    <a:pt x="10" y="83"/>
                    <a:pt x="9" y="83"/>
                    <a:pt x="8" y="84"/>
                  </a:cubicBezTo>
                  <a:cubicBezTo>
                    <a:pt x="8" y="84"/>
                    <a:pt x="7" y="84"/>
                    <a:pt x="6" y="84"/>
                  </a:cubicBezTo>
                  <a:cubicBezTo>
                    <a:pt x="5" y="84"/>
                    <a:pt x="4" y="84"/>
                    <a:pt x="3" y="84"/>
                  </a:cubicBezTo>
                  <a:cubicBezTo>
                    <a:pt x="2" y="83"/>
                    <a:pt x="2" y="83"/>
                    <a:pt x="1" y="83"/>
                  </a:cubicBezTo>
                  <a:cubicBezTo>
                    <a:pt x="1" y="83"/>
                    <a:pt x="1" y="83"/>
                    <a:pt x="1" y="83"/>
                  </a:cubicBezTo>
                  <a:cubicBezTo>
                    <a:pt x="0" y="82"/>
                    <a:pt x="0" y="82"/>
                    <a:pt x="0" y="82"/>
                  </a:cubicBezTo>
                  <a:lnTo>
                    <a:pt x="0" y="7"/>
                  </a:lnTo>
                  <a:cubicBezTo>
                    <a:pt x="0" y="5"/>
                    <a:pt x="1" y="4"/>
                    <a:pt x="2" y="3"/>
                  </a:cubicBezTo>
                  <a:cubicBezTo>
                    <a:pt x="3" y="3"/>
                    <a:pt x="3" y="2"/>
                    <a:pt x="4" y="2"/>
                  </a:cubicBezTo>
                  <a:lnTo>
                    <a:pt x="22" y="2"/>
                  </a:lnTo>
                  <a:cubicBezTo>
                    <a:pt x="24" y="2"/>
                    <a:pt x="25" y="3"/>
                    <a:pt x="27" y="3"/>
                  </a:cubicBezTo>
                  <a:cubicBezTo>
                    <a:pt x="28" y="3"/>
                    <a:pt x="29" y="3"/>
                    <a:pt x="30" y="3"/>
                  </a:cubicBezTo>
                  <a:cubicBezTo>
                    <a:pt x="33" y="4"/>
                    <a:pt x="36" y="4"/>
                    <a:pt x="39" y="6"/>
                  </a:cubicBezTo>
                  <a:cubicBezTo>
                    <a:pt x="41" y="7"/>
                    <a:pt x="43" y="8"/>
                    <a:pt x="45" y="10"/>
                  </a:cubicBezTo>
                  <a:cubicBezTo>
                    <a:pt x="46" y="12"/>
                    <a:pt x="47" y="14"/>
                    <a:pt x="48" y="16"/>
                  </a:cubicBezTo>
                  <a:cubicBezTo>
                    <a:pt x="49" y="18"/>
                    <a:pt x="49" y="21"/>
                    <a:pt x="49" y="24"/>
                  </a:cubicBezTo>
                  <a:cubicBezTo>
                    <a:pt x="49" y="26"/>
                    <a:pt x="49" y="29"/>
                    <a:pt x="48" y="31"/>
                  </a:cubicBezTo>
                  <a:cubicBezTo>
                    <a:pt x="48" y="33"/>
                    <a:pt x="47" y="35"/>
                    <a:pt x="45" y="37"/>
                  </a:cubicBezTo>
                  <a:cubicBezTo>
                    <a:pt x="44" y="38"/>
                    <a:pt x="42" y="40"/>
                    <a:pt x="40" y="41"/>
                  </a:cubicBezTo>
                  <a:cubicBezTo>
                    <a:pt x="38" y="42"/>
                    <a:pt x="36" y="43"/>
                    <a:pt x="34" y="44"/>
                  </a:cubicBezTo>
                  <a:cubicBezTo>
                    <a:pt x="35" y="45"/>
                    <a:pt x="36" y="45"/>
                    <a:pt x="37" y="46"/>
                  </a:cubicBezTo>
                  <a:cubicBezTo>
                    <a:pt x="39" y="47"/>
                    <a:pt x="40" y="48"/>
                    <a:pt x="41" y="50"/>
                  </a:cubicBezTo>
                  <a:cubicBezTo>
                    <a:pt x="41" y="51"/>
                    <a:pt x="42" y="52"/>
                    <a:pt x="43" y="54"/>
                  </a:cubicBezTo>
                  <a:cubicBezTo>
                    <a:pt x="44" y="55"/>
                    <a:pt x="45" y="57"/>
                    <a:pt x="46" y="59"/>
                  </a:cubicBezTo>
                  <a:lnTo>
                    <a:pt x="53" y="77"/>
                  </a:lnTo>
                  <a:cubicBezTo>
                    <a:pt x="54" y="79"/>
                    <a:pt x="54" y="80"/>
                    <a:pt x="54" y="80"/>
                  </a:cubicBezTo>
                  <a:cubicBezTo>
                    <a:pt x="54" y="81"/>
                    <a:pt x="54" y="81"/>
                    <a:pt x="54" y="82"/>
                  </a:cubicBezTo>
                  <a:close/>
                  <a:moveTo>
                    <a:pt x="38" y="25"/>
                  </a:moveTo>
                  <a:cubicBezTo>
                    <a:pt x="38" y="22"/>
                    <a:pt x="37" y="19"/>
                    <a:pt x="36" y="17"/>
                  </a:cubicBezTo>
                  <a:cubicBezTo>
                    <a:pt x="35" y="15"/>
                    <a:pt x="32" y="13"/>
                    <a:pt x="29" y="12"/>
                  </a:cubicBezTo>
                  <a:cubicBezTo>
                    <a:pt x="28" y="12"/>
                    <a:pt x="27" y="12"/>
                    <a:pt x="25" y="12"/>
                  </a:cubicBezTo>
                  <a:cubicBezTo>
                    <a:pt x="24" y="11"/>
                    <a:pt x="22" y="11"/>
                    <a:pt x="20" y="11"/>
                  </a:cubicBezTo>
                  <a:lnTo>
                    <a:pt x="11" y="11"/>
                  </a:lnTo>
                  <a:lnTo>
                    <a:pt x="11" y="39"/>
                  </a:lnTo>
                  <a:lnTo>
                    <a:pt x="22" y="39"/>
                  </a:lnTo>
                  <a:cubicBezTo>
                    <a:pt x="24" y="39"/>
                    <a:pt x="27" y="38"/>
                    <a:pt x="29" y="38"/>
                  </a:cubicBezTo>
                  <a:cubicBezTo>
                    <a:pt x="31" y="37"/>
                    <a:pt x="33" y="36"/>
                    <a:pt x="34" y="35"/>
                  </a:cubicBezTo>
                  <a:cubicBezTo>
                    <a:pt x="35" y="33"/>
                    <a:pt x="37" y="32"/>
                    <a:pt x="37" y="30"/>
                  </a:cubicBezTo>
                  <a:cubicBezTo>
                    <a:pt x="38" y="29"/>
                    <a:pt x="38" y="27"/>
                    <a:pt x="38" y="25"/>
                  </a:cubicBezTo>
                  <a:close/>
                  <a:moveTo>
                    <a:pt x="106" y="82"/>
                  </a:moveTo>
                  <a:cubicBezTo>
                    <a:pt x="106" y="82"/>
                    <a:pt x="105" y="83"/>
                    <a:pt x="105" y="83"/>
                  </a:cubicBezTo>
                  <a:cubicBezTo>
                    <a:pt x="105" y="83"/>
                    <a:pt x="104" y="83"/>
                    <a:pt x="104" y="84"/>
                  </a:cubicBezTo>
                  <a:cubicBezTo>
                    <a:pt x="103" y="84"/>
                    <a:pt x="102" y="84"/>
                    <a:pt x="101" y="84"/>
                  </a:cubicBezTo>
                  <a:cubicBezTo>
                    <a:pt x="100" y="84"/>
                    <a:pt x="99" y="84"/>
                    <a:pt x="99" y="84"/>
                  </a:cubicBezTo>
                  <a:cubicBezTo>
                    <a:pt x="98" y="83"/>
                    <a:pt x="97" y="83"/>
                    <a:pt x="97" y="83"/>
                  </a:cubicBezTo>
                  <a:cubicBezTo>
                    <a:pt x="97" y="83"/>
                    <a:pt x="97" y="82"/>
                    <a:pt x="97" y="82"/>
                  </a:cubicBezTo>
                  <a:lnTo>
                    <a:pt x="97" y="76"/>
                  </a:lnTo>
                  <a:cubicBezTo>
                    <a:pt x="94" y="79"/>
                    <a:pt x="91" y="81"/>
                    <a:pt x="88" y="82"/>
                  </a:cubicBezTo>
                  <a:cubicBezTo>
                    <a:pt x="85" y="84"/>
                    <a:pt x="82" y="85"/>
                    <a:pt x="79" y="85"/>
                  </a:cubicBezTo>
                  <a:cubicBezTo>
                    <a:pt x="76" y="85"/>
                    <a:pt x="73" y="84"/>
                    <a:pt x="71" y="83"/>
                  </a:cubicBezTo>
                  <a:cubicBezTo>
                    <a:pt x="68" y="83"/>
                    <a:pt x="66" y="81"/>
                    <a:pt x="65" y="80"/>
                  </a:cubicBezTo>
                  <a:cubicBezTo>
                    <a:pt x="63" y="79"/>
                    <a:pt x="62" y="77"/>
                    <a:pt x="61" y="75"/>
                  </a:cubicBezTo>
                  <a:cubicBezTo>
                    <a:pt x="60" y="73"/>
                    <a:pt x="59" y="70"/>
                    <a:pt x="59" y="67"/>
                  </a:cubicBezTo>
                  <a:cubicBezTo>
                    <a:pt x="59" y="64"/>
                    <a:pt x="60" y="61"/>
                    <a:pt x="61" y="59"/>
                  </a:cubicBezTo>
                  <a:cubicBezTo>
                    <a:pt x="63" y="57"/>
                    <a:pt x="64" y="55"/>
                    <a:pt x="67" y="53"/>
                  </a:cubicBezTo>
                  <a:cubicBezTo>
                    <a:pt x="69" y="52"/>
                    <a:pt x="72" y="51"/>
                    <a:pt x="76" y="50"/>
                  </a:cubicBezTo>
                  <a:cubicBezTo>
                    <a:pt x="79" y="49"/>
                    <a:pt x="83" y="49"/>
                    <a:pt x="88" y="49"/>
                  </a:cubicBezTo>
                  <a:lnTo>
                    <a:pt x="95" y="49"/>
                  </a:lnTo>
                  <a:lnTo>
                    <a:pt x="95" y="44"/>
                  </a:lnTo>
                  <a:cubicBezTo>
                    <a:pt x="95" y="42"/>
                    <a:pt x="95" y="40"/>
                    <a:pt x="95" y="39"/>
                  </a:cubicBezTo>
                  <a:cubicBezTo>
                    <a:pt x="94" y="37"/>
                    <a:pt x="93" y="36"/>
                    <a:pt x="92" y="34"/>
                  </a:cubicBezTo>
                  <a:cubicBezTo>
                    <a:pt x="91" y="33"/>
                    <a:pt x="90" y="32"/>
                    <a:pt x="88" y="32"/>
                  </a:cubicBezTo>
                  <a:cubicBezTo>
                    <a:pt x="87" y="31"/>
                    <a:pt x="85" y="31"/>
                    <a:pt x="82" y="31"/>
                  </a:cubicBezTo>
                  <a:cubicBezTo>
                    <a:pt x="80" y="31"/>
                    <a:pt x="78" y="31"/>
                    <a:pt x="76" y="32"/>
                  </a:cubicBezTo>
                  <a:cubicBezTo>
                    <a:pt x="74" y="33"/>
                    <a:pt x="72" y="33"/>
                    <a:pt x="70" y="34"/>
                  </a:cubicBezTo>
                  <a:cubicBezTo>
                    <a:pt x="69" y="35"/>
                    <a:pt x="67" y="35"/>
                    <a:pt x="66" y="36"/>
                  </a:cubicBezTo>
                  <a:cubicBezTo>
                    <a:pt x="65" y="37"/>
                    <a:pt x="65" y="37"/>
                    <a:pt x="64" y="37"/>
                  </a:cubicBezTo>
                  <a:cubicBezTo>
                    <a:pt x="64" y="37"/>
                    <a:pt x="64" y="37"/>
                    <a:pt x="63" y="37"/>
                  </a:cubicBezTo>
                  <a:cubicBezTo>
                    <a:pt x="63" y="36"/>
                    <a:pt x="63" y="36"/>
                    <a:pt x="63" y="36"/>
                  </a:cubicBezTo>
                  <a:cubicBezTo>
                    <a:pt x="62" y="36"/>
                    <a:pt x="62" y="35"/>
                    <a:pt x="62" y="35"/>
                  </a:cubicBezTo>
                  <a:cubicBezTo>
                    <a:pt x="62" y="34"/>
                    <a:pt x="62" y="34"/>
                    <a:pt x="62" y="33"/>
                  </a:cubicBezTo>
                  <a:cubicBezTo>
                    <a:pt x="62" y="32"/>
                    <a:pt x="62" y="31"/>
                    <a:pt x="62" y="30"/>
                  </a:cubicBezTo>
                  <a:cubicBezTo>
                    <a:pt x="62" y="30"/>
                    <a:pt x="63" y="29"/>
                    <a:pt x="63" y="29"/>
                  </a:cubicBezTo>
                  <a:cubicBezTo>
                    <a:pt x="64" y="28"/>
                    <a:pt x="65" y="28"/>
                    <a:pt x="66" y="27"/>
                  </a:cubicBezTo>
                  <a:cubicBezTo>
                    <a:pt x="68" y="26"/>
                    <a:pt x="69" y="25"/>
                    <a:pt x="71" y="25"/>
                  </a:cubicBezTo>
                  <a:cubicBezTo>
                    <a:pt x="73" y="24"/>
                    <a:pt x="75" y="24"/>
                    <a:pt x="77" y="23"/>
                  </a:cubicBezTo>
                  <a:cubicBezTo>
                    <a:pt x="79" y="23"/>
                    <a:pt x="81" y="23"/>
                    <a:pt x="83" y="23"/>
                  </a:cubicBezTo>
                  <a:cubicBezTo>
                    <a:pt x="87" y="23"/>
                    <a:pt x="91" y="23"/>
                    <a:pt x="94" y="24"/>
                  </a:cubicBezTo>
                  <a:cubicBezTo>
                    <a:pt x="97" y="25"/>
                    <a:pt x="99" y="26"/>
                    <a:pt x="101" y="28"/>
                  </a:cubicBezTo>
                  <a:cubicBezTo>
                    <a:pt x="102" y="30"/>
                    <a:pt x="104" y="32"/>
                    <a:pt x="104" y="35"/>
                  </a:cubicBezTo>
                  <a:cubicBezTo>
                    <a:pt x="105" y="37"/>
                    <a:pt x="106" y="40"/>
                    <a:pt x="106" y="44"/>
                  </a:cubicBezTo>
                  <a:lnTo>
                    <a:pt x="106" y="82"/>
                  </a:lnTo>
                  <a:close/>
                  <a:moveTo>
                    <a:pt x="95" y="56"/>
                  </a:moveTo>
                  <a:lnTo>
                    <a:pt x="86" y="56"/>
                  </a:lnTo>
                  <a:cubicBezTo>
                    <a:pt x="84" y="56"/>
                    <a:pt x="81" y="56"/>
                    <a:pt x="79" y="57"/>
                  </a:cubicBezTo>
                  <a:cubicBezTo>
                    <a:pt x="77" y="57"/>
                    <a:pt x="75" y="58"/>
                    <a:pt x="74" y="59"/>
                  </a:cubicBezTo>
                  <a:cubicBezTo>
                    <a:pt x="73" y="60"/>
                    <a:pt x="72" y="61"/>
                    <a:pt x="71" y="62"/>
                  </a:cubicBezTo>
                  <a:cubicBezTo>
                    <a:pt x="70" y="64"/>
                    <a:pt x="70" y="65"/>
                    <a:pt x="70" y="67"/>
                  </a:cubicBezTo>
                  <a:cubicBezTo>
                    <a:pt x="70" y="70"/>
                    <a:pt x="71" y="72"/>
                    <a:pt x="73" y="74"/>
                  </a:cubicBezTo>
                  <a:cubicBezTo>
                    <a:pt x="75" y="76"/>
                    <a:pt x="77" y="76"/>
                    <a:pt x="80" y="76"/>
                  </a:cubicBezTo>
                  <a:cubicBezTo>
                    <a:pt x="83" y="76"/>
                    <a:pt x="86" y="76"/>
                    <a:pt x="88" y="74"/>
                  </a:cubicBezTo>
                  <a:cubicBezTo>
                    <a:pt x="90" y="73"/>
                    <a:pt x="93" y="71"/>
                    <a:pt x="95" y="68"/>
                  </a:cubicBezTo>
                  <a:lnTo>
                    <a:pt x="95" y="56"/>
                  </a:lnTo>
                  <a:close/>
                  <a:moveTo>
                    <a:pt x="137" y="82"/>
                  </a:moveTo>
                  <a:cubicBezTo>
                    <a:pt x="137" y="82"/>
                    <a:pt x="137" y="82"/>
                    <a:pt x="137" y="83"/>
                  </a:cubicBezTo>
                  <a:cubicBezTo>
                    <a:pt x="137" y="83"/>
                    <a:pt x="137" y="83"/>
                    <a:pt x="136" y="83"/>
                  </a:cubicBezTo>
                  <a:cubicBezTo>
                    <a:pt x="136" y="83"/>
                    <a:pt x="136" y="84"/>
                    <a:pt x="135" y="84"/>
                  </a:cubicBezTo>
                  <a:cubicBezTo>
                    <a:pt x="134" y="84"/>
                    <a:pt x="133" y="84"/>
                    <a:pt x="132" y="84"/>
                  </a:cubicBezTo>
                  <a:cubicBezTo>
                    <a:pt x="131" y="84"/>
                    <a:pt x="130" y="84"/>
                    <a:pt x="130" y="84"/>
                  </a:cubicBezTo>
                  <a:cubicBezTo>
                    <a:pt x="129" y="84"/>
                    <a:pt x="129" y="83"/>
                    <a:pt x="128" y="83"/>
                  </a:cubicBezTo>
                  <a:cubicBezTo>
                    <a:pt x="128" y="83"/>
                    <a:pt x="128" y="83"/>
                    <a:pt x="127" y="83"/>
                  </a:cubicBezTo>
                  <a:cubicBezTo>
                    <a:pt x="127" y="82"/>
                    <a:pt x="127" y="82"/>
                    <a:pt x="127" y="82"/>
                  </a:cubicBezTo>
                  <a:lnTo>
                    <a:pt x="127" y="26"/>
                  </a:lnTo>
                  <a:cubicBezTo>
                    <a:pt x="127" y="25"/>
                    <a:pt x="127" y="25"/>
                    <a:pt x="127" y="25"/>
                  </a:cubicBezTo>
                  <a:cubicBezTo>
                    <a:pt x="128" y="24"/>
                    <a:pt x="128" y="24"/>
                    <a:pt x="128" y="24"/>
                  </a:cubicBezTo>
                  <a:cubicBezTo>
                    <a:pt x="129" y="24"/>
                    <a:pt x="129" y="24"/>
                    <a:pt x="130" y="24"/>
                  </a:cubicBezTo>
                  <a:cubicBezTo>
                    <a:pt x="130" y="24"/>
                    <a:pt x="131" y="24"/>
                    <a:pt x="132" y="24"/>
                  </a:cubicBezTo>
                  <a:cubicBezTo>
                    <a:pt x="133" y="24"/>
                    <a:pt x="134" y="24"/>
                    <a:pt x="135" y="24"/>
                  </a:cubicBezTo>
                  <a:cubicBezTo>
                    <a:pt x="136" y="24"/>
                    <a:pt x="136" y="24"/>
                    <a:pt x="136" y="24"/>
                  </a:cubicBezTo>
                  <a:cubicBezTo>
                    <a:pt x="137" y="24"/>
                    <a:pt x="137" y="24"/>
                    <a:pt x="137" y="25"/>
                  </a:cubicBezTo>
                  <a:cubicBezTo>
                    <a:pt x="137" y="25"/>
                    <a:pt x="137" y="25"/>
                    <a:pt x="137" y="26"/>
                  </a:cubicBezTo>
                  <a:lnTo>
                    <a:pt x="137" y="82"/>
                  </a:lnTo>
                  <a:close/>
                  <a:moveTo>
                    <a:pt x="139" y="7"/>
                  </a:moveTo>
                  <a:cubicBezTo>
                    <a:pt x="139" y="9"/>
                    <a:pt x="138" y="11"/>
                    <a:pt x="137" y="11"/>
                  </a:cubicBezTo>
                  <a:cubicBezTo>
                    <a:pt x="136" y="12"/>
                    <a:pt x="135" y="13"/>
                    <a:pt x="132" y="13"/>
                  </a:cubicBezTo>
                  <a:cubicBezTo>
                    <a:pt x="130" y="13"/>
                    <a:pt x="128" y="12"/>
                    <a:pt x="127" y="11"/>
                  </a:cubicBezTo>
                  <a:cubicBezTo>
                    <a:pt x="126" y="11"/>
                    <a:pt x="126" y="9"/>
                    <a:pt x="126" y="7"/>
                  </a:cubicBezTo>
                  <a:cubicBezTo>
                    <a:pt x="126" y="4"/>
                    <a:pt x="126" y="3"/>
                    <a:pt x="127" y="2"/>
                  </a:cubicBezTo>
                  <a:cubicBezTo>
                    <a:pt x="128" y="1"/>
                    <a:pt x="130" y="0"/>
                    <a:pt x="132" y="0"/>
                  </a:cubicBezTo>
                  <a:cubicBezTo>
                    <a:pt x="135" y="0"/>
                    <a:pt x="136" y="1"/>
                    <a:pt x="137" y="2"/>
                  </a:cubicBezTo>
                  <a:cubicBezTo>
                    <a:pt x="138" y="3"/>
                    <a:pt x="139" y="4"/>
                    <a:pt x="139" y="7"/>
                  </a:cubicBezTo>
                  <a:close/>
                  <a:moveTo>
                    <a:pt x="194" y="66"/>
                  </a:moveTo>
                  <a:cubicBezTo>
                    <a:pt x="194" y="69"/>
                    <a:pt x="194" y="72"/>
                    <a:pt x="193" y="74"/>
                  </a:cubicBezTo>
                  <a:cubicBezTo>
                    <a:pt x="192" y="76"/>
                    <a:pt x="190" y="78"/>
                    <a:pt x="188" y="80"/>
                  </a:cubicBezTo>
                  <a:cubicBezTo>
                    <a:pt x="186" y="81"/>
                    <a:pt x="184" y="83"/>
                    <a:pt x="181" y="83"/>
                  </a:cubicBezTo>
                  <a:cubicBezTo>
                    <a:pt x="179" y="84"/>
                    <a:pt x="176" y="85"/>
                    <a:pt x="172" y="85"/>
                  </a:cubicBezTo>
                  <a:cubicBezTo>
                    <a:pt x="170" y="85"/>
                    <a:pt x="169" y="84"/>
                    <a:pt x="167" y="84"/>
                  </a:cubicBezTo>
                  <a:cubicBezTo>
                    <a:pt x="165" y="84"/>
                    <a:pt x="163" y="83"/>
                    <a:pt x="162" y="83"/>
                  </a:cubicBezTo>
                  <a:cubicBezTo>
                    <a:pt x="160" y="82"/>
                    <a:pt x="159" y="82"/>
                    <a:pt x="158" y="81"/>
                  </a:cubicBezTo>
                  <a:cubicBezTo>
                    <a:pt x="157" y="81"/>
                    <a:pt x="156" y="80"/>
                    <a:pt x="156" y="80"/>
                  </a:cubicBezTo>
                  <a:cubicBezTo>
                    <a:pt x="156" y="80"/>
                    <a:pt x="155" y="79"/>
                    <a:pt x="155" y="78"/>
                  </a:cubicBezTo>
                  <a:cubicBezTo>
                    <a:pt x="155" y="77"/>
                    <a:pt x="155" y="76"/>
                    <a:pt x="155" y="75"/>
                  </a:cubicBezTo>
                  <a:cubicBezTo>
                    <a:pt x="155" y="74"/>
                    <a:pt x="155" y="74"/>
                    <a:pt x="155" y="73"/>
                  </a:cubicBezTo>
                  <a:cubicBezTo>
                    <a:pt x="155" y="73"/>
                    <a:pt x="155" y="72"/>
                    <a:pt x="155" y="72"/>
                  </a:cubicBezTo>
                  <a:cubicBezTo>
                    <a:pt x="155" y="72"/>
                    <a:pt x="155" y="71"/>
                    <a:pt x="156" y="71"/>
                  </a:cubicBezTo>
                  <a:cubicBezTo>
                    <a:pt x="156" y="71"/>
                    <a:pt x="156" y="71"/>
                    <a:pt x="156" y="71"/>
                  </a:cubicBezTo>
                  <a:cubicBezTo>
                    <a:pt x="157" y="71"/>
                    <a:pt x="158" y="71"/>
                    <a:pt x="158" y="72"/>
                  </a:cubicBezTo>
                  <a:cubicBezTo>
                    <a:pt x="159" y="72"/>
                    <a:pt x="160" y="73"/>
                    <a:pt x="162" y="74"/>
                  </a:cubicBezTo>
                  <a:cubicBezTo>
                    <a:pt x="163" y="74"/>
                    <a:pt x="165" y="75"/>
                    <a:pt x="166" y="75"/>
                  </a:cubicBezTo>
                  <a:cubicBezTo>
                    <a:pt x="168" y="76"/>
                    <a:pt x="170" y="76"/>
                    <a:pt x="173" y="76"/>
                  </a:cubicBezTo>
                  <a:cubicBezTo>
                    <a:pt x="174" y="76"/>
                    <a:pt x="176" y="76"/>
                    <a:pt x="177" y="76"/>
                  </a:cubicBezTo>
                  <a:cubicBezTo>
                    <a:pt x="179" y="75"/>
                    <a:pt x="180" y="75"/>
                    <a:pt x="181" y="74"/>
                  </a:cubicBezTo>
                  <a:cubicBezTo>
                    <a:pt x="182" y="73"/>
                    <a:pt x="183" y="72"/>
                    <a:pt x="183" y="71"/>
                  </a:cubicBezTo>
                  <a:cubicBezTo>
                    <a:pt x="184" y="70"/>
                    <a:pt x="184" y="69"/>
                    <a:pt x="184" y="67"/>
                  </a:cubicBezTo>
                  <a:cubicBezTo>
                    <a:pt x="184" y="66"/>
                    <a:pt x="184" y="64"/>
                    <a:pt x="183" y="63"/>
                  </a:cubicBezTo>
                  <a:cubicBezTo>
                    <a:pt x="182" y="62"/>
                    <a:pt x="181" y="61"/>
                    <a:pt x="180" y="60"/>
                  </a:cubicBezTo>
                  <a:cubicBezTo>
                    <a:pt x="179" y="60"/>
                    <a:pt x="177" y="59"/>
                    <a:pt x="175" y="58"/>
                  </a:cubicBezTo>
                  <a:cubicBezTo>
                    <a:pt x="174" y="58"/>
                    <a:pt x="172" y="57"/>
                    <a:pt x="170" y="56"/>
                  </a:cubicBezTo>
                  <a:cubicBezTo>
                    <a:pt x="168" y="55"/>
                    <a:pt x="167" y="55"/>
                    <a:pt x="165" y="54"/>
                  </a:cubicBezTo>
                  <a:cubicBezTo>
                    <a:pt x="163" y="53"/>
                    <a:pt x="162" y="52"/>
                    <a:pt x="160" y="50"/>
                  </a:cubicBezTo>
                  <a:cubicBezTo>
                    <a:pt x="159" y="49"/>
                    <a:pt x="158" y="48"/>
                    <a:pt x="157" y="46"/>
                  </a:cubicBezTo>
                  <a:cubicBezTo>
                    <a:pt x="156" y="44"/>
                    <a:pt x="156" y="42"/>
                    <a:pt x="156" y="39"/>
                  </a:cubicBezTo>
                  <a:cubicBezTo>
                    <a:pt x="156" y="37"/>
                    <a:pt x="156" y="35"/>
                    <a:pt x="157" y="33"/>
                  </a:cubicBezTo>
                  <a:cubicBezTo>
                    <a:pt x="158" y="31"/>
                    <a:pt x="159" y="29"/>
                    <a:pt x="161" y="28"/>
                  </a:cubicBezTo>
                  <a:cubicBezTo>
                    <a:pt x="163" y="26"/>
                    <a:pt x="165" y="25"/>
                    <a:pt x="168" y="24"/>
                  </a:cubicBezTo>
                  <a:cubicBezTo>
                    <a:pt x="170" y="23"/>
                    <a:pt x="173" y="23"/>
                    <a:pt x="177" y="23"/>
                  </a:cubicBezTo>
                  <a:cubicBezTo>
                    <a:pt x="178" y="23"/>
                    <a:pt x="180" y="23"/>
                    <a:pt x="181" y="23"/>
                  </a:cubicBezTo>
                  <a:cubicBezTo>
                    <a:pt x="183" y="23"/>
                    <a:pt x="184" y="24"/>
                    <a:pt x="185" y="24"/>
                  </a:cubicBezTo>
                  <a:cubicBezTo>
                    <a:pt x="186" y="24"/>
                    <a:pt x="187" y="25"/>
                    <a:pt x="188" y="25"/>
                  </a:cubicBezTo>
                  <a:cubicBezTo>
                    <a:pt x="189" y="26"/>
                    <a:pt x="190" y="26"/>
                    <a:pt x="190" y="26"/>
                  </a:cubicBezTo>
                  <a:cubicBezTo>
                    <a:pt x="191" y="27"/>
                    <a:pt x="191" y="27"/>
                    <a:pt x="191" y="27"/>
                  </a:cubicBezTo>
                  <a:cubicBezTo>
                    <a:pt x="191" y="28"/>
                    <a:pt x="191" y="28"/>
                    <a:pt x="191" y="28"/>
                  </a:cubicBezTo>
                  <a:cubicBezTo>
                    <a:pt x="191" y="28"/>
                    <a:pt x="191" y="29"/>
                    <a:pt x="192" y="29"/>
                  </a:cubicBezTo>
                  <a:cubicBezTo>
                    <a:pt x="192" y="30"/>
                    <a:pt x="192" y="30"/>
                    <a:pt x="192" y="31"/>
                  </a:cubicBezTo>
                  <a:cubicBezTo>
                    <a:pt x="192" y="32"/>
                    <a:pt x="192" y="32"/>
                    <a:pt x="192" y="33"/>
                  </a:cubicBezTo>
                  <a:cubicBezTo>
                    <a:pt x="191" y="33"/>
                    <a:pt x="191" y="34"/>
                    <a:pt x="191" y="34"/>
                  </a:cubicBezTo>
                  <a:cubicBezTo>
                    <a:pt x="191" y="34"/>
                    <a:pt x="191" y="35"/>
                    <a:pt x="191" y="35"/>
                  </a:cubicBezTo>
                  <a:cubicBezTo>
                    <a:pt x="190" y="35"/>
                    <a:pt x="190" y="35"/>
                    <a:pt x="190" y="35"/>
                  </a:cubicBezTo>
                  <a:cubicBezTo>
                    <a:pt x="190" y="35"/>
                    <a:pt x="189" y="35"/>
                    <a:pt x="188" y="34"/>
                  </a:cubicBezTo>
                  <a:cubicBezTo>
                    <a:pt x="188" y="34"/>
                    <a:pt x="187" y="33"/>
                    <a:pt x="186" y="33"/>
                  </a:cubicBezTo>
                  <a:cubicBezTo>
                    <a:pt x="184" y="32"/>
                    <a:pt x="183" y="32"/>
                    <a:pt x="182" y="31"/>
                  </a:cubicBezTo>
                  <a:cubicBezTo>
                    <a:pt x="180" y="31"/>
                    <a:pt x="178" y="31"/>
                    <a:pt x="176" y="31"/>
                  </a:cubicBezTo>
                  <a:cubicBezTo>
                    <a:pt x="175" y="31"/>
                    <a:pt x="173" y="31"/>
                    <a:pt x="172" y="31"/>
                  </a:cubicBezTo>
                  <a:cubicBezTo>
                    <a:pt x="170" y="32"/>
                    <a:pt x="169" y="32"/>
                    <a:pt x="169" y="33"/>
                  </a:cubicBezTo>
                  <a:cubicBezTo>
                    <a:pt x="168" y="34"/>
                    <a:pt x="167" y="35"/>
                    <a:pt x="167" y="36"/>
                  </a:cubicBezTo>
                  <a:cubicBezTo>
                    <a:pt x="166" y="37"/>
                    <a:pt x="166" y="38"/>
                    <a:pt x="166" y="39"/>
                  </a:cubicBezTo>
                  <a:cubicBezTo>
                    <a:pt x="166" y="40"/>
                    <a:pt x="166" y="42"/>
                    <a:pt x="167" y="43"/>
                  </a:cubicBezTo>
                  <a:cubicBezTo>
                    <a:pt x="168" y="44"/>
                    <a:pt x="169" y="45"/>
                    <a:pt x="170" y="46"/>
                  </a:cubicBezTo>
                  <a:cubicBezTo>
                    <a:pt x="172" y="47"/>
                    <a:pt x="173" y="47"/>
                    <a:pt x="175" y="48"/>
                  </a:cubicBezTo>
                  <a:cubicBezTo>
                    <a:pt x="177" y="49"/>
                    <a:pt x="178" y="49"/>
                    <a:pt x="180" y="50"/>
                  </a:cubicBezTo>
                  <a:cubicBezTo>
                    <a:pt x="182" y="51"/>
                    <a:pt x="184" y="52"/>
                    <a:pt x="185" y="53"/>
                  </a:cubicBezTo>
                  <a:cubicBezTo>
                    <a:pt x="187" y="53"/>
                    <a:pt x="189" y="54"/>
                    <a:pt x="190" y="56"/>
                  </a:cubicBezTo>
                  <a:cubicBezTo>
                    <a:pt x="191" y="57"/>
                    <a:pt x="192" y="58"/>
                    <a:pt x="193" y="60"/>
                  </a:cubicBezTo>
                  <a:cubicBezTo>
                    <a:pt x="194" y="62"/>
                    <a:pt x="194" y="64"/>
                    <a:pt x="194" y="66"/>
                  </a:cubicBezTo>
                  <a:close/>
                  <a:moveTo>
                    <a:pt x="255" y="51"/>
                  </a:moveTo>
                  <a:cubicBezTo>
                    <a:pt x="255" y="53"/>
                    <a:pt x="255" y="54"/>
                    <a:pt x="254" y="55"/>
                  </a:cubicBezTo>
                  <a:cubicBezTo>
                    <a:pt x="253" y="55"/>
                    <a:pt x="252" y="56"/>
                    <a:pt x="251" y="56"/>
                  </a:cubicBezTo>
                  <a:lnTo>
                    <a:pt x="214" y="56"/>
                  </a:lnTo>
                  <a:cubicBezTo>
                    <a:pt x="214" y="59"/>
                    <a:pt x="214" y="62"/>
                    <a:pt x="215" y="64"/>
                  </a:cubicBezTo>
                  <a:cubicBezTo>
                    <a:pt x="216" y="67"/>
                    <a:pt x="217" y="69"/>
                    <a:pt x="218" y="71"/>
                  </a:cubicBezTo>
                  <a:cubicBezTo>
                    <a:pt x="220" y="72"/>
                    <a:pt x="222" y="74"/>
                    <a:pt x="224" y="75"/>
                  </a:cubicBezTo>
                  <a:cubicBezTo>
                    <a:pt x="226" y="76"/>
                    <a:pt x="229" y="76"/>
                    <a:pt x="233" y="76"/>
                  </a:cubicBezTo>
                  <a:cubicBezTo>
                    <a:pt x="235" y="76"/>
                    <a:pt x="238" y="76"/>
                    <a:pt x="240" y="75"/>
                  </a:cubicBezTo>
                  <a:cubicBezTo>
                    <a:pt x="242" y="75"/>
                    <a:pt x="244" y="75"/>
                    <a:pt x="245" y="74"/>
                  </a:cubicBezTo>
                  <a:cubicBezTo>
                    <a:pt x="247" y="73"/>
                    <a:pt x="248" y="73"/>
                    <a:pt x="249" y="73"/>
                  </a:cubicBezTo>
                  <a:cubicBezTo>
                    <a:pt x="250" y="72"/>
                    <a:pt x="251" y="72"/>
                    <a:pt x="251" y="72"/>
                  </a:cubicBezTo>
                  <a:cubicBezTo>
                    <a:pt x="251" y="72"/>
                    <a:pt x="252" y="72"/>
                    <a:pt x="252" y="72"/>
                  </a:cubicBezTo>
                  <a:cubicBezTo>
                    <a:pt x="252" y="72"/>
                    <a:pt x="252" y="72"/>
                    <a:pt x="252" y="73"/>
                  </a:cubicBezTo>
                  <a:cubicBezTo>
                    <a:pt x="253" y="73"/>
                    <a:pt x="253" y="73"/>
                    <a:pt x="253" y="74"/>
                  </a:cubicBezTo>
                  <a:cubicBezTo>
                    <a:pt x="253" y="75"/>
                    <a:pt x="253" y="75"/>
                    <a:pt x="253" y="76"/>
                  </a:cubicBezTo>
                  <a:cubicBezTo>
                    <a:pt x="253" y="76"/>
                    <a:pt x="253" y="77"/>
                    <a:pt x="253" y="77"/>
                  </a:cubicBezTo>
                  <a:cubicBezTo>
                    <a:pt x="253" y="78"/>
                    <a:pt x="253" y="78"/>
                    <a:pt x="253" y="78"/>
                  </a:cubicBezTo>
                  <a:cubicBezTo>
                    <a:pt x="253" y="79"/>
                    <a:pt x="252" y="79"/>
                    <a:pt x="252" y="79"/>
                  </a:cubicBezTo>
                  <a:cubicBezTo>
                    <a:pt x="252" y="79"/>
                    <a:pt x="252" y="80"/>
                    <a:pt x="252" y="80"/>
                  </a:cubicBezTo>
                  <a:cubicBezTo>
                    <a:pt x="251" y="80"/>
                    <a:pt x="251" y="81"/>
                    <a:pt x="250" y="81"/>
                  </a:cubicBezTo>
                  <a:cubicBezTo>
                    <a:pt x="249" y="82"/>
                    <a:pt x="247" y="82"/>
                    <a:pt x="245" y="83"/>
                  </a:cubicBezTo>
                  <a:cubicBezTo>
                    <a:pt x="244" y="83"/>
                    <a:pt x="241" y="84"/>
                    <a:pt x="239" y="84"/>
                  </a:cubicBezTo>
                  <a:cubicBezTo>
                    <a:pt x="237" y="84"/>
                    <a:pt x="234" y="85"/>
                    <a:pt x="232" y="85"/>
                  </a:cubicBezTo>
                  <a:cubicBezTo>
                    <a:pt x="227" y="85"/>
                    <a:pt x="223" y="84"/>
                    <a:pt x="219" y="83"/>
                  </a:cubicBezTo>
                  <a:cubicBezTo>
                    <a:pt x="216" y="81"/>
                    <a:pt x="213" y="79"/>
                    <a:pt x="211" y="77"/>
                  </a:cubicBezTo>
                  <a:cubicBezTo>
                    <a:pt x="208" y="74"/>
                    <a:pt x="206" y="71"/>
                    <a:pt x="205" y="67"/>
                  </a:cubicBezTo>
                  <a:cubicBezTo>
                    <a:pt x="204" y="63"/>
                    <a:pt x="203" y="59"/>
                    <a:pt x="203" y="54"/>
                  </a:cubicBezTo>
                  <a:cubicBezTo>
                    <a:pt x="203" y="49"/>
                    <a:pt x="204" y="45"/>
                    <a:pt x="205" y="41"/>
                  </a:cubicBezTo>
                  <a:cubicBezTo>
                    <a:pt x="207" y="37"/>
                    <a:pt x="208" y="34"/>
                    <a:pt x="211" y="31"/>
                  </a:cubicBezTo>
                  <a:cubicBezTo>
                    <a:pt x="213" y="28"/>
                    <a:pt x="216" y="26"/>
                    <a:pt x="219" y="25"/>
                  </a:cubicBezTo>
                  <a:cubicBezTo>
                    <a:pt x="223" y="23"/>
                    <a:pt x="226" y="23"/>
                    <a:pt x="230" y="23"/>
                  </a:cubicBezTo>
                  <a:cubicBezTo>
                    <a:pt x="235" y="23"/>
                    <a:pt x="239" y="23"/>
                    <a:pt x="242" y="25"/>
                  </a:cubicBezTo>
                  <a:cubicBezTo>
                    <a:pt x="245" y="26"/>
                    <a:pt x="247" y="28"/>
                    <a:pt x="249" y="31"/>
                  </a:cubicBezTo>
                  <a:cubicBezTo>
                    <a:pt x="251" y="33"/>
                    <a:pt x="253" y="36"/>
                    <a:pt x="254" y="39"/>
                  </a:cubicBezTo>
                  <a:cubicBezTo>
                    <a:pt x="255" y="42"/>
                    <a:pt x="255" y="46"/>
                    <a:pt x="255" y="49"/>
                  </a:cubicBezTo>
                  <a:lnTo>
                    <a:pt x="255" y="51"/>
                  </a:lnTo>
                  <a:close/>
                  <a:moveTo>
                    <a:pt x="245" y="48"/>
                  </a:moveTo>
                  <a:cubicBezTo>
                    <a:pt x="245" y="43"/>
                    <a:pt x="244" y="38"/>
                    <a:pt x="241" y="35"/>
                  </a:cubicBezTo>
                  <a:cubicBezTo>
                    <a:pt x="239" y="32"/>
                    <a:pt x="235" y="31"/>
                    <a:pt x="230" y="31"/>
                  </a:cubicBezTo>
                  <a:cubicBezTo>
                    <a:pt x="227" y="31"/>
                    <a:pt x="225" y="31"/>
                    <a:pt x="223" y="32"/>
                  </a:cubicBezTo>
                  <a:cubicBezTo>
                    <a:pt x="221" y="33"/>
                    <a:pt x="220" y="34"/>
                    <a:pt x="218" y="36"/>
                  </a:cubicBezTo>
                  <a:cubicBezTo>
                    <a:pt x="217" y="38"/>
                    <a:pt x="216" y="39"/>
                    <a:pt x="215" y="42"/>
                  </a:cubicBezTo>
                  <a:cubicBezTo>
                    <a:pt x="215" y="44"/>
                    <a:pt x="214" y="46"/>
                    <a:pt x="214" y="48"/>
                  </a:cubicBezTo>
                  <a:lnTo>
                    <a:pt x="245" y="48"/>
                  </a:lnTo>
                  <a:close/>
                  <a:moveTo>
                    <a:pt x="349" y="79"/>
                  </a:moveTo>
                  <a:cubicBezTo>
                    <a:pt x="349" y="80"/>
                    <a:pt x="349" y="80"/>
                    <a:pt x="349" y="81"/>
                  </a:cubicBezTo>
                  <a:cubicBezTo>
                    <a:pt x="349" y="81"/>
                    <a:pt x="349" y="82"/>
                    <a:pt x="349" y="82"/>
                  </a:cubicBezTo>
                  <a:cubicBezTo>
                    <a:pt x="349" y="83"/>
                    <a:pt x="348" y="83"/>
                    <a:pt x="348" y="83"/>
                  </a:cubicBezTo>
                  <a:cubicBezTo>
                    <a:pt x="348" y="83"/>
                    <a:pt x="348" y="83"/>
                    <a:pt x="347" y="83"/>
                  </a:cubicBezTo>
                  <a:lnTo>
                    <a:pt x="308" y="83"/>
                  </a:lnTo>
                  <a:cubicBezTo>
                    <a:pt x="307" y="83"/>
                    <a:pt x="307" y="83"/>
                    <a:pt x="306" y="82"/>
                  </a:cubicBezTo>
                  <a:cubicBezTo>
                    <a:pt x="305" y="82"/>
                    <a:pt x="304" y="81"/>
                    <a:pt x="304" y="79"/>
                  </a:cubicBezTo>
                  <a:lnTo>
                    <a:pt x="304" y="7"/>
                  </a:lnTo>
                  <a:cubicBezTo>
                    <a:pt x="304" y="5"/>
                    <a:pt x="305" y="4"/>
                    <a:pt x="306" y="3"/>
                  </a:cubicBezTo>
                  <a:cubicBezTo>
                    <a:pt x="307" y="3"/>
                    <a:pt x="307" y="2"/>
                    <a:pt x="308" y="2"/>
                  </a:cubicBezTo>
                  <a:lnTo>
                    <a:pt x="347" y="2"/>
                  </a:lnTo>
                  <a:cubicBezTo>
                    <a:pt x="347" y="2"/>
                    <a:pt x="347" y="3"/>
                    <a:pt x="348" y="3"/>
                  </a:cubicBezTo>
                  <a:cubicBezTo>
                    <a:pt x="348" y="3"/>
                    <a:pt x="348" y="3"/>
                    <a:pt x="348" y="4"/>
                  </a:cubicBezTo>
                  <a:cubicBezTo>
                    <a:pt x="348" y="4"/>
                    <a:pt x="349" y="4"/>
                    <a:pt x="349" y="5"/>
                  </a:cubicBezTo>
                  <a:cubicBezTo>
                    <a:pt x="349" y="5"/>
                    <a:pt x="349" y="6"/>
                    <a:pt x="349" y="7"/>
                  </a:cubicBezTo>
                  <a:cubicBezTo>
                    <a:pt x="349" y="8"/>
                    <a:pt x="349" y="8"/>
                    <a:pt x="349" y="9"/>
                  </a:cubicBezTo>
                  <a:cubicBezTo>
                    <a:pt x="349" y="10"/>
                    <a:pt x="348" y="10"/>
                    <a:pt x="348" y="10"/>
                  </a:cubicBezTo>
                  <a:cubicBezTo>
                    <a:pt x="348" y="11"/>
                    <a:pt x="348" y="11"/>
                    <a:pt x="348" y="11"/>
                  </a:cubicBezTo>
                  <a:cubicBezTo>
                    <a:pt x="347" y="11"/>
                    <a:pt x="347" y="11"/>
                    <a:pt x="347" y="11"/>
                  </a:cubicBezTo>
                  <a:lnTo>
                    <a:pt x="315" y="11"/>
                  </a:lnTo>
                  <a:lnTo>
                    <a:pt x="315" y="37"/>
                  </a:lnTo>
                  <a:lnTo>
                    <a:pt x="342" y="37"/>
                  </a:lnTo>
                  <a:cubicBezTo>
                    <a:pt x="343" y="37"/>
                    <a:pt x="343" y="37"/>
                    <a:pt x="343" y="37"/>
                  </a:cubicBezTo>
                  <a:cubicBezTo>
                    <a:pt x="343" y="37"/>
                    <a:pt x="344" y="38"/>
                    <a:pt x="344" y="38"/>
                  </a:cubicBezTo>
                  <a:cubicBezTo>
                    <a:pt x="344" y="38"/>
                    <a:pt x="344" y="39"/>
                    <a:pt x="344" y="39"/>
                  </a:cubicBezTo>
                  <a:cubicBezTo>
                    <a:pt x="344" y="40"/>
                    <a:pt x="344" y="40"/>
                    <a:pt x="344" y="41"/>
                  </a:cubicBezTo>
                  <a:cubicBezTo>
                    <a:pt x="344" y="42"/>
                    <a:pt x="344" y="43"/>
                    <a:pt x="344" y="43"/>
                  </a:cubicBezTo>
                  <a:cubicBezTo>
                    <a:pt x="344" y="44"/>
                    <a:pt x="344" y="44"/>
                    <a:pt x="344" y="45"/>
                  </a:cubicBezTo>
                  <a:cubicBezTo>
                    <a:pt x="344" y="45"/>
                    <a:pt x="343" y="45"/>
                    <a:pt x="343" y="45"/>
                  </a:cubicBezTo>
                  <a:cubicBezTo>
                    <a:pt x="343" y="45"/>
                    <a:pt x="343" y="45"/>
                    <a:pt x="342" y="45"/>
                  </a:cubicBezTo>
                  <a:lnTo>
                    <a:pt x="315" y="45"/>
                  </a:lnTo>
                  <a:lnTo>
                    <a:pt x="315" y="74"/>
                  </a:lnTo>
                  <a:lnTo>
                    <a:pt x="347" y="74"/>
                  </a:lnTo>
                  <a:cubicBezTo>
                    <a:pt x="348" y="74"/>
                    <a:pt x="348" y="74"/>
                    <a:pt x="348" y="75"/>
                  </a:cubicBezTo>
                  <a:cubicBezTo>
                    <a:pt x="348" y="75"/>
                    <a:pt x="349" y="75"/>
                    <a:pt x="349" y="75"/>
                  </a:cubicBezTo>
                  <a:cubicBezTo>
                    <a:pt x="349" y="76"/>
                    <a:pt x="349" y="76"/>
                    <a:pt x="349" y="77"/>
                  </a:cubicBezTo>
                  <a:cubicBezTo>
                    <a:pt x="349" y="77"/>
                    <a:pt x="349" y="78"/>
                    <a:pt x="349" y="79"/>
                  </a:cubicBezTo>
                  <a:close/>
                  <a:moveTo>
                    <a:pt x="451" y="82"/>
                  </a:moveTo>
                  <a:cubicBezTo>
                    <a:pt x="451" y="82"/>
                    <a:pt x="451" y="82"/>
                    <a:pt x="450" y="83"/>
                  </a:cubicBezTo>
                  <a:cubicBezTo>
                    <a:pt x="450" y="83"/>
                    <a:pt x="450" y="83"/>
                    <a:pt x="450" y="83"/>
                  </a:cubicBezTo>
                  <a:cubicBezTo>
                    <a:pt x="449" y="83"/>
                    <a:pt x="449" y="84"/>
                    <a:pt x="448" y="84"/>
                  </a:cubicBezTo>
                  <a:cubicBezTo>
                    <a:pt x="447" y="84"/>
                    <a:pt x="446" y="84"/>
                    <a:pt x="445" y="84"/>
                  </a:cubicBezTo>
                  <a:cubicBezTo>
                    <a:pt x="444" y="84"/>
                    <a:pt x="444" y="84"/>
                    <a:pt x="443" y="84"/>
                  </a:cubicBezTo>
                  <a:cubicBezTo>
                    <a:pt x="442" y="84"/>
                    <a:pt x="442" y="83"/>
                    <a:pt x="441" y="83"/>
                  </a:cubicBezTo>
                  <a:cubicBezTo>
                    <a:pt x="441" y="83"/>
                    <a:pt x="441" y="83"/>
                    <a:pt x="440" y="83"/>
                  </a:cubicBezTo>
                  <a:cubicBezTo>
                    <a:pt x="440" y="82"/>
                    <a:pt x="440" y="82"/>
                    <a:pt x="440" y="82"/>
                  </a:cubicBezTo>
                  <a:lnTo>
                    <a:pt x="440" y="48"/>
                  </a:lnTo>
                  <a:cubicBezTo>
                    <a:pt x="440" y="45"/>
                    <a:pt x="440" y="43"/>
                    <a:pt x="440" y="41"/>
                  </a:cubicBezTo>
                  <a:cubicBezTo>
                    <a:pt x="439" y="39"/>
                    <a:pt x="439" y="37"/>
                    <a:pt x="438" y="36"/>
                  </a:cubicBezTo>
                  <a:cubicBezTo>
                    <a:pt x="437" y="35"/>
                    <a:pt x="436" y="34"/>
                    <a:pt x="434" y="33"/>
                  </a:cubicBezTo>
                  <a:cubicBezTo>
                    <a:pt x="433" y="32"/>
                    <a:pt x="431" y="32"/>
                    <a:pt x="429" y="32"/>
                  </a:cubicBezTo>
                  <a:cubicBezTo>
                    <a:pt x="427" y="32"/>
                    <a:pt x="424" y="33"/>
                    <a:pt x="422" y="34"/>
                  </a:cubicBezTo>
                  <a:cubicBezTo>
                    <a:pt x="420" y="36"/>
                    <a:pt x="417" y="39"/>
                    <a:pt x="414" y="42"/>
                  </a:cubicBezTo>
                  <a:lnTo>
                    <a:pt x="414" y="82"/>
                  </a:lnTo>
                  <a:cubicBezTo>
                    <a:pt x="414" y="82"/>
                    <a:pt x="414" y="82"/>
                    <a:pt x="414" y="83"/>
                  </a:cubicBezTo>
                  <a:cubicBezTo>
                    <a:pt x="414" y="83"/>
                    <a:pt x="413" y="83"/>
                    <a:pt x="413" y="83"/>
                  </a:cubicBezTo>
                  <a:cubicBezTo>
                    <a:pt x="413" y="83"/>
                    <a:pt x="412" y="84"/>
                    <a:pt x="411" y="84"/>
                  </a:cubicBezTo>
                  <a:cubicBezTo>
                    <a:pt x="411" y="84"/>
                    <a:pt x="410" y="84"/>
                    <a:pt x="409" y="84"/>
                  </a:cubicBezTo>
                  <a:cubicBezTo>
                    <a:pt x="408" y="84"/>
                    <a:pt x="407" y="84"/>
                    <a:pt x="406" y="84"/>
                  </a:cubicBezTo>
                  <a:cubicBezTo>
                    <a:pt x="406" y="84"/>
                    <a:pt x="405" y="83"/>
                    <a:pt x="405" y="83"/>
                  </a:cubicBezTo>
                  <a:cubicBezTo>
                    <a:pt x="404" y="83"/>
                    <a:pt x="404" y="83"/>
                    <a:pt x="404" y="83"/>
                  </a:cubicBezTo>
                  <a:cubicBezTo>
                    <a:pt x="404" y="82"/>
                    <a:pt x="404" y="82"/>
                    <a:pt x="404" y="82"/>
                  </a:cubicBezTo>
                  <a:lnTo>
                    <a:pt x="404" y="48"/>
                  </a:lnTo>
                  <a:cubicBezTo>
                    <a:pt x="404" y="45"/>
                    <a:pt x="404" y="43"/>
                    <a:pt x="403" y="41"/>
                  </a:cubicBezTo>
                  <a:cubicBezTo>
                    <a:pt x="403" y="39"/>
                    <a:pt x="402" y="37"/>
                    <a:pt x="401" y="36"/>
                  </a:cubicBezTo>
                  <a:cubicBezTo>
                    <a:pt x="400" y="35"/>
                    <a:pt x="399" y="34"/>
                    <a:pt x="398" y="33"/>
                  </a:cubicBezTo>
                  <a:cubicBezTo>
                    <a:pt x="396" y="32"/>
                    <a:pt x="394" y="32"/>
                    <a:pt x="393" y="32"/>
                  </a:cubicBezTo>
                  <a:cubicBezTo>
                    <a:pt x="390" y="32"/>
                    <a:pt x="388" y="33"/>
                    <a:pt x="385" y="34"/>
                  </a:cubicBezTo>
                  <a:cubicBezTo>
                    <a:pt x="383" y="36"/>
                    <a:pt x="380" y="39"/>
                    <a:pt x="377" y="42"/>
                  </a:cubicBezTo>
                  <a:lnTo>
                    <a:pt x="377" y="82"/>
                  </a:lnTo>
                  <a:cubicBezTo>
                    <a:pt x="377" y="82"/>
                    <a:pt x="377" y="82"/>
                    <a:pt x="377" y="83"/>
                  </a:cubicBezTo>
                  <a:cubicBezTo>
                    <a:pt x="377" y="83"/>
                    <a:pt x="377" y="83"/>
                    <a:pt x="376" y="83"/>
                  </a:cubicBezTo>
                  <a:cubicBezTo>
                    <a:pt x="376" y="83"/>
                    <a:pt x="376" y="84"/>
                    <a:pt x="375" y="84"/>
                  </a:cubicBezTo>
                  <a:cubicBezTo>
                    <a:pt x="374" y="84"/>
                    <a:pt x="373" y="84"/>
                    <a:pt x="372" y="84"/>
                  </a:cubicBezTo>
                  <a:cubicBezTo>
                    <a:pt x="371" y="84"/>
                    <a:pt x="370" y="84"/>
                    <a:pt x="370" y="84"/>
                  </a:cubicBezTo>
                  <a:cubicBezTo>
                    <a:pt x="369" y="84"/>
                    <a:pt x="369" y="83"/>
                    <a:pt x="368" y="83"/>
                  </a:cubicBezTo>
                  <a:cubicBezTo>
                    <a:pt x="368" y="83"/>
                    <a:pt x="368" y="83"/>
                    <a:pt x="367" y="83"/>
                  </a:cubicBezTo>
                  <a:cubicBezTo>
                    <a:pt x="367" y="82"/>
                    <a:pt x="367" y="82"/>
                    <a:pt x="367" y="82"/>
                  </a:cubicBezTo>
                  <a:lnTo>
                    <a:pt x="367" y="26"/>
                  </a:lnTo>
                  <a:cubicBezTo>
                    <a:pt x="367" y="25"/>
                    <a:pt x="367" y="25"/>
                    <a:pt x="367" y="25"/>
                  </a:cubicBezTo>
                  <a:cubicBezTo>
                    <a:pt x="367" y="24"/>
                    <a:pt x="368" y="24"/>
                    <a:pt x="368" y="24"/>
                  </a:cubicBezTo>
                  <a:cubicBezTo>
                    <a:pt x="368" y="24"/>
                    <a:pt x="369" y="24"/>
                    <a:pt x="370" y="24"/>
                  </a:cubicBezTo>
                  <a:cubicBezTo>
                    <a:pt x="370" y="24"/>
                    <a:pt x="371" y="24"/>
                    <a:pt x="372" y="24"/>
                  </a:cubicBezTo>
                  <a:cubicBezTo>
                    <a:pt x="373" y="24"/>
                    <a:pt x="374" y="24"/>
                    <a:pt x="374" y="24"/>
                  </a:cubicBezTo>
                  <a:cubicBezTo>
                    <a:pt x="375" y="24"/>
                    <a:pt x="375" y="24"/>
                    <a:pt x="376" y="24"/>
                  </a:cubicBezTo>
                  <a:cubicBezTo>
                    <a:pt x="376" y="24"/>
                    <a:pt x="376" y="24"/>
                    <a:pt x="376" y="25"/>
                  </a:cubicBezTo>
                  <a:cubicBezTo>
                    <a:pt x="376" y="25"/>
                    <a:pt x="376" y="25"/>
                    <a:pt x="376" y="26"/>
                  </a:cubicBezTo>
                  <a:lnTo>
                    <a:pt x="376" y="33"/>
                  </a:lnTo>
                  <a:cubicBezTo>
                    <a:pt x="380" y="29"/>
                    <a:pt x="383" y="27"/>
                    <a:pt x="386" y="25"/>
                  </a:cubicBezTo>
                  <a:cubicBezTo>
                    <a:pt x="389" y="24"/>
                    <a:pt x="392" y="23"/>
                    <a:pt x="395" y="23"/>
                  </a:cubicBezTo>
                  <a:cubicBezTo>
                    <a:pt x="397" y="23"/>
                    <a:pt x="399" y="23"/>
                    <a:pt x="401" y="24"/>
                  </a:cubicBezTo>
                  <a:cubicBezTo>
                    <a:pt x="403" y="24"/>
                    <a:pt x="405" y="25"/>
                    <a:pt x="406" y="26"/>
                  </a:cubicBezTo>
                  <a:cubicBezTo>
                    <a:pt x="407" y="27"/>
                    <a:pt x="409" y="28"/>
                    <a:pt x="410" y="29"/>
                  </a:cubicBezTo>
                  <a:cubicBezTo>
                    <a:pt x="411" y="31"/>
                    <a:pt x="411" y="32"/>
                    <a:pt x="412" y="34"/>
                  </a:cubicBezTo>
                  <a:cubicBezTo>
                    <a:pt x="414" y="32"/>
                    <a:pt x="416" y="30"/>
                    <a:pt x="417" y="29"/>
                  </a:cubicBezTo>
                  <a:cubicBezTo>
                    <a:pt x="419" y="27"/>
                    <a:pt x="421" y="26"/>
                    <a:pt x="422" y="25"/>
                  </a:cubicBezTo>
                  <a:cubicBezTo>
                    <a:pt x="424" y="24"/>
                    <a:pt x="425" y="24"/>
                    <a:pt x="427" y="23"/>
                  </a:cubicBezTo>
                  <a:cubicBezTo>
                    <a:pt x="428" y="23"/>
                    <a:pt x="430" y="23"/>
                    <a:pt x="431" y="23"/>
                  </a:cubicBezTo>
                  <a:cubicBezTo>
                    <a:pt x="435" y="23"/>
                    <a:pt x="438" y="23"/>
                    <a:pt x="440" y="25"/>
                  </a:cubicBezTo>
                  <a:cubicBezTo>
                    <a:pt x="443" y="26"/>
                    <a:pt x="445" y="28"/>
                    <a:pt x="446" y="30"/>
                  </a:cubicBezTo>
                  <a:cubicBezTo>
                    <a:pt x="448" y="32"/>
                    <a:pt x="449" y="34"/>
                    <a:pt x="450" y="37"/>
                  </a:cubicBezTo>
                  <a:cubicBezTo>
                    <a:pt x="450" y="40"/>
                    <a:pt x="451" y="43"/>
                    <a:pt x="451" y="46"/>
                  </a:cubicBezTo>
                  <a:lnTo>
                    <a:pt x="451" y="82"/>
                  </a:lnTo>
                  <a:close/>
                  <a:moveTo>
                    <a:pt x="515" y="53"/>
                  </a:moveTo>
                  <a:cubicBezTo>
                    <a:pt x="515" y="58"/>
                    <a:pt x="514" y="62"/>
                    <a:pt x="513" y="66"/>
                  </a:cubicBezTo>
                  <a:cubicBezTo>
                    <a:pt x="512" y="70"/>
                    <a:pt x="511" y="73"/>
                    <a:pt x="509" y="76"/>
                  </a:cubicBezTo>
                  <a:cubicBezTo>
                    <a:pt x="507" y="79"/>
                    <a:pt x="504" y="81"/>
                    <a:pt x="501" y="82"/>
                  </a:cubicBezTo>
                  <a:cubicBezTo>
                    <a:pt x="498" y="84"/>
                    <a:pt x="494" y="85"/>
                    <a:pt x="491" y="85"/>
                  </a:cubicBezTo>
                  <a:cubicBezTo>
                    <a:pt x="489" y="85"/>
                    <a:pt x="487" y="84"/>
                    <a:pt x="486" y="84"/>
                  </a:cubicBezTo>
                  <a:cubicBezTo>
                    <a:pt x="485" y="84"/>
                    <a:pt x="483" y="83"/>
                    <a:pt x="482" y="82"/>
                  </a:cubicBezTo>
                  <a:cubicBezTo>
                    <a:pt x="480" y="82"/>
                    <a:pt x="479" y="81"/>
                    <a:pt x="478" y="80"/>
                  </a:cubicBezTo>
                  <a:cubicBezTo>
                    <a:pt x="476" y="79"/>
                    <a:pt x="475" y="77"/>
                    <a:pt x="473" y="76"/>
                  </a:cubicBezTo>
                  <a:lnTo>
                    <a:pt x="473" y="104"/>
                  </a:lnTo>
                  <a:cubicBezTo>
                    <a:pt x="473" y="104"/>
                    <a:pt x="473" y="105"/>
                    <a:pt x="473" y="105"/>
                  </a:cubicBezTo>
                  <a:cubicBezTo>
                    <a:pt x="473" y="105"/>
                    <a:pt x="473" y="105"/>
                    <a:pt x="472" y="106"/>
                  </a:cubicBezTo>
                  <a:cubicBezTo>
                    <a:pt x="472" y="106"/>
                    <a:pt x="472" y="106"/>
                    <a:pt x="471" y="106"/>
                  </a:cubicBezTo>
                  <a:cubicBezTo>
                    <a:pt x="470" y="106"/>
                    <a:pt x="469" y="106"/>
                    <a:pt x="468" y="106"/>
                  </a:cubicBezTo>
                  <a:cubicBezTo>
                    <a:pt x="467" y="106"/>
                    <a:pt x="466" y="106"/>
                    <a:pt x="466" y="106"/>
                  </a:cubicBezTo>
                  <a:cubicBezTo>
                    <a:pt x="465" y="106"/>
                    <a:pt x="465" y="106"/>
                    <a:pt x="464" y="106"/>
                  </a:cubicBezTo>
                  <a:cubicBezTo>
                    <a:pt x="464" y="105"/>
                    <a:pt x="464" y="105"/>
                    <a:pt x="463" y="105"/>
                  </a:cubicBezTo>
                  <a:cubicBezTo>
                    <a:pt x="463" y="105"/>
                    <a:pt x="463" y="104"/>
                    <a:pt x="463" y="104"/>
                  </a:cubicBezTo>
                  <a:lnTo>
                    <a:pt x="463" y="26"/>
                  </a:lnTo>
                  <a:cubicBezTo>
                    <a:pt x="463" y="25"/>
                    <a:pt x="463" y="25"/>
                    <a:pt x="463" y="25"/>
                  </a:cubicBezTo>
                  <a:cubicBezTo>
                    <a:pt x="463" y="24"/>
                    <a:pt x="464" y="24"/>
                    <a:pt x="464" y="24"/>
                  </a:cubicBezTo>
                  <a:cubicBezTo>
                    <a:pt x="464" y="24"/>
                    <a:pt x="465" y="24"/>
                    <a:pt x="466" y="24"/>
                  </a:cubicBezTo>
                  <a:cubicBezTo>
                    <a:pt x="466" y="24"/>
                    <a:pt x="467" y="24"/>
                    <a:pt x="468" y="24"/>
                  </a:cubicBezTo>
                  <a:cubicBezTo>
                    <a:pt x="469" y="24"/>
                    <a:pt x="469" y="24"/>
                    <a:pt x="470" y="24"/>
                  </a:cubicBezTo>
                  <a:cubicBezTo>
                    <a:pt x="470" y="24"/>
                    <a:pt x="471" y="24"/>
                    <a:pt x="471" y="24"/>
                  </a:cubicBezTo>
                  <a:cubicBezTo>
                    <a:pt x="472" y="24"/>
                    <a:pt x="472" y="24"/>
                    <a:pt x="472" y="25"/>
                  </a:cubicBezTo>
                  <a:cubicBezTo>
                    <a:pt x="472" y="25"/>
                    <a:pt x="472" y="25"/>
                    <a:pt x="472" y="26"/>
                  </a:cubicBezTo>
                  <a:lnTo>
                    <a:pt x="472" y="33"/>
                  </a:lnTo>
                  <a:cubicBezTo>
                    <a:pt x="474" y="31"/>
                    <a:pt x="476" y="30"/>
                    <a:pt x="477" y="29"/>
                  </a:cubicBezTo>
                  <a:cubicBezTo>
                    <a:pt x="479" y="27"/>
                    <a:pt x="480" y="26"/>
                    <a:pt x="482" y="25"/>
                  </a:cubicBezTo>
                  <a:cubicBezTo>
                    <a:pt x="484" y="24"/>
                    <a:pt x="485" y="24"/>
                    <a:pt x="487" y="23"/>
                  </a:cubicBezTo>
                  <a:cubicBezTo>
                    <a:pt x="489" y="23"/>
                    <a:pt x="490" y="23"/>
                    <a:pt x="492" y="23"/>
                  </a:cubicBezTo>
                  <a:cubicBezTo>
                    <a:pt x="496" y="23"/>
                    <a:pt x="500" y="24"/>
                    <a:pt x="503" y="25"/>
                  </a:cubicBezTo>
                  <a:cubicBezTo>
                    <a:pt x="506" y="27"/>
                    <a:pt x="508" y="29"/>
                    <a:pt x="510" y="32"/>
                  </a:cubicBezTo>
                  <a:cubicBezTo>
                    <a:pt x="512" y="34"/>
                    <a:pt x="513" y="38"/>
                    <a:pt x="514" y="41"/>
                  </a:cubicBezTo>
                  <a:cubicBezTo>
                    <a:pt x="515" y="45"/>
                    <a:pt x="515" y="49"/>
                    <a:pt x="515" y="53"/>
                  </a:cubicBezTo>
                  <a:close/>
                  <a:moveTo>
                    <a:pt x="504" y="54"/>
                  </a:moveTo>
                  <a:cubicBezTo>
                    <a:pt x="504" y="51"/>
                    <a:pt x="504" y="48"/>
                    <a:pt x="504" y="46"/>
                  </a:cubicBezTo>
                  <a:cubicBezTo>
                    <a:pt x="503" y="43"/>
                    <a:pt x="502" y="41"/>
                    <a:pt x="501" y="38"/>
                  </a:cubicBezTo>
                  <a:cubicBezTo>
                    <a:pt x="500" y="36"/>
                    <a:pt x="499" y="35"/>
                    <a:pt x="497" y="33"/>
                  </a:cubicBezTo>
                  <a:cubicBezTo>
                    <a:pt x="495" y="32"/>
                    <a:pt x="493" y="32"/>
                    <a:pt x="490" y="32"/>
                  </a:cubicBezTo>
                  <a:cubicBezTo>
                    <a:pt x="489" y="32"/>
                    <a:pt x="488" y="32"/>
                    <a:pt x="486" y="32"/>
                  </a:cubicBezTo>
                  <a:cubicBezTo>
                    <a:pt x="485" y="33"/>
                    <a:pt x="484" y="33"/>
                    <a:pt x="482" y="34"/>
                  </a:cubicBezTo>
                  <a:cubicBezTo>
                    <a:pt x="481" y="35"/>
                    <a:pt x="480" y="36"/>
                    <a:pt x="478" y="37"/>
                  </a:cubicBezTo>
                  <a:cubicBezTo>
                    <a:pt x="477" y="39"/>
                    <a:pt x="475" y="41"/>
                    <a:pt x="473" y="43"/>
                  </a:cubicBezTo>
                  <a:lnTo>
                    <a:pt x="473" y="65"/>
                  </a:lnTo>
                  <a:cubicBezTo>
                    <a:pt x="476" y="68"/>
                    <a:pt x="479" y="71"/>
                    <a:pt x="482" y="73"/>
                  </a:cubicBezTo>
                  <a:cubicBezTo>
                    <a:pt x="484" y="75"/>
                    <a:pt x="487" y="76"/>
                    <a:pt x="490" y="76"/>
                  </a:cubicBezTo>
                  <a:cubicBezTo>
                    <a:pt x="492" y="76"/>
                    <a:pt x="494" y="75"/>
                    <a:pt x="496" y="74"/>
                  </a:cubicBezTo>
                  <a:cubicBezTo>
                    <a:pt x="498" y="73"/>
                    <a:pt x="500" y="71"/>
                    <a:pt x="501" y="69"/>
                  </a:cubicBezTo>
                  <a:cubicBezTo>
                    <a:pt x="502" y="67"/>
                    <a:pt x="503" y="64"/>
                    <a:pt x="503" y="62"/>
                  </a:cubicBezTo>
                  <a:cubicBezTo>
                    <a:pt x="504" y="59"/>
                    <a:pt x="504" y="57"/>
                    <a:pt x="504" y="54"/>
                  </a:cubicBezTo>
                  <a:close/>
                  <a:moveTo>
                    <a:pt x="556" y="78"/>
                  </a:moveTo>
                  <a:cubicBezTo>
                    <a:pt x="556" y="79"/>
                    <a:pt x="556" y="80"/>
                    <a:pt x="556" y="81"/>
                  </a:cubicBezTo>
                  <a:cubicBezTo>
                    <a:pt x="556" y="81"/>
                    <a:pt x="556" y="82"/>
                    <a:pt x="555" y="82"/>
                  </a:cubicBezTo>
                  <a:cubicBezTo>
                    <a:pt x="555" y="82"/>
                    <a:pt x="555" y="83"/>
                    <a:pt x="554" y="83"/>
                  </a:cubicBezTo>
                  <a:cubicBezTo>
                    <a:pt x="553" y="83"/>
                    <a:pt x="553" y="84"/>
                    <a:pt x="552" y="84"/>
                  </a:cubicBezTo>
                  <a:cubicBezTo>
                    <a:pt x="551" y="84"/>
                    <a:pt x="550" y="84"/>
                    <a:pt x="549" y="84"/>
                  </a:cubicBezTo>
                  <a:cubicBezTo>
                    <a:pt x="548" y="84"/>
                    <a:pt x="547" y="84"/>
                    <a:pt x="546" y="84"/>
                  </a:cubicBezTo>
                  <a:cubicBezTo>
                    <a:pt x="543" y="84"/>
                    <a:pt x="541" y="84"/>
                    <a:pt x="539" y="83"/>
                  </a:cubicBezTo>
                  <a:cubicBezTo>
                    <a:pt x="536" y="82"/>
                    <a:pt x="535" y="81"/>
                    <a:pt x="533" y="80"/>
                  </a:cubicBezTo>
                  <a:cubicBezTo>
                    <a:pt x="532" y="78"/>
                    <a:pt x="531" y="76"/>
                    <a:pt x="531" y="74"/>
                  </a:cubicBezTo>
                  <a:cubicBezTo>
                    <a:pt x="530" y="71"/>
                    <a:pt x="530" y="69"/>
                    <a:pt x="530" y="65"/>
                  </a:cubicBezTo>
                  <a:lnTo>
                    <a:pt x="530" y="32"/>
                  </a:lnTo>
                  <a:lnTo>
                    <a:pt x="522" y="32"/>
                  </a:lnTo>
                  <a:cubicBezTo>
                    <a:pt x="521" y="32"/>
                    <a:pt x="521" y="32"/>
                    <a:pt x="520" y="31"/>
                  </a:cubicBezTo>
                  <a:cubicBezTo>
                    <a:pt x="520" y="31"/>
                    <a:pt x="520" y="30"/>
                    <a:pt x="520" y="28"/>
                  </a:cubicBezTo>
                  <a:cubicBezTo>
                    <a:pt x="520" y="27"/>
                    <a:pt x="520" y="27"/>
                    <a:pt x="520" y="26"/>
                  </a:cubicBezTo>
                  <a:cubicBezTo>
                    <a:pt x="520" y="26"/>
                    <a:pt x="520" y="25"/>
                    <a:pt x="520" y="25"/>
                  </a:cubicBezTo>
                  <a:cubicBezTo>
                    <a:pt x="520" y="25"/>
                    <a:pt x="521" y="24"/>
                    <a:pt x="521" y="24"/>
                  </a:cubicBezTo>
                  <a:cubicBezTo>
                    <a:pt x="521" y="24"/>
                    <a:pt x="521" y="24"/>
                    <a:pt x="522" y="24"/>
                  </a:cubicBezTo>
                  <a:lnTo>
                    <a:pt x="530" y="24"/>
                  </a:lnTo>
                  <a:lnTo>
                    <a:pt x="530" y="11"/>
                  </a:lnTo>
                  <a:cubicBezTo>
                    <a:pt x="530" y="10"/>
                    <a:pt x="530" y="10"/>
                    <a:pt x="530" y="10"/>
                  </a:cubicBezTo>
                  <a:cubicBezTo>
                    <a:pt x="530" y="9"/>
                    <a:pt x="530" y="9"/>
                    <a:pt x="531" y="9"/>
                  </a:cubicBezTo>
                  <a:cubicBezTo>
                    <a:pt x="531" y="9"/>
                    <a:pt x="532" y="9"/>
                    <a:pt x="532" y="9"/>
                  </a:cubicBezTo>
                  <a:cubicBezTo>
                    <a:pt x="533" y="9"/>
                    <a:pt x="534" y="9"/>
                    <a:pt x="535" y="9"/>
                  </a:cubicBezTo>
                  <a:cubicBezTo>
                    <a:pt x="536" y="9"/>
                    <a:pt x="537" y="9"/>
                    <a:pt x="537" y="9"/>
                  </a:cubicBezTo>
                  <a:cubicBezTo>
                    <a:pt x="538" y="9"/>
                    <a:pt x="538" y="9"/>
                    <a:pt x="539" y="9"/>
                  </a:cubicBezTo>
                  <a:cubicBezTo>
                    <a:pt x="539" y="9"/>
                    <a:pt x="540" y="9"/>
                    <a:pt x="540" y="10"/>
                  </a:cubicBezTo>
                  <a:cubicBezTo>
                    <a:pt x="540" y="10"/>
                    <a:pt x="540" y="10"/>
                    <a:pt x="540" y="11"/>
                  </a:cubicBezTo>
                  <a:lnTo>
                    <a:pt x="540" y="24"/>
                  </a:lnTo>
                  <a:lnTo>
                    <a:pt x="554" y="24"/>
                  </a:lnTo>
                  <a:cubicBezTo>
                    <a:pt x="555" y="24"/>
                    <a:pt x="555" y="24"/>
                    <a:pt x="555" y="24"/>
                  </a:cubicBezTo>
                  <a:cubicBezTo>
                    <a:pt x="555" y="24"/>
                    <a:pt x="556" y="25"/>
                    <a:pt x="556" y="25"/>
                  </a:cubicBezTo>
                  <a:cubicBezTo>
                    <a:pt x="556" y="25"/>
                    <a:pt x="556" y="26"/>
                    <a:pt x="556" y="26"/>
                  </a:cubicBezTo>
                  <a:cubicBezTo>
                    <a:pt x="556" y="27"/>
                    <a:pt x="556" y="27"/>
                    <a:pt x="556" y="28"/>
                  </a:cubicBezTo>
                  <a:cubicBezTo>
                    <a:pt x="556" y="30"/>
                    <a:pt x="556" y="31"/>
                    <a:pt x="556" y="31"/>
                  </a:cubicBezTo>
                  <a:cubicBezTo>
                    <a:pt x="555" y="32"/>
                    <a:pt x="555" y="32"/>
                    <a:pt x="554" y="32"/>
                  </a:cubicBezTo>
                  <a:lnTo>
                    <a:pt x="540" y="32"/>
                  </a:lnTo>
                  <a:lnTo>
                    <a:pt x="540" y="64"/>
                  </a:lnTo>
                  <a:cubicBezTo>
                    <a:pt x="540" y="68"/>
                    <a:pt x="541" y="71"/>
                    <a:pt x="542" y="73"/>
                  </a:cubicBezTo>
                  <a:cubicBezTo>
                    <a:pt x="543" y="75"/>
                    <a:pt x="545" y="76"/>
                    <a:pt x="548" y="76"/>
                  </a:cubicBezTo>
                  <a:cubicBezTo>
                    <a:pt x="549" y="76"/>
                    <a:pt x="550" y="75"/>
                    <a:pt x="550" y="75"/>
                  </a:cubicBezTo>
                  <a:cubicBezTo>
                    <a:pt x="551" y="75"/>
                    <a:pt x="552" y="75"/>
                    <a:pt x="552" y="75"/>
                  </a:cubicBezTo>
                  <a:cubicBezTo>
                    <a:pt x="553" y="75"/>
                    <a:pt x="553" y="74"/>
                    <a:pt x="554" y="74"/>
                  </a:cubicBezTo>
                  <a:cubicBezTo>
                    <a:pt x="554" y="74"/>
                    <a:pt x="555" y="74"/>
                    <a:pt x="555" y="74"/>
                  </a:cubicBezTo>
                  <a:cubicBezTo>
                    <a:pt x="555" y="74"/>
                    <a:pt x="555" y="74"/>
                    <a:pt x="556" y="74"/>
                  </a:cubicBezTo>
                  <a:cubicBezTo>
                    <a:pt x="556" y="74"/>
                    <a:pt x="556" y="74"/>
                    <a:pt x="556" y="75"/>
                  </a:cubicBezTo>
                  <a:cubicBezTo>
                    <a:pt x="556" y="75"/>
                    <a:pt x="556" y="75"/>
                    <a:pt x="556" y="76"/>
                  </a:cubicBezTo>
                  <a:cubicBezTo>
                    <a:pt x="556" y="76"/>
                    <a:pt x="556" y="77"/>
                    <a:pt x="556" y="78"/>
                  </a:cubicBezTo>
                  <a:close/>
                  <a:moveTo>
                    <a:pt x="601" y="83"/>
                  </a:moveTo>
                  <a:lnTo>
                    <a:pt x="593" y="104"/>
                  </a:lnTo>
                  <a:cubicBezTo>
                    <a:pt x="593" y="105"/>
                    <a:pt x="592" y="105"/>
                    <a:pt x="591" y="106"/>
                  </a:cubicBezTo>
                  <a:cubicBezTo>
                    <a:pt x="590" y="106"/>
                    <a:pt x="589" y="106"/>
                    <a:pt x="587" y="106"/>
                  </a:cubicBezTo>
                  <a:cubicBezTo>
                    <a:pt x="586" y="106"/>
                    <a:pt x="585" y="106"/>
                    <a:pt x="584" y="106"/>
                  </a:cubicBezTo>
                  <a:cubicBezTo>
                    <a:pt x="583" y="106"/>
                    <a:pt x="583" y="106"/>
                    <a:pt x="583" y="105"/>
                  </a:cubicBezTo>
                  <a:cubicBezTo>
                    <a:pt x="582" y="105"/>
                    <a:pt x="582" y="105"/>
                    <a:pt x="582" y="104"/>
                  </a:cubicBezTo>
                  <a:cubicBezTo>
                    <a:pt x="582" y="104"/>
                    <a:pt x="582" y="103"/>
                    <a:pt x="582" y="103"/>
                  </a:cubicBezTo>
                  <a:lnTo>
                    <a:pt x="590" y="83"/>
                  </a:lnTo>
                  <a:cubicBezTo>
                    <a:pt x="590" y="83"/>
                    <a:pt x="589" y="83"/>
                    <a:pt x="589" y="83"/>
                  </a:cubicBezTo>
                  <a:cubicBezTo>
                    <a:pt x="589" y="82"/>
                    <a:pt x="588" y="82"/>
                    <a:pt x="588" y="81"/>
                  </a:cubicBezTo>
                  <a:lnTo>
                    <a:pt x="568" y="28"/>
                  </a:lnTo>
                  <a:cubicBezTo>
                    <a:pt x="568" y="27"/>
                    <a:pt x="568" y="26"/>
                    <a:pt x="568" y="26"/>
                  </a:cubicBezTo>
                  <a:cubicBezTo>
                    <a:pt x="568" y="25"/>
                    <a:pt x="568" y="25"/>
                    <a:pt x="568" y="24"/>
                  </a:cubicBezTo>
                  <a:cubicBezTo>
                    <a:pt x="569" y="24"/>
                    <a:pt x="569" y="24"/>
                    <a:pt x="570" y="24"/>
                  </a:cubicBezTo>
                  <a:cubicBezTo>
                    <a:pt x="571" y="24"/>
                    <a:pt x="572" y="24"/>
                    <a:pt x="573" y="24"/>
                  </a:cubicBezTo>
                  <a:cubicBezTo>
                    <a:pt x="574" y="24"/>
                    <a:pt x="575" y="24"/>
                    <a:pt x="576" y="24"/>
                  </a:cubicBezTo>
                  <a:cubicBezTo>
                    <a:pt x="577" y="24"/>
                    <a:pt x="577" y="24"/>
                    <a:pt x="577" y="24"/>
                  </a:cubicBezTo>
                  <a:cubicBezTo>
                    <a:pt x="578" y="24"/>
                    <a:pt x="578" y="24"/>
                    <a:pt x="578" y="25"/>
                  </a:cubicBezTo>
                  <a:cubicBezTo>
                    <a:pt x="579" y="25"/>
                    <a:pt x="579" y="25"/>
                    <a:pt x="579" y="26"/>
                  </a:cubicBezTo>
                  <a:lnTo>
                    <a:pt x="595" y="71"/>
                  </a:lnTo>
                  <a:lnTo>
                    <a:pt x="595" y="71"/>
                  </a:lnTo>
                  <a:lnTo>
                    <a:pt x="611" y="26"/>
                  </a:lnTo>
                  <a:cubicBezTo>
                    <a:pt x="611" y="25"/>
                    <a:pt x="611" y="24"/>
                    <a:pt x="612" y="24"/>
                  </a:cubicBezTo>
                  <a:cubicBezTo>
                    <a:pt x="612" y="24"/>
                    <a:pt x="613" y="24"/>
                    <a:pt x="613" y="24"/>
                  </a:cubicBezTo>
                  <a:cubicBezTo>
                    <a:pt x="614" y="24"/>
                    <a:pt x="615" y="24"/>
                    <a:pt x="616" y="24"/>
                  </a:cubicBezTo>
                  <a:cubicBezTo>
                    <a:pt x="617" y="24"/>
                    <a:pt x="618" y="24"/>
                    <a:pt x="619" y="24"/>
                  </a:cubicBezTo>
                  <a:cubicBezTo>
                    <a:pt x="620" y="24"/>
                    <a:pt x="620" y="24"/>
                    <a:pt x="621" y="24"/>
                  </a:cubicBezTo>
                  <a:cubicBezTo>
                    <a:pt x="621" y="25"/>
                    <a:pt x="621" y="25"/>
                    <a:pt x="621" y="26"/>
                  </a:cubicBezTo>
                  <a:cubicBezTo>
                    <a:pt x="621" y="26"/>
                    <a:pt x="621" y="27"/>
                    <a:pt x="621" y="27"/>
                  </a:cubicBezTo>
                  <a:lnTo>
                    <a:pt x="601" y="83"/>
                  </a:ln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45" name="Freeform 163">
              <a:extLst>
                <a:ext uri="{FF2B5EF4-FFF2-40B4-BE49-F238E27FC236}">
                  <a16:creationId xmlns:a16="http://schemas.microsoft.com/office/drawing/2014/main" id="{4978D5AB-615D-4C37-8067-C5A7E828D08D}"/>
                </a:ext>
              </a:extLst>
            </p:cNvPr>
            <p:cNvSpPr>
              <a:spLocks noEditPoints="1"/>
            </p:cNvSpPr>
            <p:nvPr/>
          </p:nvSpPr>
          <p:spPr bwMode="auto">
            <a:xfrm>
              <a:off x="5317" y="3657"/>
              <a:ext cx="292" cy="39"/>
            </a:xfrm>
            <a:custGeom>
              <a:avLst/>
              <a:gdLst>
                <a:gd name="T0" fmla="*/ 1 w 652"/>
                <a:gd name="T1" fmla="*/ 86 h 88"/>
                <a:gd name="T2" fmla="*/ 48 w 652"/>
                <a:gd name="T3" fmla="*/ 27 h 88"/>
                <a:gd name="T4" fmla="*/ 37 w 652"/>
                <a:gd name="T5" fmla="*/ 28 h 88"/>
                <a:gd name="T6" fmla="*/ 34 w 652"/>
                <a:gd name="T7" fmla="*/ 37 h 88"/>
                <a:gd name="T8" fmla="*/ 10 w 652"/>
                <a:gd name="T9" fmla="*/ 78 h 88"/>
                <a:gd name="T10" fmla="*/ 101 w 652"/>
                <a:gd name="T11" fmla="*/ 87 h 88"/>
                <a:gd name="T12" fmla="*/ 60 w 652"/>
                <a:gd name="T13" fmla="*/ 78 h 88"/>
                <a:gd name="T14" fmla="*/ 92 w 652"/>
                <a:gd name="T15" fmla="*/ 38 h 88"/>
                <a:gd name="T16" fmla="*/ 62 w 652"/>
                <a:gd name="T17" fmla="*/ 38 h 88"/>
                <a:gd name="T18" fmla="*/ 100 w 652"/>
                <a:gd name="T19" fmla="*/ 32 h 88"/>
                <a:gd name="T20" fmla="*/ 69 w 652"/>
                <a:gd name="T21" fmla="*/ 71 h 88"/>
                <a:gd name="T22" fmla="*/ 149 w 652"/>
                <a:gd name="T23" fmla="*/ 87 h 88"/>
                <a:gd name="T24" fmla="*/ 123 w 652"/>
                <a:gd name="T25" fmla="*/ 75 h 88"/>
                <a:gd name="T26" fmla="*/ 151 w 652"/>
                <a:gd name="T27" fmla="*/ 75 h 88"/>
                <a:gd name="T28" fmla="*/ 123 w 652"/>
                <a:gd name="T29" fmla="*/ 43 h 88"/>
                <a:gd name="T30" fmla="*/ 158 w 652"/>
                <a:gd name="T31" fmla="*/ 31 h 88"/>
                <a:gd name="T32" fmla="*/ 153 w 652"/>
                <a:gd name="T33" fmla="*/ 36 h 88"/>
                <a:gd name="T34" fmla="*/ 142 w 652"/>
                <a:gd name="T35" fmla="*/ 52 h 88"/>
                <a:gd name="T36" fmla="*/ 218 w 652"/>
                <a:gd name="T37" fmla="*/ 87 h 88"/>
                <a:gd name="T38" fmla="*/ 184 w 652"/>
                <a:gd name="T39" fmla="*/ 87 h 88"/>
                <a:gd name="T40" fmla="*/ 176 w 652"/>
                <a:gd name="T41" fmla="*/ 0 h 88"/>
                <a:gd name="T42" fmla="*/ 207 w 652"/>
                <a:gd name="T43" fmla="*/ 28 h 88"/>
                <a:gd name="T44" fmla="*/ 217 w 652"/>
                <a:gd name="T45" fmla="*/ 32 h 88"/>
                <a:gd name="T46" fmla="*/ 246 w 652"/>
                <a:gd name="T47" fmla="*/ 68 h 88"/>
                <a:gd name="T48" fmla="*/ 284 w 652"/>
                <a:gd name="T49" fmla="*/ 76 h 88"/>
                <a:gd name="T50" fmla="*/ 271 w 652"/>
                <a:gd name="T51" fmla="*/ 88 h 88"/>
                <a:gd name="T52" fmla="*/ 262 w 652"/>
                <a:gd name="T53" fmla="*/ 26 h 88"/>
                <a:gd name="T54" fmla="*/ 255 w 652"/>
                <a:gd name="T55" fmla="*/ 36 h 88"/>
                <a:gd name="T56" fmla="*/ 327 w 652"/>
                <a:gd name="T57" fmla="*/ 87 h 88"/>
                <a:gd name="T58" fmla="*/ 296 w 652"/>
                <a:gd name="T59" fmla="*/ 35 h 88"/>
                <a:gd name="T60" fmla="*/ 306 w 652"/>
                <a:gd name="T61" fmla="*/ 13 h 88"/>
                <a:gd name="T62" fmla="*/ 331 w 652"/>
                <a:gd name="T63" fmla="*/ 28 h 88"/>
                <a:gd name="T64" fmla="*/ 323 w 652"/>
                <a:gd name="T65" fmla="*/ 79 h 88"/>
                <a:gd name="T66" fmla="*/ 413 w 652"/>
                <a:gd name="T67" fmla="*/ 83 h 88"/>
                <a:gd name="T68" fmla="*/ 369 w 652"/>
                <a:gd name="T69" fmla="*/ 7 h 88"/>
                <a:gd name="T70" fmla="*/ 411 w 652"/>
                <a:gd name="T71" fmla="*/ 15 h 88"/>
                <a:gd name="T72" fmla="*/ 408 w 652"/>
                <a:gd name="T73" fmla="*/ 47 h 88"/>
                <a:gd name="T74" fmla="*/ 413 w 652"/>
                <a:gd name="T75" fmla="*/ 80 h 88"/>
                <a:gd name="T76" fmla="*/ 455 w 652"/>
                <a:gd name="T77" fmla="*/ 87 h 88"/>
                <a:gd name="T78" fmla="*/ 423 w 652"/>
                <a:gd name="T79" fmla="*/ 29 h 88"/>
                <a:gd name="T80" fmla="*/ 434 w 652"/>
                <a:gd name="T81" fmla="*/ 29 h 88"/>
                <a:gd name="T82" fmla="*/ 474 w 652"/>
                <a:gd name="T83" fmla="*/ 27 h 88"/>
                <a:gd name="T84" fmla="*/ 506 w 652"/>
                <a:gd name="T85" fmla="*/ 74 h 88"/>
                <a:gd name="T86" fmla="*/ 540 w 652"/>
                <a:gd name="T87" fmla="*/ 78 h 88"/>
                <a:gd name="T88" fmla="*/ 519 w 652"/>
                <a:gd name="T89" fmla="*/ 88 h 88"/>
                <a:gd name="T90" fmla="*/ 529 w 652"/>
                <a:gd name="T91" fmla="*/ 28 h 88"/>
                <a:gd name="T92" fmla="*/ 506 w 652"/>
                <a:gd name="T93" fmla="*/ 40 h 88"/>
                <a:gd name="T94" fmla="*/ 599 w 652"/>
                <a:gd name="T95" fmla="*/ 87 h 88"/>
                <a:gd name="T96" fmla="*/ 577 w 652"/>
                <a:gd name="T97" fmla="*/ 38 h 88"/>
                <a:gd name="T98" fmla="*/ 559 w 652"/>
                <a:gd name="T99" fmla="*/ 86 h 88"/>
                <a:gd name="T100" fmla="*/ 568 w 652"/>
                <a:gd name="T101" fmla="*/ 28 h 88"/>
                <a:gd name="T102" fmla="*/ 607 w 652"/>
                <a:gd name="T103" fmla="*/ 85 h 88"/>
                <a:gd name="T104" fmla="*/ 629 w 652"/>
                <a:gd name="T105" fmla="*/ 83 h 88"/>
                <a:gd name="T106" fmla="*/ 616 w 652"/>
                <a:gd name="T107" fmla="*/ 28 h 88"/>
                <a:gd name="T108" fmla="*/ 634 w 652"/>
                <a:gd name="T109" fmla="*/ 13 h 88"/>
                <a:gd name="T110" fmla="*/ 651 w 652"/>
                <a:gd name="T111" fmla="*/ 35 h 88"/>
                <a:gd name="T112" fmla="*/ 650 w 652"/>
                <a:gd name="T113" fmla="*/ 7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2" h="88">
                  <a:moveTo>
                    <a:pt x="53" y="64"/>
                  </a:moveTo>
                  <a:cubicBezTo>
                    <a:pt x="53" y="66"/>
                    <a:pt x="53" y="69"/>
                    <a:pt x="52" y="71"/>
                  </a:cubicBezTo>
                  <a:cubicBezTo>
                    <a:pt x="52" y="73"/>
                    <a:pt x="51" y="75"/>
                    <a:pt x="49" y="77"/>
                  </a:cubicBezTo>
                  <a:cubicBezTo>
                    <a:pt x="48" y="78"/>
                    <a:pt x="47" y="80"/>
                    <a:pt x="45" y="81"/>
                  </a:cubicBezTo>
                  <a:cubicBezTo>
                    <a:pt x="44" y="82"/>
                    <a:pt x="42" y="83"/>
                    <a:pt x="40" y="84"/>
                  </a:cubicBezTo>
                  <a:cubicBezTo>
                    <a:pt x="38" y="85"/>
                    <a:pt x="35" y="86"/>
                    <a:pt x="33" y="86"/>
                  </a:cubicBezTo>
                  <a:cubicBezTo>
                    <a:pt x="31" y="87"/>
                    <a:pt x="28" y="87"/>
                    <a:pt x="25" y="87"/>
                  </a:cubicBezTo>
                  <a:lnTo>
                    <a:pt x="4" y="87"/>
                  </a:lnTo>
                  <a:cubicBezTo>
                    <a:pt x="3" y="87"/>
                    <a:pt x="2" y="87"/>
                    <a:pt x="1" y="86"/>
                  </a:cubicBezTo>
                  <a:cubicBezTo>
                    <a:pt x="0" y="85"/>
                    <a:pt x="0" y="84"/>
                    <a:pt x="0" y="83"/>
                  </a:cubicBezTo>
                  <a:lnTo>
                    <a:pt x="0" y="10"/>
                  </a:lnTo>
                  <a:cubicBezTo>
                    <a:pt x="0" y="9"/>
                    <a:pt x="0" y="8"/>
                    <a:pt x="1" y="7"/>
                  </a:cubicBezTo>
                  <a:cubicBezTo>
                    <a:pt x="2" y="6"/>
                    <a:pt x="3" y="6"/>
                    <a:pt x="4" y="6"/>
                  </a:cubicBezTo>
                  <a:lnTo>
                    <a:pt x="22" y="6"/>
                  </a:lnTo>
                  <a:cubicBezTo>
                    <a:pt x="27" y="6"/>
                    <a:pt x="31" y="7"/>
                    <a:pt x="34" y="7"/>
                  </a:cubicBezTo>
                  <a:cubicBezTo>
                    <a:pt x="37" y="8"/>
                    <a:pt x="40" y="10"/>
                    <a:pt x="42" y="11"/>
                  </a:cubicBezTo>
                  <a:cubicBezTo>
                    <a:pt x="44" y="13"/>
                    <a:pt x="45" y="15"/>
                    <a:pt x="46" y="18"/>
                  </a:cubicBezTo>
                  <a:cubicBezTo>
                    <a:pt x="47" y="20"/>
                    <a:pt x="48" y="23"/>
                    <a:pt x="48" y="27"/>
                  </a:cubicBezTo>
                  <a:cubicBezTo>
                    <a:pt x="48" y="28"/>
                    <a:pt x="48" y="30"/>
                    <a:pt x="47" y="32"/>
                  </a:cubicBezTo>
                  <a:cubicBezTo>
                    <a:pt x="47" y="34"/>
                    <a:pt x="46" y="35"/>
                    <a:pt x="45" y="37"/>
                  </a:cubicBezTo>
                  <a:cubicBezTo>
                    <a:pt x="44" y="38"/>
                    <a:pt x="43" y="40"/>
                    <a:pt x="42" y="41"/>
                  </a:cubicBezTo>
                  <a:cubicBezTo>
                    <a:pt x="41" y="42"/>
                    <a:pt x="39" y="43"/>
                    <a:pt x="37" y="44"/>
                  </a:cubicBezTo>
                  <a:cubicBezTo>
                    <a:pt x="39" y="44"/>
                    <a:pt x="42" y="45"/>
                    <a:pt x="43" y="46"/>
                  </a:cubicBezTo>
                  <a:cubicBezTo>
                    <a:pt x="45" y="47"/>
                    <a:pt x="47" y="48"/>
                    <a:pt x="48" y="50"/>
                  </a:cubicBezTo>
                  <a:cubicBezTo>
                    <a:pt x="50" y="52"/>
                    <a:pt x="51" y="54"/>
                    <a:pt x="52" y="56"/>
                  </a:cubicBezTo>
                  <a:cubicBezTo>
                    <a:pt x="53" y="58"/>
                    <a:pt x="53" y="61"/>
                    <a:pt x="53" y="64"/>
                  </a:cubicBezTo>
                  <a:close/>
                  <a:moveTo>
                    <a:pt x="37" y="28"/>
                  </a:moveTo>
                  <a:cubicBezTo>
                    <a:pt x="37" y="26"/>
                    <a:pt x="37" y="24"/>
                    <a:pt x="36" y="22"/>
                  </a:cubicBezTo>
                  <a:cubicBezTo>
                    <a:pt x="36" y="21"/>
                    <a:pt x="35" y="19"/>
                    <a:pt x="34" y="18"/>
                  </a:cubicBezTo>
                  <a:cubicBezTo>
                    <a:pt x="32" y="17"/>
                    <a:pt x="31" y="16"/>
                    <a:pt x="29" y="16"/>
                  </a:cubicBezTo>
                  <a:cubicBezTo>
                    <a:pt x="27" y="15"/>
                    <a:pt x="25" y="15"/>
                    <a:pt x="22" y="15"/>
                  </a:cubicBezTo>
                  <a:lnTo>
                    <a:pt x="10" y="15"/>
                  </a:lnTo>
                  <a:lnTo>
                    <a:pt x="10" y="41"/>
                  </a:lnTo>
                  <a:lnTo>
                    <a:pt x="23" y="41"/>
                  </a:lnTo>
                  <a:cubicBezTo>
                    <a:pt x="25" y="41"/>
                    <a:pt x="28" y="41"/>
                    <a:pt x="29" y="40"/>
                  </a:cubicBezTo>
                  <a:cubicBezTo>
                    <a:pt x="31" y="39"/>
                    <a:pt x="33" y="38"/>
                    <a:pt x="34" y="37"/>
                  </a:cubicBezTo>
                  <a:cubicBezTo>
                    <a:pt x="35" y="36"/>
                    <a:pt x="36" y="34"/>
                    <a:pt x="36" y="33"/>
                  </a:cubicBezTo>
                  <a:cubicBezTo>
                    <a:pt x="37" y="31"/>
                    <a:pt x="37" y="29"/>
                    <a:pt x="37" y="28"/>
                  </a:cubicBezTo>
                  <a:close/>
                  <a:moveTo>
                    <a:pt x="42" y="64"/>
                  </a:moveTo>
                  <a:cubicBezTo>
                    <a:pt x="42" y="62"/>
                    <a:pt x="41" y="60"/>
                    <a:pt x="41" y="58"/>
                  </a:cubicBezTo>
                  <a:cubicBezTo>
                    <a:pt x="40" y="56"/>
                    <a:pt x="39" y="55"/>
                    <a:pt x="37" y="53"/>
                  </a:cubicBezTo>
                  <a:cubicBezTo>
                    <a:pt x="36" y="52"/>
                    <a:pt x="34" y="51"/>
                    <a:pt x="32" y="51"/>
                  </a:cubicBezTo>
                  <a:cubicBezTo>
                    <a:pt x="30" y="50"/>
                    <a:pt x="27" y="50"/>
                    <a:pt x="23" y="50"/>
                  </a:cubicBezTo>
                  <a:lnTo>
                    <a:pt x="10" y="50"/>
                  </a:lnTo>
                  <a:lnTo>
                    <a:pt x="10" y="78"/>
                  </a:lnTo>
                  <a:lnTo>
                    <a:pt x="26" y="78"/>
                  </a:lnTo>
                  <a:cubicBezTo>
                    <a:pt x="29" y="78"/>
                    <a:pt x="31" y="78"/>
                    <a:pt x="33" y="77"/>
                  </a:cubicBezTo>
                  <a:cubicBezTo>
                    <a:pt x="34" y="77"/>
                    <a:pt x="36" y="76"/>
                    <a:pt x="37" y="75"/>
                  </a:cubicBezTo>
                  <a:cubicBezTo>
                    <a:pt x="39" y="73"/>
                    <a:pt x="40" y="72"/>
                    <a:pt x="41" y="70"/>
                  </a:cubicBezTo>
                  <a:cubicBezTo>
                    <a:pt x="41" y="69"/>
                    <a:pt x="42" y="67"/>
                    <a:pt x="42" y="64"/>
                  </a:cubicBezTo>
                  <a:close/>
                  <a:moveTo>
                    <a:pt x="105" y="85"/>
                  </a:moveTo>
                  <a:cubicBezTo>
                    <a:pt x="105" y="86"/>
                    <a:pt x="105" y="86"/>
                    <a:pt x="104" y="87"/>
                  </a:cubicBezTo>
                  <a:cubicBezTo>
                    <a:pt x="104" y="87"/>
                    <a:pt x="104" y="87"/>
                    <a:pt x="103" y="87"/>
                  </a:cubicBezTo>
                  <a:cubicBezTo>
                    <a:pt x="103" y="87"/>
                    <a:pt x="102" y="87"/>
                    <a:pt x="101" y="87"/>
                  </a:cubicBezTo>
                  <a:cubicBezTo>
                    <a:pt x="99" y="87"/>
                    <a:pt x="99" y="87"/>
                    <a:pt x="98" y="87"/>
                  </a:cubicBezTo>
                  <a:cubicBezTo>
                    <a:pt x="97" y="87"/>
                    <a:pt x="97" y="87"/>
                    <a:pt x="97" y="87"/>
                  </a:cubicBezTo>
                  <a:cubicBezTo>
                    <a:pt x="96" y="86"/>
                    <a:pt x="96" y="86"/>
                    <a:pt x="96" y="85"/>
                  </a:cubicBezTo>
                  <a:lnTo>
                    <a:pt x="96" y="80"/>
                  </a:lnTo>
                  <a:cubicBezTo>
                    <a:pt x="94" y="82"/>
                    <a:pt x="91" y="84"/>
                    <a:pt x="88" y="86"/>
                  </a:cubicBezTo>
                  <a:cubicBezTo>
                    <a:pt x="85" y="87"/>
                    <a:pt x="82" y="88"/>
                    <a:pt x="78" y="88"/>
                  </a:cubicBezTo>
                  <a:cubicBezTo>
                    <a:pt x="75" y="88"/>
                    <a:pt x="73" y="88"/>
                    <a:pt x="70" y="87"/>
                  </a:cubicBezTo>
                  <a:cubicBezTo>
                    <a:pt x="68" y="86"/>
                    <a:pt x="66" y="85"/>
                    <a:pt x="64" y="84"/>
                  </a:cubicBezTo>
                  <a:cubicBezTo>
                    <a:pt x="62" y="82"/>
                    <a:pt x="61" y="80"/>
                    <a:pt x="60" y="78"/>
                  </a:cubicBezTo>
                  <a:cubicBezTo>
                    <a:pt x="59" y="76"/>
                    <a:pt x="59" y="74"/>
                    <a:pt x="59" y="71"/>
                  </a:cubicBezTo>
                  <a:cubicBezTo>
                    <a:pt x="59" y="68"/>
                    <a:pt x="59" y="65"/>
                    <a:pt x="61" y="63"/>
                  </a:cubicBezTo>
                  <a:cubicBezTo>
                    <a:pt x="62" y="60"/>
                    <a:pt x="64" y="58"/>
                    <a:pt x="66" y="57"/>
                  </a:cubicBezTo>
                  <a:cubicBezTo>
                    <a:pt x="69" y="55"/>
                    <a:pt x="72" y="54"/>
                    <a:pt x="75" y="53"/>
                  </a:cubicBezTo>
                  <a:cubicBezTo>
                    <a:pt x="79" y="53"/>
                    <a:pt x="83" y="52"/>
                    <a:pt x="87" y="52"/>
                  </a:cubicBezTo>
                  <a:lnTo>
                    <a:pt x="95" y="52"/>
                  </a:lnTo>
                  <a:lnTo>
                    <a:pt x="95" y="48"/>
                  </a:lnTo>
                  <a:cubicBezTo>
                    <a:pt x="95" y="46"/>
                    <a:pt x="95" y="44"/>
                    <a:pt x="94" y="42"/>
                  </a:cubicBezTo>
                  <a:cubicBezTo>
                    <a:pt x="94" y="41"/>
                    <a:pt x="93" y="39"/>
                    <a:pt x="92" y="38"/>
                  </a:cubicBezTo>
                  <a:cubicBezTo>
                    <a:pt x="91" y="37"/>
                    <a:pt x="89" y="36"/>
                    <a:pt x="88" y="36"/>
                  </a:cubicBezTo>
                  <a:cubicBezTo>
                    <a:pt x="86" y="35"/>
                    <a:pt x="84" y="35"/>
                    <a:pt x="82" y="35"/>
                  </a:cubicBezTo>
                  <a:cubicBezTo>
                    <a:pt x="79" y="35"/>
                    <a:pt x="77" y="35"/>
                    <a:pt x="75" y="36"/>
                  </a:cubicBezTo>
                  <a:cubicBezTo>
                    <a:pt x="73" y="36"/>
                    <a:pt x="71" y="37"/>
                    <a:pt x="70" y="38"/>
                  </a:cubicBezTo>
                  <a:cubicBezTo>
                    <a:pt x="68" y="38"/>
                    <a:pt x="67" y="39"/>
                    <a:pt x="66" y="40"/>
                  </a:cubicBezTo>
                  <a:cubicBezTo>
                    <a:pt x="65" y="40"/>
                    <a:pt x="64" y="41"/>
                    <a:pt x="64" y="41"/>
                  </a:cubicBezTo>
                  <a:cubicBezTo>
                    <a:pt x="63" y="41"/>
                    <a:pt x="63" y="40"/>
                    <a:pt x="63" y="40"/>
                  </a:cubicBezTo>
                  <a:cubicBezTo>
                    <a:pt x="62" y="40"/>
                    <a:pt x="62" y="40"/>
                    <a:pt x="62" y="40"/>
                  </a:cubicBezTo>
                  <a:cubicBezTo>
                    <a:pt x="62" y="39"/>
                    <a:pt x="62" y="39"/>
                    <a:pt x="62" y="38"/>
                  </a:cubicBezTo>
                  <a:cubicBezTo>
                    <a:pt x="62" y="38"/>
                    <a:pt x="62" y="37"/>
                    <a:pt x="62" y="37"/>
                  </a:cubicBezTo>
                  <a:cubicBezTo>
                    <a:pt x="62" y="35"/>
                    <a:pt x="62" y="35"/>
                    <a:pt x="62" y="34"/>
                  </a:cubicBezTo>
                  <a:cubicBezTo>
                    <a:pt x="62" y="33"/>
                    <a:pt x="62" y="33"/>
                    <a:pt x="63" y="32"/>
                  </a:cubicBezTo>
                  <a:cubicBezTo>
                    <a:pt x="63" y="32"/>
                    <a:pt x="64" y="31"/>
                    <a:pt x="66" y="30"/>
                  </a:cubicBezTo>
                  <a:cubicBezTo>
                    <a:pt x="67" y="30"/>
                    <a:pt x="69" y="29"/>
                    <a:pt x="70" y="28"/>
                  </a:cubicBezTo>
                  <a:cubicBezTo>
                    <a:pt x="72" y="28"/>
                    <a:pt x="74" y="27"/>
                    <a:pt x="76" y="27"/>
                  </a:cubicBezTo>
                  <a:cubicBezTo>
                    <a:pt x="78" y="27"/>
                    <a:pt x="81" y="26"/>
                    <a:pt x="83" y="26"/>
                  </a:cubicBezTo>
                  <a:cubicBezTo>
                    <a:pt x="87" y="26"/>
                    <a:pt x="90" y="27"/>
                    <a:pt x="93" y="28"/>
                  </a:cubicBezTo>
                  <a:cubicBezTo>
                    <a:pt x="96" y="29"/>
                    <a:pt x="98" y="30"/>
                    <a:pt x="100" y="32"/>
                  </a:cubicBezTo>
                  <a:cubicBezTo>
                    <a:pt x="102" y="33"/>
                    <a:pt x="103" y="36"/>
                    <a:pt x="104" y="38"/>
                  </a:cubicBezTo>
                  <a:cubicBezTo>
                    <a:pt x="105" y="41"/>
                    <a:pt x="105" y="44"/>
                    <a:pt x="105" y="48"/>
                  </a:cubicBezTo>
                  <a:lnTo>
                    <a:pt x="105" y="85"/>
                  </a:lnTo>
                  <a:close/>
                  <a:moveTo>
                    <a:pt x="95" y="60"/>
                  </a:moveTo>
                  <a:lnTo>
                    <a:pt x="86" y="60"/>
                  </a:lnTo>
                  <a:cubicBezTo>
                    <a:pt x="83" y="60"/>
                    <a:pt x="81" y="60"/>
                    <a:pt x="79" y="60"/>
                  </a:cubicBezTo>
                  <a:cubicBezTo>
                    <a:pt x="76" y="61"/>
                    <a:pt x="75" y="62"/>
                    <a:pt x="73" y="63"/>
                  </a:cubicBezTo>
                  <a:cubicBezTo>
                    <a:pt x="72" y="64"/>
                    <a:pt x="71" y="65"/>
                    <a:pt x="70" y="66"/>
                  </a:cubicBezTo>
                  <a:cubicBezTo>
                    <a:pt x="70" y="67"/>
                    <a:pt x="69" y="69"/>
                    <a:pt x="69" y="71"/>
                  </a:cubicBezTo>
                  <a:cubicBezTo>
                    <a:pt x="69" y="73"/>
                    <a:pt x="70" y="76"/>
                    <a:pt x="72" y="77"/>
                  </a:cubicBezTo>
                  <a:cubicBezTo>
                    <a:pt x="74" y="79"/>
                    <a:pt x="77" y="80"/>
                    <a:pt x="80" y="80"/>
                  </a:cubicBezTo>
                  <a:cubicBezTo>
                    <a:pt x="83" y="80"/>
                    <a:pt x="85" y="79"/>
                    <a:pt x="87" y="78"/>
                  </a:cubicBezTo>
                  <a:cubicBezTo>
                    <a:pt x="90" y="77"/>
                    <a:pt x="92" y="75"/>
                    <a:pt x="95" y="72"/>
                  </a:cubicBezTo>
                  <a:lnTo>
                    <a:pt x="95" y="60"/>
                  </a:lnTo>
                  <a:close/>
                  <a:moveTo>
                    <a:pt x="162" y="70"/>
                  </a:moveTo>
                  <a:cubicBezTo>
                    <a:pt x="162" y="73"/>
                    <a:pt x="161" y="76"/>
                    <a:pt x="160" y="78"/>
                  </a:cubicBezTo>
                  <a:cubicBezTo>
                    <a:pt x="159" y="80"/>
                    <a:pt x="158" y="82"/>
                    <a:pt x="156" y="83"/>
                  </a:cubicBezTo>
                  <a:cubicBezTo>
                    <a:pt x="154" y="85"/>
                    <a:pt x="152" y="86"/>
                    <a:pt x="149" y="87"/>
                  </a:cubicBezTo>
                  <a:cubicBezTo>
                    <a:pt x="146" y="88"/>
                    <a:pt x="143" y="88"/>
                    <a:pt x="140" y="88"/>
                  </a:cubicBezTo>
                  <a:cubicBezTo>
                    <a:pt x="138" y="88"/>
                    <a:pt x="136" y="88"/>
                    <a:pt x="134" y="88"/>
                  </a:cubicBezTo>
                  <a:cubicBezTo>
                    <a:pt x="132" y="87"/>
                    <a:pt x="131" y="87"/>
                    <a:pt x="129" y="86"/>
                  </a:cubicBezTo>
                  <a:cubicBezTo>
                    <a:pt x="128" y="86"/>
                    <a:pt x="127" y="85"/>
                    <a:pt x="126" y="85"/>
                  </a:cubicBezTo>
                  <a:cubicBezTo>
                    <a:pt x="125" y="84"/>
                    <a:pt x="124" y="84"/>
                    <a:pt x="123" y="84"/>
                  </a:cubicBezTo>
                  <a:cubicBezTo>
                    <a:pt x="123" y="83"/>
                    <a:pt x="123" y="83"/>
                    <a:pt x="122" y="82"/>
                  </a:cubicBezTo>
                  <a:cubicBezTo>
                    <a:pt x="122" y="81"/>
                    <a:pt x="122" y="80"/>
                    <a:pt x="122" y="79"/>
                  </a:cubicBezTo>
                  <a:cubicBezTo>
                    <a:pt x="122" y="78"/>
                    <a:pt x="122" y="77"/>
                    <a:pt x="122" y="77"/>
                  </a:cubicBezTo>
                  <a:cubicBezTo>
                    <a:pt x="122" y="76"/>
                    <a:pt x="122" y="76"/>
                    <a:pt x="123" y="75"/>
                  </a:cubicBezTo>
                  <a:cubicBezTo>
                    <a:pt x="123" y="75"/>
                    <a:pt x="123" y="75"/>
                    <a:pt x="123" y="75"/>
                  </a:cubicBezTo>
                  <a:cubicBezTo>
                    <a:pt x="123" y="75"/>
                    <a:pt x="124" y="75"/>
                    <a:pt x="124" y="75"/>
                  </a:cubicBezTo>
                  <a:cubicBezTo>
                    <a:pt x="124" y="75"/>
                    <a:pt x="125" y="75"/>
                    <a:pt x="126" y="75"/>
                  </a:cubicBezTo>
                  <a:cubicBezTo>
                    <a:pt x="127" y="76"/>
                    <a:pt x="128" y="77"/>
                    <a:pt x="129" y="77"/>
                  </a:cubicBezTo>
                  <a:cubicBezTo>
                    <a:pt x="131" y="78"/>
                    <a:pt x="132" y="78"/>
                    <a:pt x="134" y="79"/>
                  </a:cubicBezTo>
                  <a:cubicBezTo>
                    <a:pt x="136" y="80"/>
                    <a:pt x="138" y="80"/>
                    <a:pt x="140" y="80"/>
                  </a:cubicBezTo>
                  <a:cubicBezTo>
                    <a:pt x="142" y="80"/>
                    <a:pt x="143" y="80"/>
                    <a:pt x="145" y="79"/>
                  </a:cubicBezTo>
                  <a:cubicBezTo>
                    <a:pt x="146" y="79"/>
                    <a:pt x="147" y="78"/>
                    <a:pt x="148" y="78"/>
                  </a:cubicBezTo>
                  <a:cubicBezTo>
                    <a:pt x="150" y="77"/>
                    <a:pt x="150" y="76"/>
                    <a:pt x="151" y="75"/>
                  </a:cubicBezTo>
                  <a:cubicBezTo>
                    <a:pt x="151" y="74"/>
                    <a:pt x="152" y="72"/>
                    <a:pt x="152" y="71"/>
                  </a:cubicBezTo>
                  <a:cubicBezTo>
                    <a:pt x="152" y="69"/>
                    <a:pt x="151" y="68"/>
                    <a:pt x="151" y="67"/>
                  </a:cubicBezTo>
                  <a:cubicBezTo>
                    <a:pt x="150" y="66"/>
                    <a:pt x="149" y="65"/>
                    <a:pt x="147" y="64"/>
                  </a:cubicBezTo>
                  <a:cubicBezTo>
                    <a:pt x="146" y="63"/>
                    <a:pt x="144" y="62"/>
                    <a:pt x="143" y="62"/>
                  </a:cubicBezTo>
                  <a:cubicBezTo>
                    <a:pt x="141" y="61"/>
                    <a:pt x="139" y="60"/>
                    <a:pt x="138" y="60"/>
                  </a:cubicBezTo>
                  <a:cubicBezTo>
                    <a:pt x="136" y="59"/>
                    <a:pt x="134" y="58"/>
                    <a:pt x="132" y="57"/>
                  </a:cubicBezTo>
                  <a:cubicBezTo>
                    <a:pt x="131" y="56"/>
                    <a:pt x="129" y="55"/>
                    <a:pt x="128" y="54"/>
                  </a:cubicBezTo>
                  <a:cubicBezTo>
                    <a:pt x="127" y="53"/>
                    <a:pt x="126" y="51"/>
                    <a:pt x="125" y="49"/>
                  </a:cubicBezTo>
                  <a:cubicBezTo>
                    <a:pt x="124" y="48"/>
                    <a:pt x="123" y="46"/>
                    <a:pt x="123" y="43"/>
                  </a:cubicBezTo>
                  <a:cubicBezTo>
                    <a:pt x="123" y="41"/>
                    <a:pt x="124" y="39"/>
                    <a:pt x="125" y="37"/>
                  </a:cubicBezTo>
                  <a:cubicBezTo>
                    <a:pt x="126" y="35"/>
                    <a:pt x="127" y="33"/>
                    <a:pt x="129" y="31"/>
                  </a:cubicBezTo>
                  <a:cubicBezTo>
                    <a:pt x="130" y="30"/>
                    <a:pt x="132" y="29"/>
                    <a:pt x="135" y="28"/>
                  </a:cubicBezTo>
                  <a:cubicBezTo>
                    <a:pt x="138" y="27"/>
                    <a:pt x="141" y="26"/>
                    <a:pt x="144" y="26"/>
                  </a:cubicBezTo>
                  <a:cubicBezTo>
                    <a:pt x="145" y="26"/>
                    <a:pt x="147" y="26"/>
                    <a:pt x="148" y="27"/>
                  </a:cubicBezTo>
                  <a:cubicBezTo>
                    <a:pt x="150" y="27"/>
                    <a:pt x="151" y="27"/>
                    <a:pt x="153" y="28"/>
                  </a:cubicBezTo>
                  <a:cubicBezTo>
                    <a:pt x="154" y="28"/>
                    <a:pt x="155" y="28"/>
                    <a:pt x="156" y="29"/>
                  </a:cubicBezTo>
                  <a:cubicBezTo>
                    <a:pt x="157" y="29"/>
                    <a:pt x="157" y="30"/>
                    <a:pt x="158" y="30"/>
                  </a:cubicBezTo>
                  <a:cubicBezTo>
                    <a:pt x="158" y="30"/>
                    <a:pt x="158" y="31"/>
                    <a:pt x="158" y="31"/>
                  </a:cubicBezTo>
                  <a:cubicBezTo>
                    <a:pt x="159" y="31"/>
                    <a:pt x="159" y="31"/>
                    <a:pt x="159" y="32"/>
                  </a:cubicBezTo>
                  <a:cubicBezTo>
                    <a:pt x="159" y="32"/>
                    <a:pt x="159" y="32"/>
                    <a:pt x="159" y="33"/>
                  </a:cubicBezTo>
                  <a:cubicBezTo>
                    <a:pt x="159" y="33"/>
                    <a:pt x="159" y="34"/>
                    <a:pt x="159" y="35"/>
                  </a:cubicBezTo>
                  <a:cubicBezTo>
                    <a:pt x="159" y="35"/>
                    <a:pt x="159" y="36"/>
                    <a:pt x="159" y="36"/>
                  </a:cubicBezTo>
                  <a:cubicBezTo>
                    <a:pt x="159" y="37"/>
                    <a:pt x="159" y="37"/>
                    <a:pt x="159" y="38"/>
                  </a:cubicBezTo>
                  <a:cubicBezTo>
                    <a:pt x="159" y="38"/>
                    <a:pt x="158" y="38"/>
                    <a:pt x="158" y="38"/>
                  </a:cubicBezTo>
                  <a:cubicBezTo>
                    <a:pt x="158" y="39"/>
                    <a:pt x="158" y="39"/>
                    <a:pt x="157" y="39"/>
                  </a:cubicBezTo>
                  <a:cubicBezTo>
                    <a:pt x="157" y="39"/>
                    <a:pt x="157" y="38"/>
                    <a:pt x="156" y="38"/>
                  </a:cubicBezTo>
                  <a:cubicBezTo>
                    <a:pt x="155" y="37"/>
                    <a:pt x="154" y="37"/>
                    <a:pt x="153" y="36"/>
                  </a:cubicBezTo>
                  <a:cubicBezTo>
                    <a:pt x="152" y="36"/>
                    <a:pt x="151" y="35"/>
                    <a:pt x="149" y="35"/>
                  </a:cubicBezTo>
                  <a:cubicBezTo>
                    <a:pt x="148" y="35"/>
                    <a:pt x="146" y="34"/>
                    <a:pt x="144" y="34"/>
                  </a:cubicBezTo>
                  <a:cubicBezTo>
                    <a:pt x="142" y="34"/>
                    <a:pt x="141" y="35"/>
                    <a:pt x="139" y="35"/>
                  </a:cubicBezTo>
                  <a:cubicBezTo>
                    <a:pt x="138" y="35"/>
                    <a:pt x="137" y="36"/>
                    <a:pt x="136" y="37"/>
                  </a:cubicBezTo>
                  <a:cubicBezTo>
                    <a:pt x="135" y="37"/>
                    <a:pt x="134" y="38"/>
                    <a:pt x="134" y="39"/>
                  </a:cubicBezTo>
                  <a:cubicBezTo>
                    <a:pt x="134" y="40"/>
                    <a:pt x="133" y="41"/>
                    <a:pt x="133" y="42"/>
                  </a:cubicBezTo>
                  <a:cubicBezTo>
                    <a:pt x="133" y="44"/>
                    <a:pt x="134" y="45"/>
                    <a:pt x="135" y="47"/>
                  </a:cubicBezTo>
                  <a:cubicBezTo>
                    <a:pt x="135" y="48"/>
                    <a:pt x="137" y="49"/>
                    <a:pt x="138" y="49"/>
                  </a:cubicBezTo>
                  <a:cubicBezTo>
                    <a:pt x="139" y="50"/>
                    <a:pt x="141" y="51"/>
                    <a:pt x="142" y="52"/>
                  </a:cubicBezTo>
                  <a:cubicBezTo>
                    <a:pt x="144" y="52"/>
                    <a:pt x="146" y="53"/>
                    <a:pt x="148" y="54"/>
                  </a:cubicBezTo>
                  <a:cubicBezTo>
                    <a:pt x="149" y="54"/>
                    <a:pt x="151" y="55"/>
                    <a:pt x="153" y="56"/>
                  </a:cubicBezTo>
                  <a:cubicBezTo>
                    <a:pt x="155" y="57"/>
                    <a:pt x="156" y="58"/>
                    <a:pt x="157" y="59"/>
                  </a:cubicBezTo>
                  <a:cubicBezTo>
                    <a:pt x="159" y="61"/>
                    <a:pt x="160" y="62"/>
                    <a:pt x="161" y="64"/>
                  </a:cubicBezTo>
                  <a:cubicBezTo>
                    <a:pt x="162" y="66"/>
                    <a:pt x="162" y="68"/>
                    <a:pt x="162" y="70"/>
                  </a:cubicBezTo>
                  <a:close/>
                  <a:moveTo>
                    <a:pt x="221" y="85"/>
                  </a:moveTo>
                  <a:cubicBezTo>
                    <a:pt x="221" y="86"/>
                    <a:pt x="221" y="86"/>
                    <a:pt x="221" y="86"/>
                  </a:cubicBezTo>
                  <a:cubicBezTo>
                    <a:pt x="220" y="86"/>
                    <a:pt x="220" y="87"/>
                    <a:pt x="220" y="87"/>
                  </a:cubicBezTo>
                  <a:cubicBezTo>
                    <a:pt x="219" y="87"/>
                    <a:pt x="219" y="87"/>
                    <a:pt x="218" y="87"/>
                  </a:cubicBezTo>
                  <a:cubicBezTo>
                    <a:pt x="217" y="87"/>
                    <a:pt x="216" y="87"/>
                    <a:pt x="215" y="87"/>
                  </a:cubicBezTo>
                  <a:cubicBezTo>
                    <a:pt x="214" y="87"/>
                    <a:pt x="213" y="87"/>
                    <a:pt x="213" y="87"/>
                  </a:cubicBezTo>
                  <a:cubicBezTo>
                    <a:pt x="212" y="87"/>
                    <a:pt x="211" y="87"/>
                    <a:pt x="211" y="87"/>
                  </a:cubicBezTo>
                  <a:cubicBezTo>
                    <a:pt x="210" y="87"/>
                    <a:pt x="210" y="87"/>
                    <a:pt x="210" y="86"/>
                  </a:cubicBezTo>
                  <a:cubicBezTo>
                    <a:pt x="209" y="86"/>
                    <a:pt x="209" y="86"/>
                    <a:pt x="209" y="85"/>
                  </a:cubicBezTo>
                  <a:lnTo>
                    <a:pt x="185" y="54"/>
                  </a:lnTo>
                  <a:lnTo>
                    <a:pt x="185" y="85"/>
                  </a:lnTo>
                  <a:cubicBezTo>
                    <a:pt x="185" y="86"/>
                    <a:pt x="185" y="86"/>
                    <a:pt x="185" y="86"/>
                  </a:cubicBezTo>
                  <a:cubicBezTo>
                    <a:pt x="185" y="86"/>
                    <a:pt x="184" y="87"/>
                    <a:pt x="184" y="87"/>
                  </a:cubicBezTo>
                  <a:cubicBezTo>
                    <a:pt x="183" y="87"/>
                    <a:pt x="183" y="87"/>
                    <a:pt x="182" y="87"/>
                  </a:cubicBezTo>
                  <a:cubicBezTo>
                    <a:pt x="182" y="87"/>
                    <a:pt x="181" y="87"/>
                    <a:pt x="180" y="87"/>
                  </a:cubicBezTo>
                  <a:cubicBezTo>
                    <a:pt x="179" y="87"/>
                    <a:pt x="178" y="87"/>
                    <a:pt x="177" y="87"/>
                  </a:cubicBezTo>
                  <a:cubicBezTo>
                    <a:pt x="177" y="87"/>
                    <a:pt x="176" y="87"/>
                    <a:pt x="176" y="87"/>
                  </a:cubicBezTo>
                  <a:cubicBezTo>
                    <a:pt x="175" y="87"/>
                    <a:pt x="175" y="86"/>
                    <a:pt x="175" y="86"/>
                  </a:cubicBezTo>
                  <a:cubicBezTo>
                    <a:pt x="175" y="86"/>
                    <a:pt x="175" y="86"/>
                    <a:pt x="175" y="85"/>
                  </a:cubicBezTo>
                  <a:lnTo>
                    <a:pt x="175" y="2"/>
                  </a:lnTo>
                  <a:cubicBezTo>
                    <a:pt x="175" y="2"/>
                    <a:pt x="175" y="1"/>
                    <a:pt x="175" y="1"/>
                  </a:cubicBezTo>
                  <a:cubicBezTo>
                    <a:pt x="175" y="1"/>
                    <a:pt x="175" y="1"/>
                    <a:pt x="176" y="0"/>
                  </a:cubicBezTo>
                  <a:cubicBezTo>
                    <a:pt x="176" y="0"/>
                    <a:pt x="177" y="0"/>
                    <a:pt x="177" y="0"/>
                  </a:cubicBezTo>
                  <a:cubicBezTo>
                    <a:pt x="178" y="0"/>
                    <a:pt x="179" y="0"/>
                    <a:pt x="180" y="0"/>
                  </a:cubicBezTo>
                  <a:cubicBezTo>
                    <a:pt x="181" y="0"/>
                    <a:pt x="182" y="0"/>
                    <a:pt x="182" y="0"/>
                  </a:cubicBezTo>
                  <a:cubicBezTo>
                    <a:pt x="183" y="0"/>
                    <a:pt x="183" y="0"/>
                    <a:pt x="184" y="0"/>
                  </a:cubicBezTo>
                  <a:cubicBezTo>
                    <a:pt x="184" y="1"/>
                    <a:pt x="185" y="1"/>
                    <a:pt x="185" y="1"/>
                  </a:cubicBezTo>
                  <a:cubicBezTo>
                    <a:pt x="185" y="1"/>
                    <a:pt x="185" y="2"/>
                    <a:pt x="185" y="2"/>
                  </a:cubicBezTo>
                  <a:lnTo>
                    <a:pt x="185" y="53"/>
                  </a:lnTo>
                  <a:lnTo>
                    <a:pt x="206" y="29"/>
                  </a:lnTo>
                  <a:cubicBezTo>
                    <a:pt x="207" y="29"/>
                    <a:pt x="207" y="29"/>
                    <a:pt x="207" y="28"/>
                  </a:cubicBezTo>
                  <a:cubicBezTo>
                    <a:pt x="208" y="28"/>
                    <a:pt x="208" y="28"/>
                    <a:pt x="209" y="28"/>
                  </a:cubicBezTo>
                  <a:cubicBezTo>
                    <a:pt x="209" y="27"/>
                    <a:pt x="210" y="27"/>
                    <a:pt x="210" y="27"/>
                  </a:cubicBezTo>
                  <a:cubicBezTo>
                    <a:pt x="211" y="27"/>
                    <a:pt x="212" y="27"/>
                    <a:pt x="213" y="27"/>
                  </a:cubicBezTo>
                  <a:cubicBezTo>
                    <a:pt x="214" y="27"/>
                    <a:pt x="215" y="27"/>
                    <a:pt x="216" y="27"/>
                  </a:cubicBezTo>
                  <a:cubicBezTo>
                    <a:pt x="216" y="27"/>
                    <a:pt x="217" y="27"/>
                    <a:pt x="217" y="28"/>
                  </a:cubicBezTo>
                  <a:cubicBezTo>
                    <a:pt x="218" y="28"/>
                    <a:pt x="218" y="28"/>
                    <a:pt x="218" y="28"/>
                  </a:cubicBezTo>
                  <a:cubicBezTo>
                    <a:pt x="218" y="28"/>
                    <a:pt x="219" y="29"/>
                    <a:pt x="219" y="29"/>
                  </a:cubicBezTo>
                  <a:cubicBezTo>
                    <a:pt x="219" y="30"/>
                    <a:pt x="218" y="30"/>
                    <a:pt x="218" y="31"/>
                  </a:cubicBezTo>
                  <a:cubicBezTo>
                    <a:pt x="218" y="31"/>
                    <a:pt x="217" y="32"/>
                    <a:pt x="217" y="32"/>
                  </a:cubicBezTo>
                  <a:lnTo>
                    <a:pt x="196" y="53"/>
                  </a:lnTo>
                  <a:lnTo>
                    <a:pt x="219" y="82"/>
                  </a:lnTo>
                  <a:cubicBezTo>
                    <a:pt x="220" y="83"/>
                    <a:pt x="220" y="84"/>
                    <a:pt x="220" y="84"/>
                  </a:cubicBezTo>
                  <a:cubicBezTo>
                    <a:pt x="221" y="85"/>
                    <a:pt x="221" y="85"/>
                    <a:pt x="221" y="85"/>
                  </a:cubicBezTo>
                  <a:close/>
                  <a:moveTo>
                    <a:pt x="287" y="55"/>
                  </a:moveTo>
                  <a:cubicBezTo>
                    <a:pt x="287" y="56"/>
                    <a:pt x="286" y="58"/>
                    <a:pt x="285" y="58"/>
                  </a:cubicBezTo>
                  <a:cubicBezTo>
                    <a:pt x="285" y="59"/>
                    <a:pt x="284" y="59"/>
                    <a:pt x="283" y="59"/>
                  </a:cubicBezTo>
                  <a:lnTo>
                    <a:pt x="246" y="59"/>
                  </a:lnTo>
                  <a:cubicBezTo>
                    <a:pt x="246" y="62"/>
                    <a:pt x="246" y="65"/>
                    <a:pt x="246" y="68"/>
                  </a:cubicBezTo>
                  <a:cubicBezTo>
                    <a:pt x="247" y="70"/>
                    <a:pt x="248" y="72"/>
                    <a:pt x="250" y="74"/>
                  </a:cubicBezTo>
                  <a:cubicBezTo>
                    <a:pt x="251" y="76"/>
                    <a:pt x="253" y="77"/>
                    <a:pt x="255" y="78"/>
                  </a:cubicBezTo>
                  <a:cubicBezTo>
                    <a:pt x="258" y="79"/>
                    <a:pt x="261" y="80"/>
                    <a:pt x="264" y="80"/>
                  </a:cubicBezTo>
                  <a:cubicBezTo>
                    <a:pt x="267" y="80"/>
                    <a:pt x="269" y="80"/>
                    <a:pt x="271" y="79"/>
                  </a:cubicBezTo>
                  <a:cubicBezTo>
                    <a:pt x="273" y="79"/>
                    <a:pt x="275" y="78"/>
                    <a:pt x="277" y="78"/>
                  </a:cubicBezTo>
                  <a:cubicBezTo>
                    <a:pt x="278" y="77"/>
                    <a:pt x="279" y="77"/>
                    <a:pt x="280" y="76"/>
                  </a:cubicBezTo>
                  <a:cubicBezTo>
                    <a:pt x="281" y="76"/>
                    <a:pt x="282" y="76"/>
                    <a:pt x="283" y="76"/>
                  </a:cubicBezTo>
                  <a:cubicBezTo>
                    <a:pt x="283" y="76"/>
                    <a:pt x="283" y="76"/>
                    <a:pt x="283" y="76"/>
                  </a:cubicBezTo>
                  <a:cubicBezTo>
                    <a:pt x="284" y="76"/>
                    <a:pt x="284" y="76"/>
                    <a:pt x="284" y="76"/>
                  </a:cubicBezTo>
                  <a:cubicBezTo>
                    <a:pt x="284" y="77"/>
                    <a:pt x="284" y="77"/>
                    <a:pt x="284" y="78"/>
                  </a:cubicBezTo>
                  <a:cubicBezTo>
                    <a:pt x="284" y="78"/>
                    <a:pt x="284" y="79"/>
                    <a:pt x="284" y="80"/>
                  </a:cubicBezTo>
                  <a:cubicBezTo>
                    <a:pt x="284" y="80"/>
                    <a:pt x="284" y="81"/>
                    <a:pt x="284" y="81"/>
                  </a:cubicBezTo>
                  <a:cubicBezTo>
                    <a:pt x="284" y="81"/>
                    <a:pt x="284" y="82"/>
                    <a:pt x="284" y="82"/>
                  </a:cubicBezTo>
                  <a:cubicBezTo>
                    <a:pt x="284" y="82"/>
                    <a:pt x="284" y="83"/>
                    <a:pt x="284" y="83"/>
                  </a:cubicBezTo>
                  <a:cubicBezTo>
                    <a:pt x="284" y="83"/>
                    <a:pt x="283" y="83"/>
                    <a:pt x="283" y="84"/>
                  </a:cubicBezTo>
                  <a:cubicBezTo>
                    <a:pt x="283" y="84"/>
                    <a:pt x="282" y="84"/>
                    <a:pt x="281" y="85"/>
                  </a:cubicBezTo>
                  <a:cubicBezTo>
                    <a:pt x="280" y="85"/>
                    <a:pt x="279" y="86"/>
                    <a:pt x="277" y="86"/>
                  </a:cubicBezTo>
                  <a:cubicBezTo>
                    <a:pt x="275" y="87"/>
                    <a:pt x="273" y="87"/>
                    <a:pt x="271" y="88"/>
                  </a:cubicBezTo>
                  <a:cubicBezTo>
                    <a:pt x="268" y="88"/>
                    <a:pt x="266" y="88"/>
                    <a:pt x="263" y="88"/>
                  </a:cubicBezTo>
                  <a:cubicBezTo>
                    <a:pt x="258" y="88"/>
                    <a:pt x="254" y="87"/>
                    <a:pt x="251" y="86"/>
                  </a:cubicBezTo>
                  <a:cubicBezTo>
                    <a:pt x="247" y="85"/>
                    <a:pt x="244" y="83"/>
                    <a:pt x="242" y="80"/>
                  </a:cubicBezTo>
                  <a:cubicBezTo>
                    <a:pt x="240" y="78"/>
                    <a:pt x="238" y="75"/>
                    <a:pt x="237" y="71"/>
                  </a:cubicBezTo>
                  <a:cubicBezTo>
                    <a:pt x="235" y="67"/>
                    <a:pt x="235" y="63"/>
                    <a:pt x="235" y="58"/>
                  </a:cubicBezTo>
                  <a:cubicBezTo>
                    <a:pt x="235" y="53"/>
                    <a:pt x="235" y="48"/>
                    <a:pt x="237" y="44"/>
                  </a:cubicBezTo>
                  <a:cubicBezTo>
                    <a:pt x="238" y="41"/>
                    <a:pt x="240" y="37"/>
                    <a:pt x="242" y="35"/>
                  </a:cubicBezTo>
                  <a:cubicBezTo>
                    <a:pt x="245" y="32"/>
                    <a:pt x="247" y="30"/>
                    <a:pt x="251" y="28"/>
                  </a:cubicBezTo>
                  <a:cubicBezTo>
                    <a:pt x="254" y="27"/>
                    <a:pt x="258" y="26"/>
                    <a:pt x="262" y="26"/>
                  </a:cubicBezTo>
                  <a:cubicBezTo>
                    <a:pt x="266" y="26"/>
                    <a:pt x="270" y="27"/>
                    <a:pt x="273" y="28"/>
                  </a:cubicBezTo>
                  <a:cubicBezTo>
                    <a:pt x="276" y="30"/>
                    <a:pt x="279" y="32"/>
                    <a:pt x="281" y="34"/>
                  </a:cubicBezTo>
                  <a:cubicBezTo>
                    <a:pt x="283" y="37"/>
                    <a:pt x="284" y="39"/>
                    <a:pt x="285" y="43"/>
                  </a:cubicBezTo>
                  <a:cubicBezTo>
                    <a:pt x="286" y="46"/>
                    <a:pt x="287" y="49"/>
                    <a:pt x="287" y="53"/>
                  </a:cubicBezTo>
                  <a:lnTo>
                    <a:pt x="287" y="55"/>
                  </a:lnTo>
                  <a:close/>
                  <a:moveTo>
                    <a:pt x="276" y="52"/>
                  </a:moveTo>
                  <a:cubicBezTo>
                    <a:pt x="276" y="46"/>
                    <a:pt x="275" y="42"/>
                    <a:pt x="273" y="39"/>
                  </a:cubicBezTo>
                  <a:cubicBezTo>
                    <a:pt x="270" y="36"/>
                    <a:pt x="266" y="34"/>
                    <a:pt x="261" y="34"/>
                  </a:cubicBezTo>
                  <a:cubicBezTo>
                    <a:pt x="259" y="34"/>
                    <a:pt x="257" y="35"/>
                    <a:pt x="255" y="36"/>
                  </a:cubicBezTo>
                  <a:cubicBezTo>
                    <a:pt x="253" y="37"/>
                    <a:pt x="251" y="38"/>
                    <a:pt x="250" y="40"/>
                  </a:cubicBezTo>
                  <a:cubicBezTo>
                    <a:pt x="248" y="41"/>
                    <a:pt x="247" y="43"/>
                    <a:pt x="247" y="45"/>
                  </a:cubicBezTo>
                  <a:cubicBezTo>
                    <a:pt x="246" y="47"/>
                    <a:pt x="246" y="49"/>
                    <a:pt x="246" y="52"/>
                  </a:cubicBezTo>
                  <a:lnTo>
                    <a:pt x="276" y="52"/>
                  </a:lnTo>
                  <a:close/>
                  <a:moveTo>
                    <a:pt x="332" y="81"/>
                  </a:moveTo>
                  <a:cubicBezTo>
                    <a:pt x="332" y="82"/>
                    <a:pt x="332" y="83"/>
                    <a:pt x="332" y="84"/>
                  </a:cubicBezTo>
                  <a:cubicBezTo>
                    <a:pt x="331" y="85"/>
                    <a:pt x="331" y="85"/>
                    <a:pt x="331" y="86"/>
                  </a:cubicBezTo>
                  <a:cubicBezTo>
                    <a:pt x="331" y="86"/>
                    <a:pt x="330" y="86"/>
                    <a:pt x="329" y="87"/>
                  </a:cubicBezTo>
                  <a:cubicBezTo>
                    <a:pt x="329" y="87"/>
                    <a:pt x="328" y="87"/>
                    <a:pt x="327" y="87"/>
                  </a:cubicBezTo>
                  <a:cubicBezTo>
                    <a:pt x="326" y="88"/>
                    <a:pt x="325" y="88"/>
                    <a:pt x="324" y="88"/>
                  </a:cubicBezTo>
                  <a:cubicBezTo>
                    <a:pt x="323" y="88"/>
                    <a:pt x="322" y="88"/>
                    <a:pt x="321" y="88"/>
                  </a:cubicBezTo>
                  <a:cubicBezTo>
                    <a:pt x="319" y="88"/>
                    <a:pt x="316" y="88"/>
                    <a:pt x="314" y="87"/>
                  </a:cubicBezTo>
                  <a:cubicBezTo>
                    <a:pt x="312" y="86"/>
                    <a:pt x="310" y="85"/>
                    <a:pt x="309" y="83"/>
                  </a:cubicBezTo>
                  <a:cubicBezTo>
                    <a:pt x="308" y="82"/>
                    <a:pt x="307" y="80"/>
                    <a:pt x="306" y="77"/>
                  </a:cubicBezTo>
                  <a:cubicBezTo>
                    <a:pt x="305" y="75"/>
                    <a:pt x="305" y="72"/>
                    <a:pt x="305" y="69"/>
                  </a:cubicBezTo>
                  <a:lnTo>
                    <a:pt x="305" y="36"/>
                  </a:lnTo>
                  <a:lnTo>
                    <a:pt x="297" y="36"/>
                  </a:lnTo>
                  <a:cubicBezTo>
                    <a:pt x="297" y="36"/>
                    <a:pt x="296" y="36"/>
                    <a:pt x="296" y="35"/>
                  </a:cubicBezTo>
                  <a:cubicBezTo>
                    <a:pt x="295" y="34"/>
                    <a:pt x="295" y="33"/>
                    <a:pt x="295" y="32"/>
                  </a:cubicBezTo>
                  <a:cubicBezTo>
                    <a:pt x="295" y="31"/>
                    <a:pt x="295" y="30"/>
                    <a:pt x="295" y="30"/>
                  </a:cubicBezTo>
                  <a:cubicBezTo>
                    <a:pt x="295" y="29"/>
                    <a:pt x="296" y="29"/>
                    <a:pt x="296" y="28"/>
                  </a:cubicBezTo>
                  <a:cubicBezTo>
                    <a:pt x="296" y="28"/>
                    <a:pt x="296" y="28"/>
                    <a:pt x="296" y="28"/>
                  </a:cubicBezTo>
                  <a:cubicBezTo>
                    <a:pt x="297" y="28"/>
                    <a:pt x="297" y="28"/>
                    <a:pt x="297" y="28"/>
                  </a:cubicBezTo>
                  <a:lnTo>
                    <a:pt x="305" y="28"/>
                  </a:lnTo>
                  <a:lnTo>
                    <a:pt x="305" y="14"/>
                  </a:lnTo>
                  <a:cubicBezTo>
                    <a:pt x="305" y="14"/>
                    <a:pt x="305" y="14"/>
                    <a:pt x="305" y="13"/>
                  </a:cubicBezTo>
                  <a:cubicBezTo>
                    <a:pt x="305" y="13"/>
                    <a:pt x="306" y="13"/>
                    <a:pt x="306" y="13"/>
                  </a:cubicBezTo>
                  <a:cubicBezTo>
                    <a:pt x="306" y="12"/>
                    <a:pt x="307" y="12"/>
                    <a:pt x="308" y="12"/>
                  </a:cubicBezTo>
                  <a:cubicBezTo>
                    <a:pt x="308" y="12"/>
                    <a:pt x="309" y="12"/>
                    <a:pt x="310" y="12"/>
                  </a:cubicBezTo>
                  <a:cubicBezTo>
                    <a:pt x="311" y="12"/>
                    <a:pt x="312" y="12"/>
                    <a:pt x="313" y="12"/>
                  </a:cubicBezTo>
                  <a:cubicBezTo>
                    <a:pt x="313" y="12"/>
                    <a:pt x="314" y="12"/>
                    <a:pt x="314" y="13"/>
                  </a:cubicBezTo>
                  <a:cubicBezTo>
                    <a:pt x="315" y="13"/>
                    <a:pt x="315" y="13"/>
                    <a:pt x="315" y="13"/>
                  </a:cubicBezTo>
                  <a:cubicBezTo>
                    <a:pt x="315" y="14"/>
                    <a:pt x="315" y="14"/>
                    <a:pt x="315" y="14"/>
                  </a:cubicBezTo>
                  <a:lnTo>
                    <a:pt x="315" y="28"/>
                  </a:lnTo>
                  <a:lnTo>
                    <a:pt x="330" y="28"/>
                  </a:lnTo>
                  <a:cubicBezTo>
                    <a:pt x="330" y="28"/>
                    <a:pt x="330" y="28"/>
                    <a:pt x="331" y="28"/>
                  </a:cubicBezTo>
                  <a:cubicBezTo>
                    <a:pt x="331" y="28"/>
                    <a:pt x="331" y="28"/>
                    <a:pt x="331" y="28"/>
                  </a:cubicBezTo>
                  <a:cubicBezTo>
                    <a:pt x="332" y="29"/>
                    <a:pt x="332" y="29"/>
                    <a:pt x="332" y="30"/>
                  </a:cubicBezTo>
                  <a:cubicBezTo>
                    <a:pt x="332" y="30"/>
                    <a:pt x="332" y="31"/>
                    <a:pt x="332" y="32"/>
                  </a:cubicBezTo>
                  <a:cubicBezTo>
                    <a:pt x="332" y="33"/>
                    <a:pt x="332" y="34"/>
                    <a:pt x="331" y="35"/>
                  </a:cubicBezTo>
                  <a:cubicBezTo>
                    <a:pt x="331" y="36"/>
                    <a:pt x="330" y="36"/>
                    <a:pt x="330" y="36"/>
                  </a:cubicBezTo>
                  <a:lnTo>
                    <a:pt x="315" y="36"/>
                  </a:lnTo>
                  <a:lnTo>
                    <a:pt x="315" y="67"/>
                  </a:lnTo>
                  <a:cubicBezTo>
                    <a:pt x="315" y="71"/>
                    <a:pt x="316" y="74"/>
                    <a:pt x="317" y="76"/>
                  </a:cubicBezTo>
                  <a:cubicBezTo>
                    <a:pt x="318" y="78"/>
                    <a:pt x="320" y="79"/>
                    <a:pt x="323" y="79"/>
                  </a:cubicBezTo>
                  <a:cubicBezTo>
                    <a:pt x="324" y="79"/>
                    <a:pt x="325" y="79"/>
                    <a:pt x="326" y="79"/>
                  </a:cubicBezTo>
                  <a:cubicBezTo>
                    <a:pt x="327" y="79"/>
                    <a:pt x="327" y="79"/>
                    <a:pt x="328" y="78"/>
                  </a:cubicBezTo>
                  <a:cubicBezTo>
                    <a:pt x="328" y="78"/>
                    <a:pt x="329" y="78"/>
                    <a:pt x="329" y="78"/>
                  </a:cubicBezTo>
                  <a:cubicBezTo>
                    <a:pt x="330" y="78"/>
                    <a:pt x="330" y="77"/>
                    <a:pt x="330" y="77"/>
                  </a:cubicBezTo>
                  <a:cubicBezTo>
                    <a:pt x="331" y="77"/>
                    <a:pt x="331" y="77"/>
                    <a:pt x="331" y="78"/>
                  </a:cubicBezTo>
                  <a:cubicBezTo>
                    <a:pt x="331" y="78"/>
                    <a:pt x="331" y="78"/>
                    <a:pt x="331" y="78"/>
                  </a:cubicBezTo>
                  <a:cubicBezTo>
                    <a:pt x="332" y="78"/>
                    <a:pt x="332" y="79"/>
                    <a:pt x="332" y="79"/>
                  </a:cubicBezTo>
                  <a:cubicBezTo>
                    <a:pt x="332" y="80"/>
                    <a:pt x="332" y="81"/>
                    <a:pt x="332" y="81"/>
                  </a:cubicBezTo>
                  <a:close/>
                  <a:moveTo>
                    <a:pt x="413" y="83"/>
                  </a:moveTo>
                  <a:cubicBezTo>
                    <a:pt x="413" y="83"/>
                    <a:pt x="413" y="84"/>
                    <a:pt x="413" y="84"/>
                  </a:cubicBezTo>
                  <a:cubicBezTo>
                    <a:pt x="413" y="85"/>
                    <a:pt x="412" y="86"/>
                    <a:pt x="412" y="86"/>
                  </a:cubicBezTo>
                  <a:cubicBezTo>
                    <a:pt x="412" y="86"/>
                    <a:pt x="412" y="87"/>
                    <a:pt x="412" y="87"/>
                  </a:cubicBezTo>
                  <a:cubicBezTo>
                    <a:pt x="411" y="87"/>
                    <a:pt x="411" y="87"/>
                    <a:pt x="411" y="87"/>
                  </a:cubicBezTo>
                  <a:lnTo>
                    <a:pt x="372" y="87"/>
                  </a:lnTo>
                  <a:cubicBezTo>
                    <a:pt x="371" y="87"/>
                    <a:pt x="370" y="87"/>
                    <a:pt x="369" y="86"/>
                  </a:cubicBezTo>
                  <a:cubicBezTo>
                    <a:pt x="368" y="85"/>
                    <a:pt x="368" y="84"/>
                    <a:pt x="368" y="83"/>
                  </a:cubicBezTo>
                  <a:lnTo>
                    <a:pt x="368" y="10"/>
                  </a:lnTo>
                  <a:cubicBezTo>
                    <a:pt x="368" y="9"/>
                    <a:pt x="368" y="8"/>
                    <a:pt x="369" y="7"/>
                  </a:cubicBezTo>
                  <a:cubicBezTo>
                    <a:pt x="370" y="6"/>
                    <a:pt x="371" y="6"/>
                    <a:pt x="372" y="6"/>
                  </a:cubicBezTo>
                  <a:lnTo>
                    <a:pt x="410" y="6"/>
                  </a:lnTo>
                  <a:cubicBezTo>
                    <a:pt x="411" y="6"/>
                    <a:pt x="411" y="6"/>
                    <a:pt x="411" y="6"/>
                  </a:cubicBezTo>
                  <a:cubicBezTo>
                    <a:pt x="411" y="6"/>
                    <a:pt x="412" y="7"/>
                    <a:pt x="412" y="7"/>
                  </a:cubicBezTo>
                  <a:cubicBezTo>
                    <a:pt x="412" y="8"/>
                    <a:pt x="412" y="8"/>
                    <a:pt x="412" y="9"/>
                  </a:cubicBezTo>
                  <a:cubicBezTo>
                    <a:pt x="412" y="9"/>
                    <a:pt x="412" y="10"/>
                    <a:pt x="412" y="11"/>
                  </a:cubicBezTo>
                  <a:cubicBezTo>
                    <a:pt x="412" y="11"/>
                    <a:pt x="412" y="12"/>
                    <a:pt x="412" y="13"/>
                  </a:cubicBezTo>
                  <a:cubicBezTo>
                    <a:pt x="412" y="13"/>
                    <a:pt x="412" y="14"/>
                    <a:pt x="412" y="14"/>
                  </a:cubicBezTo>
                  <a:cubicBezTo>
                    <a:pt x="412" y="14"/>
                    <a:pt x="411" y="15"/>
                    <a:pt x="411" y="15"/>
                  </a:cubicBezTo>
                  <a:cubicBezTo>
                    <a:pt x="411" y="15"/>
                    <a:pt x="411" y="15"/>
                    <a:pt x="410" y="15"/>
                  </a:cubicBezTo>
                  <a:lnTo>
                    <a:pt x="379" y="15"/>
                  </a:lnTo>
                  <a:lnTo>
                    <a:pt x="379" y="40"/>
                  </a:lnTo>
                  <a:lnTo>
                    <a:pt x="406" y="40"/>
                  </a:lnTo>
                  <a:cubicBezTo>
                    <a:pt x="406" y="40"/>
                    <a:pt x="406" y="40"/>
                    <a:pt x="407" y="41"/>
                  </a:cubicBezTo>
                  <a:cubicBezTo>
                    <a:pt x="407" y="41"/>
                    <a:pt x="407" y="41"/>
                    <a:pt x="407" y="41"/>
                  </a:cubicBezTo>
                  <a:cubicBezTo>
                    <a:pt x="407" y="42"/>
                    <a:pt x="408" y="42"/>
                    <a:pt x="408" y="43"/>
                  </a:cubicBezTo>
                  <a:cubicBezTo>
                    <a:pt x="408" y="43"/>
                    <a:pt x="408" y="44"/>
                    <a:pt x="408" y="45"/>
                  </a:cubicBezTo>
                  <a:cubicBezTo>
                    <a:pt x="408" y="46"/>
                    <a:pt x="408" y="46"/>
                    <a:pt x="408" y="47"/>
                  </a:cubicBezTo>
                  <a:cubicBezTo>
                    <a:pt x="408" y="47"/>
                    <a:pt x="407" y="48"/>
                    <a:pt x="407" y="48"/>
                  </a:cubicBezTo>
                  <a:cubicBezTo>
                    <a:pt x="407" y="48"/>
                    <a:pt x="407" y="49"/>
                    <a:pt x="407" y="49"/>
                  </a:cubicBezTo>
                  <a:cubicBezTo>
                    <a:pt x="406" y="49"/>
                    <a:pt x="406" y="49"/>
                    <a:pt x="406" y="49"/>
                  </a:cubicBezTo>
                  <a:lnTo>
                    <a:pt x="379" y="49"/>
                  </a:lnTo>
                  <a:lnTo>
                    <a:pt x="379" y="78"/>
                  </a:lnTo>
                  <a:lnTo>
                    <a:pt x="411" y="78"/>
                  </a:lnTo>
                  <a:cubicBezTo>
                    <a:pt x="411" y="78"/>
                    <a:pt x="411" y="78"/>
                    <a:pt x="412" y="78"/>
                  </a:cubicBezTo>
                  <a:cubicBezTo>
                    <a:pt x="412" y="78"/>
                    <a:pt x="412" y="79"/>
                    <a:pt x="412" y="79"/>
                  </a:cubicBezTo>
                  <a:cubicBezTo>
                    <a:pt x="412" y="79"/>
                    <a:pt x="413" y="80"/>
                    <a:pt x="413" y="80"/>
                  </a:cubicBezTo>
                  <a:cubicBezTo>
                    <a:pt x="413" y="81"/>
                    <a:pt x="413" y="82"/>
                    <a:pt x="413" y="83"/>
                  </a:cubicBezTo>
                  <a:close/>
                  <a:moveTo>
                    <a:pt x="477" y="29"/>
                  </a:moveTo>
                  <a:cubicBezTo>
                    <a:pt x="477" y="29"/>
                    <a:pt x="477" y="29"/>
                    <a:pt x="477" y="30"/>
                  </a:cubicBezTo>
                  <a:cubicBezTo>
                    <a:pt x="477" y="30"/>
                    <a:pt x="477" y="30"/>
                    <a:pt x="477" y="30"/>
                  </a:cubicBezTo>
                  <a:cubicBezTo>
                    <a:pt x="477" y="30"/>
                    <a:pt x="477" y="31"/>
                    <a:pt x="476" y="31"/>
                  </a:cubicBezTo>
                  <a:cubicBezTo>
                    <a:pt x="476" y="31"/>
                    <a:pt x="476" y="31"/>
                    <a:pt x="476" y="32"/>
                  </a:cubicBezTo>
                  <a:lnTo>
                    <a:pt x="457" y="85"/>
                  </a:lnTo>
                  <a:cubicBezTo>
                    <a:pt x="457" y="86"/>
                    <a:pt x="457" y="86"/>
                    <a:pt x="456" y="86"/>
                  </a:cubicBezTo>
                  <a:cubicBezTo>
                    <a:pt x="456" y="86"/>
                    <a:pt x="456" y="87"/>
                    <a:pt x="455" y="87"/>
                  </a:cubicBezTo>
                  <a:cubicBezTo>
                    <a:pt x="455" y="87"/>
                    <a:pt x="454" y="87"/>
                    <a:pt x="453" y="87"/>
                  </a:cubicBezTo>
                  <a:cubicBezTo>
                    <a:pt x="452" y="87"/>
                    <a:pt x="451" y="87"/>
                    <a:pt x="450" y="87"/>
                  </a:cubicBezTo>
                  <a:cubicBezTo>
                    <a:pt x="449" y="87"/>
                    <a:pt x="448" y="87"/>
                    <a:pt x="447" y="87"/>
                  </a:cubicBezTo>
                  <a:cubicBezTo>
                    <a:pt x="446" y="87"/>
                    <a:pt x="445" y="87"/>
                    <a:pt x="445" y="87"/>
                  </a:cubicBezTo>
                  <a:cubicBezTo>
                    <a:pt x="444" y="87"/>
                    <a:pt x="444" y="86"/>
                    <a:pt x="444" y="86"/>
                  </a:cubicBezTo>
                  <a:cubicBezTo>
                    <a:pt x="443" y="86"/>
                    <a:pt x="443" y="85"/>
                    <a:pt x="443" y="85"/>
                  </a:cubicBezTo>
                  <a:lnTo>
                    <a:pt x="424" y="32"/>
                  </a:lnTo>
                  <a:cubicBezTo>
                    <a:pt x="424" y="31"/>
                    <a:pt x="424" y="31"/>
                    <a:pt x="423" y="30"/>
                  </a:cubicBezTo>
                  <a:cubicBezTo>
                    <a:pt x="423" y="30"/>
                    <a:pt x="423" y="30"/>
                    <a:pt x="423" y="29"/>
                  </a:cubicBezTo>
                  <a:cubicBezTo>
                    <a:pt x="423" y="29"/>
                    <a:pt x="423" y="29"/>
                    <a:pt x="423" y="29"/>
                  </a:cubicBezTo>
                  <a:cubicBezTo>
                    <a:pt x="423" y="29"/>
                    <a:pt x="423" y="28"/>
                    <a:pt x="423" y="28"/>
                  </a:cubicBezTo>
                  <a:cubicBezTo>
                    <a:pt x="424" y="28"/>
                    <a:pt x="424" y="28"/>
                    <a:pt x="424" y="28"/>
                  </a:cubicBezTo>
                  <a:cubicBezTo>
                    <a:pt x="425" y="27"/>
                    <a:pt x="425" y="27"/>
                    <a:pt x="426" y="27"/>
                  </a:cubicBezTo>
                  <a:cubicBezTo>
                    <a:pt x="426" y="27"/>
                    <a:pt x="427" y="27"/>
                    <a:pt x="428" y="27"/>
                  </a:cubicBezTo>
                  <a:cubicBezTo>
                    <a:pt x="429" y="27"/>
                    <a:pt x="430" y="27"/>
                    <a:pt x="431" y="27"/>
                  </a:cubicBezTo>
                  <a:cubicBezTo>
                    <a:pt x="432" y="27"/>
                    <a:pt x="432" y="27"/>
                    <a:pt x="433" y="28"/>
                  </a:cubicBezTo>
                  <a:cubicBezTo>
                    <a:pt x="433" y="28"/>
                    <a:pt x="434" y="28"/>
                    <a:pt x="434" y="28"/>
                  </a:cubicBezTo>
                  <a:cubicBezTo>
                    <a:pt x="434" y="29"/>
                    <a:pt x="434" y="29"/>
                    <a:pt x="434" y="29"/>
                  </a:cubicBezTo>
                  <a:lnTo>
                    <a:pt x="450" y="76"/>
                  </a:lnTo>
                  <a:lnTo>
                    <a:pt x="450" y="76"/>
                  </a:lnTo>
                  <a:lnTo>
                    <a:pt x="451" y="76"/>
                  </a:lnTo>
                  <a:lnTo>
                    <a:pt x="466" y="29"/>
                  </a:lnTo>
                  <a:cubicBezTo>
                    <a:pt x="466" y="29"/>
                    <a:pt x="466" y="29"/>
                    <a:pt x="467" y="28"/>
                  </a:cubicBezTo>
                  <a:cubicBezTo>
                    <a:pt x="467" y="28"/>
                    <a:pt x="467" y="28"/>
                    <a:pt x="468" y="28"/>
                  </a:cubicBezTo>
                  <a:cubicBezTo>
                    <a:pt x="468" y="27"/>
                    <a:pt x="469" y="27"/>
                    <a:pt x="469" y="27"/>
                  </a:cubicBezTo>
                  <a:cubicBezTo>
                    <a:pt x="470" y="27"/>
                    <a:pt x="471" y="27"/>
                    <a:pt x="472" y="27"/>
                  </a:cubicBezTo>
                  <a:cubicBezTo>
                    <a:pt x="473" y="27"/>
                    <a:pt x="474" y="27"/>
                    <a:pt x="474" y="27"/>
                  </a:cubicBezTo>
                  <a:cubicBezTo>
                    <a:pt x="475" y="27"/>
                    <a:pt x="475" y="27"/>
                    <a:pt x="476" y="28"/>
                  </a:cubicBezTo>
                  <a:cubicBezTo>
                    <a:pt x="476" y="28"/>
                    <a:pt x="476" y="28"/>
                    <a:pt x="477" y="28"/>
                  </a:cubicBezTo>
                  <a:cubicBezTo>
                    <a:pt x="477" y="28"/>
                    <a:pt x="477" y="29"/>
                    <a:pt x="477" y="29"/>
                  </a:cubicBezTo>
                  <a:close/>
                  <a:moveTo>
                    <a:pt x="543" y="55"/>
                  </a:moveTo>
                  <a:cubicBezTo>
                    <a:pt x="543" y="56"/>
                    <a:pt x="542" y="58"/>
                    <a:pt x="541" y="58"/>
                  </a:cubicBezTo>
                  <a:cubicBezTo>
                    <a:pt x="541" y="59"/>
                    <a:pt x="540" y="59"/>
                    <a:pt x="539" y="59"/>
                  </a:cubicBezTo>
                  <a:lnTo>
                    <a:pt x="502" y="59"/>
                  </a:lnTo>
                  <a:cubicBezTo>
                    <a:pt x="502" y="62"/>
                    <a:pt x="502" y="65"/>
                    <a:pt x="502" y="68"/>
                  </a:cubicBezTo>
                  <a:cubicBezTo>
                    <a:pt x="503" y="70"/>
                    <a:pt x="504" y="72"/>
                    <a:pt x="506" y="74"/>
                  </a:cubicBezTo>
                  <a:cubicBezTo>
                    <a:pt x="507" y="76"/>
                    <a:pt x="509" y="77"/>
                    <a:pt x="511" y="78"/>
                  </a:cubicBezTo>
                  <a:cubicBezTo>
                    <a:pt x="514" y="79"/>
                    <a:pt x="517" y="80"/>
                    <a:pt x="520" y="80"/>
                  </a:cubicBezTo>
                  <a:cubicBezTo>
                    <a:pt x="523" y="80"/>
                    <a:pt x="525" y="80"/>
                    <a:pt x="527" y="79"/>
                  </a:cubicBezTo>
                  <a:cubicBezTo>
                    <a:pt x="529" y="79"/>
                    <a:pt x="531" y="78"/>
                    <a:pt x="533" y="78"/>
                  </a:cubicBezTo>
                  <a:cubicBezTo>
                    <a:pt x="534" y="77"/>
                    <a:pt x="535" y="77"/>
                    <a:pt x="536" y="76"/>
                  </a:cubicBezTo>
                  <a:cubicBezTo>
                    <a:pt x="537" y="76"/>
                    <a:pt x="538" y="76"/>
                    <a:pt x="539" y="76"/>
                  </a:cubicBezTo>
                  <a:cubicBezTo>
                    <a:pt x="539" y="76"/>
                    <a:pt x="539" y="76"/>
                    <a:pt x="539" y="76"/>
                  </a:cubicBezTo>
                  <a:cubicBezTo>
                    <a:pt x="540" y="76"/>
                    <a:pt x="540" y="76"/>
                    <a:pt x="540" y="76"/>
                  </a:cubicBezTo>
                  <a:cubicBezTo>
                    <a:pt x="540" y="77"/>
                    <a:pt x="540" y="77"/>
                    <a:pt x="540" y="78"/>
                  </a:cubicBezTo>
                  <a:cubicBezTo>
                    <a:pt x="540" y="78"/>
                    <a:pt x="540" y="79"/>
                    <a:pt x="540" y="80"/>
                  </a:cubicBezTo>
                  <a:cubicBezTo>
                    <a:pt x="540" y="80"/>
                    <a:pt x="540" y="81"/>
                    <a:pt x="540" y="81"/>
                  </a:cubicBezTo>
                  <a:cubicBezTo>
                    <a:pt x="540" y="81"/>
                    <a:pt x="540" y="82"/>
                    <a:pt x="540" y="82"/>
                  </a:cubicBezTo>
                  <a:cubicBezTo>
                    <a:pt x="540" y="82"/>
                    <a:pt x="540" y="83"/>
                    <a:pt x="540" y="83"/>
                  </a:cubicBezTo>
                  <a:cubicBezTo>
                    <a:pt x="540" y="83"/>
                    <a:pt x="539" y="83"/>
                    <a:pt x="539" y="84"/>
                  </a:cubicBezTo>
                  <a:cubicBezTo>
                    <a:pt x="539" y="84"/>
                    <a:pt x="538" y="84"/>
                    <a:pt x="537" y="85"/>
                  </a:cubicBezTo>
                  <a:cubicBezTo>
                    <a:pt x="536" y="85"/>
                    <a:pt x="535" y="86"/>
                    <a:pt x="533" y="86"/>
                  </a:cubicBezTo>
                  <a:cubicBezTo>
                    <a:pt x="531" y="87"/>
                    <a:pt x="529" y="87"/>
                    <a:pt x="527" y="88"/>
                  </a:cubicBezTo>
                  <a:cubicBezTo>
                    <a:pt x="524" y="88"/>
                    <a:pt x="522" y="88"/>
                    <a:pt x="519" y="88"/>
                  </a:cubicBezTo>
                  <a:cubicBezTo>
                    <a:pt x="514" y="88"/>
                    <a:pt x="510" y="87"/>
                    <a:pt x="507" y="86"/>
                  </a:cubicBezTo>
                  <a:cubicBezTo>
                    <a:pt x="503" y="85"/>
                    <a:pt x="500" y="83"/>
                    <a:pt x="498" y="80"/>
                  </a:cubicBezTo>
                  <a:cubicBezTo>
                    <a:pt x="496" y="78"/>
                    <a:pt x="494" y="75"/>
                    <a:pt x="493" y="71"/>
                  </a:cubicBezTo>
                  <a:cubicBezTo>
                    <a:pt x="491" y="67"/>
                    <a:pt x="491" y="63"/>
                    <a:pt x="491" y="58"/>
                  </a:cubicBezTo>
                  <a:cubicBezTo>
                    <a:pt x="491" y="53"/>
                    <a:pt x="491" y="48"/>
                    <a:pt x="493" y="44"/>
                  </a:cubicBezTo>
                  <a:cubicBezTo>
                    <a:pt x="494" y="41"/>
                    <a:pt x="496" y="37"/>
                    <a:pt x="498" y="35"/>
                  </a:cubicBezTo>
                  <a:cubicBezTo>
                    <a:pt x="501" y="32"/>
                    <a:pt x="503" y="30"/>
                    <a:pt x="507" y="28"/>
                  </a:cubicBezTo>
                  <a:cubicBezTo>
                    <a:pt x="510" y="27"/>
                    <a:pt x="514" y="26"/>
                    <a:pt x="518" y="26"/>
                  </a:cubicBezTo>
                  <a:cubicBezTo>
                    <a:pt x="522" y="26"/>
                    <a:pt x="526" y="27"/>
                    <a:pt x="529" y="28"/>
                  </a:cubicBezTo>
                  <a:cubicBezTo>
                    <a:pt x="532" y="30"/>
                    <a:pt x="535" y="32"/>
                    <a:pt x="537" y="34"/>
                  </a:cubicBezTo>
                  <a:cubicBezTo>
                    <a:pt x="539" y="37"/>
                    <a:pt x="540" y="39"/>
                    <a:pt x="541" y="43"/>
                  </a:cubicBezTo>
                  <a:cubicBezTo>
                    <a:pt x="542" y="46"/>
                    <a:pt x="543" y="49"/>
                    <a:pt x="543" y="53"/>
                  </a:cubicBezTo>
                  <a:lnTo>
                    <a:pt x="543" y="55"/>
                  </a:lnTo>
                  <a:close/>
                  <a:moveTo>
                    <a:pt x="532" y="52"/>
                  </a:moveTo>
                  <a:cubicBezTo>
                    <a:pt x="532" y="46"/>
                    <a:pt x="531" y="42"/>
                    <a:pt x="529" y="39"/>
                  </a:cubicBezTo>
                  <a:cubicBezTo>
                    <a:pt x="526" y="36"/>
                    <a:pt x="522" y="34"/>
                    <a:pt x="517" y="34"/>
                  </a:cubicBezTo>
                  <a:cubicBezTo>
                    <a:pt x="515" y="34"/>
                    <a:pt x="513" y="35"/>
                    <a:pt x="511" y="36"/>
                  </a:cubicBezTo>
                  <a:cubicBezTo>
                    <a:pt x="509" y="37"/>
                    <a:pt x="507" y="38"/>
                    <a:pt x="506" y="40"/>
                  </a:cubicBezTo>
                  <a:cubicBezTo>
                    <a:pt x="504" y="41"/>
                    <a:pt x="503" y="43"/>
                    <a:pt x="503" y="45"/>
                  </a:cubicBezTo>
                  <a:cubicBezTo>
                    <a:pt x="502" y="47"/>
                    <a:pt x="502" y="49"/>
                    <a:pt x="502" y="52"/>
                  </a:cubicBezTo>
                  <a:lnTo>
                    <a:pt x="532" y="52"/>
                  </a:lnTo>
                  <a:close/>
                  <a:moveTo>
                    <a:pt x="607" y="85"/>
                  </a:moveTo>
                  <a:cubicBezTo>
                    <a:pt x="607" y="86"/>
                    <a:pt x="607" y="86"/>
                    <a:pt x="607" y="86"/>
                  </a:cubicBezTo>
                  <a:cubicBezTo>
                    <a:pt x="607" y="86"/>
                    <a:pt x="606" y="87"/>
                    <a:pt x="606" y="87"/>
                  </a:cubicBezTo>
                  <a:cubicBezTo>
                    <a:pt x="606" y="87"/>
                    <a:pt x="605" y="87"/>
                    <a:pt x="604" y="87"/>
                  </a:cubicBezTo>
                  <a:cubicBezTo>
                    <a:pt x="604" y="87"/>
                    <a:pt x="603" y="87"/>
                    <a:pt x="602" y="87"/>
                  </a:cubicBezTo>
                  <a:cubicBezTo>
                    <a:pt x="601" y="87"/>
                    <a:pt x="600" y="87"/>
                    <a:pt x="599" y="87"/>
                  </a:cubicBezTo>
                  <a:cubicBezTo>
                    <a:pt x="599" y="87"/>
                    <a:pt x="598" y="87"/>
                    <a:pt x="598" y="87"/>
                  </a:cubicBezTo>
                  <a:cubicBezTo>
                    <a:pt x="597" y="87"/>
                    <a:pt x="597" y="86"/>
                    <a:pt x="597" y="86"/>
                  </a:cubicBezTo>
                  <a:cubicBezTo>
                    <a:pt x="597" y="86"/>
                    <a:pt x="597" y="86"/>
                    <a:pt x="597" y="85"/>
                  </a:cubicBezTo>
                  <a:lnTo>
                    <a:pt x="597" y="52"/>
                  </a:lnTo>
                  <a:cubicBezTo>
                    <a:pt x="597" y="49"/>
                    <a:pt x="596" y="47"/>
                    <a:pt x="596" y="45"/>
                  </a:cubicBezTo>
                  <a:cubicBezTo>
                    <a:pt x="595" y="43"/>
                    <a:pt x="595" y="41"/>
                    <a:pt x="594" y="40"/>
                  </a:cubicBezTo>
                  <a:cubicBezTo>
                    <a:pt x="593" y="38"/>
                    <a:pt x="592" y="37"/>
                    <a:pt x="590" y="36"/>
                  </a:cubicBezTo>
                  <a:cubicBezTo>
                    <a:pt x="589" y="36"/>
                    <a:pt x="587" y="35"/>
                    <a:pt x="585" y="35"/>
                  </a:cubicBezTo>
                  <a:cubicBezTo>
                    <a:pt x="582" y="35"/>
                    <a:pt x="580" y="36"/>
                    <a:pt x="577" y="38"/>
                  </a:cubicBezTo>
                  <a:cubicBezTo>
                    <a:pt x="574" y="40"/>
                    <a:pt x="572" y="43"/>
                    <a:pt x="569" y="46"/>
                  </a:cubicBezTo>
                  <a:lnTo>
                    <a:pt x="569" y="85"/>
                  </a:lnTo>
                  <a:cubicBezTo>
                    <a:pt x="569" y="86"/>
                    <a:pt x="569" y="86"/>
                    <a:pt x="569" y="86"/>
                  </a:cubicBezTo>
                  <a:cubicBezTo>
                    <a:pt x="569" y="86"/>
                    <a:pt x="568" y="87"/>
                    <a:pt x="568" y="87"/>
                  </a:cubicBezTo>
                  <a:cubicBezTo>
                    <a:pt x="567" y="87"/>
                    <a:pt x="567" y="87"/>
                    <a:pt x="566" y="87"/>
                  </a:cubicBezTo>
                  <a:cubicBezTo>
                    <a:pt x="566" y="87"/>
                    <a:pt x="565" y="87"/>
                    <a:pt x="564" y="87"/>
                  </a:cubicBezTo>
                  <a:cubicBezTo>
                    <a:pt x="563" y="87"/>
                    <a:pt x="562" y="87"/>
                    <a:pt x="561" y="87"/>
                  </a:cubicBezTo>
                  <a:cubicBezTo>
                    <a:pt x="561" y="87"/>
                    <a:pt x="560" y="87"/>
                    <a:pt x="560" y="87"/>
                  </a:cubicBezTo>
                  <a:cubicBezTo>
                    <a:pt x="559" y="87"/>
                    <a:pt x="559" y="86"/>
                    <a:pt x="559" y="86"/>
                  </a:cubicBezTo>
                  <a:cubicBezTo>
                    <a:pt x="559" y="86"/>
                    <a:pt x="559" y="86"/>
                    <a:pt x="559" y="85"/>
                  </a:cubicBezTo>
                  <a:lnTo>
                    <a:pt x="559" y="29"/>
                  </a:lnTo>
                  <a:cubicBezTo>
                    <a:pt x="559" y="29"/>
                    <a:pt x="559" y="29"/>
                    <a:pt x="559" y="28"/>
                  </a:cubicBezTo>
                  <a:cubicBezTo>
                    <a:pt x="559" y="28"/>
                    <a:pt x="559" y="28"/>
                    <a:pt x="560" y="28"/>
                  </a:cubicBezTo>
                  <a:cubicBezTo>
                    <a:pt x="560" y="27"/>
                    <a:pt x="560" y="27"/>
                    <a:pt x="561" y="27"/>
                  </a:cubicBezTo>
                  <a:cubicBezTo>
                    <a:pt x="562" y="27"/>
                    <a:pt x="562" y="27"/>
                    <a:pt x="563" y="27"/>
                  </a:cubicBezTo>
                  <a:cubicBezTo>
                    <a:pt x="564" y="27"/>
                    <a:pt x="565" y="27"/>
                    <a:pt x="566" y="27"/>
                  </a:cubicBezTo>
                  <a:cubicBezTo>
                    <a:pt x="566" y="27"/>
                    <a:pt x="567" y="27"/>
                    <a:pt x="567" y="28"/>
                  </a:cubicBezTo>
                  <a:cubicBezTo>
                    <a:pt x="567" y="28"/>
                    <a:pt x="568" y="28"/>
                    <a:pt x="568" y="28"/>
                  </a:cubicBezTo>
                  <a:cubicBezTo>
                    <a:pt x="568" y="29"/>
                    <a:pt x="568" y="29"/>
                    <a:pt x="568" y="29"/>
                  </a:cubicBezTo>
                  <a:lnTo>
                    <a:pt x="568" y="37"/>
                  </a:lnTo>
                  <a:cubicBezTo>
                    <a:pt x="571" y="33"/>
                    <a:pt x="574" y="30"/>
                    <a:pt x="577" y="29"/>
                  </a:cubicBezTo>
                  <a:cubicBezTo>
                    <a:pt x="581" y="27"/>
                    <a:pt x="584" y="26"/>
                    <a:pt x="587" y="26"/>
                  </a:cubicBezTo>
                  <a:cubicBezTo>
                    <a:pt x="591" y="26"/>
                    <a:pt x="594" y="27"/>
                    <a:pt x="596" y="28"/>
                  </a:cubicBezTo>
                  <a:cubicBezTo>
                    <a:pt x="599" y="29"/>
                    <a:pt x="601" y="31"/>
                    <a:pt x="603" y="33"/>
                  </a:cubicBezTo>
                  <a:cubicBezTo>
                    <a:pt x="604" y="35"/>
                    <a:pt x="605" y="38"/>
                    <a:pt x="606" y="41"/>
                  </a:cubicBezTo>
                  <a:cubicBezTo>
                    <a:pt x="607" y="44"/>
                    <a:pt x="607" y="47"/>
                    <a:pt x="607" y="51"/>
                  </a:cubicBezTo>
                  <a:lnTo>
                    <a:pt x="607" y="85"/>
                  </a:lnTo>
                  <a:close/>
                  <a:moveTo>
                    <a:pt x="652" y="81"/>
                  </a:moveTo>
                  <a:cubicBezTo>
                    <a:pt x="652" y="82"/>
                    <a:pt x="652" y="83"/>
                    <a:pt x="652" y="84"/>
                  </a:cubicBezTo>
                  <a:cubicBezTo>
                    <a:pt x="651" y="85"/>
                    <a:pt x="651" y="85"/>
                    <a:pt x="651" y="86"/>
                  </a:cubicBezTo>
                  <a:cubicBezTo>
                    <a:pt x="651" y="86"/>
                    <a:pt x="650" y="86"/>
                    <a:pt x="649" y="87"/>
                  </a:cubicBezTo>
                  <a:cubicBezTo>
                    <a:pt x="649" y="87"/>
                    <a:pt x="648" y="87"/>
                    <a:pt x="647" y="87"/>
                  </a:cubicBezTo>
                  <a:cubicBezTo>
                    <a:pt x="646" y="88"/>
                    <a:pt x="645" y="88"/>
                    <a:pt x="644" y="88"/>
                  </a:cubicBezTo>
                  <a:cubicBezTo>
                    <a:pt x="643" y="88"/>
                    <a:pt x="642" y="88"/>
                    <a:pt x="641" y="88"/>
                  </a:cubicBezTo>
                  <a:cubicBezTo>
                    <a:pt x="639" y="88"/>
                    <a:pt x="636" y="88"/>
                    <a:pt x="634" y="87"/>
                  </a:cubicBezTo>
                  <a:cubicBezTo>
                    <a:pt x="632" y="86"/>
                    <a:pt x="630" y="85"/>
                    <a:pt x="629" y="83"/>
                  </a:cubicBezTo>
                  <a:cubicBezTo>
                    <a:pt x="628" y="82"/>
                    <a:pt x="627" y="80"/>
                    <a:pt x="626" y="77"/>
                  </a:cubicBezTo>
                  <a:cubicBezTo>
                    <a:pt x="625" y="75"/>
                    <a:pt x="625" y="72"/>
                    <a:pt x="625" y="69"/>
                  </a:cubicBezTo>
                  <a:lnTo>
                    <a:pt x="625" y="36"/>
                  </a:lnTo>
                  <a:lnTo>
                    <a:pt x="617" y="36"/>
                  </a:lnTo>
                  <a:cubicBezTo>
                    <a:pt x="617" y="36"/>
                    <a:pt x="616" y="36"/>
                    <a:pt x="616" y="35"/>
                  </a:cubicBezTo>
                  <a:cubicBezTo>
                    <a:pt x="615" y="34"/>
                    <a:pt x="615" y="33"/>
                    <a:pt x="615" y="32"/>
                  </a:cubicBezTo>
                  <a:cubicBezTo>
                    <a:pt x="615" y="31"/>
                    <a:pt x="615" y="30"/>
                    <a:pt x="615" y="30"/>
                  </a:cubicBezTo>
                  <a:cubicBezTo>
                    <a:pt x="615" y="29"/>
                    <a:pt x="616" y="29"/>
                    <a:pt x="616" y="28"/>
                  </a:cubicBezTo>
                  <a:cubicBezTo>
                    <a:pt x="616" y="28"/>
                    <a:pt x="616" y="28"/>
                    <a:pt x="616" y="28"/>
                  </a:cubicBezTo>
                  <a:cubicBezTo>
                    <a:pt x="617" y="28"/>
                    <a:pt x="617" y="28"/>
                    <a:pt x="617" y="28"/>
                  </a:cubicBezTo>
                  <a:lnTo>
                    <a:pt x="625" y="28"/>
                  </a:lnTo>
                  <a:lnTo>
                    <a:pt x="625" y="14"/>
                  </a:lnTo>
                  <a:cubicBezTo>
                    <a:pt x="625" y="14"/>
                    <a:pt x="625" y="14"/>
                    <a:pt x="625" y="13"/>
                  </a:cubicBezTo>
                  <a:cubicBezTo>
                    <a:pt x="625" y="13"/>
                    <a:pt x="626" y="13"/>
                    <a:pt x="626" y="13"/>
                  </a:cubicBezTo>
                  <a:cubicBezTo>
                    <a:pt x="626" y="12"/>
                    <a:pt x="627" y="12"/>
                    <a:pt x="628" y="12"/>
                  </a:cubicBezTo>
                  <a:cubicBezTo>
                    <a:pt x="628" y="12"/>
                    <a:pt x="629" y="12"/>
                    <a:pt x="630" y="12"/>
                  </a:cubicBezTo>
                  <a:cubicBezTo>
                    <a:pt x="631" y="12"/>
                    <a:pt x="632" y="12"/>
                    <a:pt x="633" y="12"/>
                  </a:cubicBezTo>
                  <a:cubicBezTo>
                    <a:pt x="633" y="12"/>
                    <a:pt x="634" y="12"/>
                    <a:pt x="634" y="13"/>
                  </a:cubicBezTo>
                  <a:cubicBezTo>
                    <a:pt x="635" y="13"/>
                    <a:pt x="635" y="13"/>
                    <a:pt x="635" y="13"/>
                  </a:cubicBezTo>
                  <a:cubicBezTo>
                    <a:pt x="635" y="14"/>
                    <a:pt x="635" y="14"/>
                    <a:pt x="635" y="14"/>
                  </a:cubicBezTo>
                  <a:lnTo>
                    <a:pt x="635" y="28"/>
                  </a:lnTo>
                  <a:lnTo>
                    <a:pt x="650" y="28"/>
                  </a:lnTo>
                  <a:cubicBezTo>
                    <a:pt x="650" y="28"/>
                    <a:pt x="650" y="28"/>
                    <a:pt x="651" y="28"/>
                  </a:cubicBezTo>
                  <a:cubicBezTo>
                    <a:pt x="651" y="28"/>
                    <a:pt x="651" y="28"/>
                    <a:pt x="651" y="28"/>
                  </a:cubicBezTo>
                  <a:cubicBezTo>
                    <a:pt x="652" y="29"/>
                    <a:pt x="652" y="29"/>
                    <a:pt x="652" y="30"/>
                  </a:cubicBezTo>
                  <a:cubicBezTo>
                    <a:pt x="652" y="30"/>
                    <a:pt x="652" y="31"/>
                    <a:pt x="652" y="32"/>
                  </a:cubicBezTo>
                  <a:cubicBezTo>
                    <a:pt x="652" y="33"/>
                    <a:pt x="652" y="34"/>
                    <a:pt x="651" y="35"/>
                  </a:cubicBezTo>
                  <a:cubicBezTo>
                    <a:pt x="651" y="36"/>
                    <a:pt x="650" y="36"/>
                    <a:pt x="650" y="36"/>
                  </a:cubicBezTo>
                  <a:lnTo>
                    <a:pt x="635" y="36"/>
                  </a:lnTo>
                  <a:lnTo>
                    <a:pt x="635" y="67"/>
                  </a:lnTo>
                  <a:cubicBezTo>
                    <a:pt x="635" y="71"/>
                    <a:pt x="636" y="74"/>
                    <a:pt x="637" y="76"/>
                  </a:cubicBezTo>
                  <a:cubicBezTo>
                    <a:pt x="638" y="78"/>
                    <a:pt x="640" y="79"/>
                    <a:pt x="643" y="79"/>
                  </a:cubicBezTo>
                  <a:cubicBezTo>
                    <a:pt x="644" y="79"/>
                    <a:pt x="645" y="79"/>
                    <a:pt x="646" y="79"/>
                  </a:cubicBezTo>
                  <a:cubicBezTo>
                    <a:pt x="647" y="79"/>
                    <a:pt x="647" y="79"/>
                    <a:pt x="648" y="78"/>
                  </a:cubicBezTo>
                  <a:cubicBezTo>
                    <a:pt x="648" y="78"/>
                    <a:pt x="649" y="78"/>
                    <a:pt x="649" y="78"/>
                  </a:cubicBezTo>
                  <a:cubicBezTo>
                    <a:pt x="650" y="78"/>
                    <a:pt x="650" y="77"/>
                    <a:pt x="650" y="77"/>
                  </a:cubicBezTo>
                  <a:cubicBezTo>
                    <a:pt x="651" y="77"/>
                    <a:pt x="651" y="77"/>
                    <a:pt x="651" y="78"/>
                  </a:cubicBezTo>
                  <a:cubicBezTo>
                    <a:pt x="651" y="78"/>
                    <a:pt x="651" y="78"/>
                    <a:pt x="651" y="78"/>
                  </a:cubicBezTo>
                  <a:cubicBezTo>
                    <a:pt x="652" y="78"/>
                    <a:pt x="652" y="79"/>
                    <a:pt x="652" y="79"/>
                  </a:cubicBezTo>
                  <a:cubicBezTo>
                    <a:pt x="652" y="80"/>
                    <a:pt x="652" y="81"/>
                    <a:pt x="652" y="81"/>
                  </a:cubicBezTo>
                  <a:close/>
                </a:path>
              </a:pathLst>
            </a:custGeom>
            <a:solidFill>
              <a:srgbClr val="0C0C0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46" name="Freeform 164">
              <a:extLst>
                <a:ext uri="{FF2B5EF4-FFF2-40B4-BE49-F238E27FC236}">
                  <a16:creationId xmlns:a16="http://schemas.microsoft.com/office/drawing/2014/main" id="{A5D02912-37FE-4A55-A63D-44964A49DA05}"/>
                </a:ext>
              </a:extLst>
            </p:cNvPr>
            <p:cNvSpPr>
              <a:spLocks noEditPoints="1"/>
            </p:cNvSpPr>
            <p:nvPr/>
          </p:nvSpPr>
          <p:spPr bwMode="auto">
            <a:xfrm>
              <a:off x="4997" y="2335"/>
              <a:ext cx="962" cy="110"/>
            </a:xfrm>
            <a:custGeom>
              <a:avLst/>
              <a:gdLst>
                <a:gd name="T0" fmla="*/ 2146 w 2149"/>
                <a:gd name="T1" fmla="*/ 115 h 246"/>
                <a:gd name="T2" fmla="*/ 2049 w 2149"/>
                <a:gd name="T3" fmla="*/ 141 h 246"/>
                <a:gd name="T4" fmla="*/ 2028 w 2149"/>
                <a:gd name="T5" fmla="*/ 149 h 246"/>
                <a:gd name="T6" fmla="*/ 2030 w 2149"/>
                <a:gd name="T7" fmla="*/ 146 h 246"/>
                <a:gd name="T8" fmla="*/ 1932 w 2149"/>
                <a:gd name="T9" fmla="*/ 167 h 246"/>
                <a:gd name="T10" fmla="*/ 1879 w 2149"/>
                <a:gd name="T11" fmla="*/ 185 h 246"/>
                <a:gd name="T12" fmla="*/ 1907 w 2149"/>
                <a:gd name="T13" fmla="*/ 173 h 246"/>
                <a:gd name="T14" fmla="*/ 1809 w 2149"/>
                <a:gd name="T15" fmla="*/ 193 h 246"/>
                <a:gd name="T16" fmla="*/ 1787 w 2149"/>
                <a:gd name="T17" fmla="*/ 199 h 246"/>
                <a:gd name="T18" fmla="*/ 1789 w 2149"/>
                <a:gd name="T19" fmla="*/ 196 h 246"/>
                <a:gd name="T20" fmla="*/ 1690 w 2149"/>
                <a:gd name="T21" fmla="*/ 209 h 246"/>
                <a:gd name="T22" fmla="*/ 1630 w 2149"/>
                <a:gd name="T23" fmla="*/ 224 h 246"/>
                <a:gd name="T24" fmla="*/ 1666 w 2149"/>
                <a:gd name="T25" fmla="*/ 218 h 246"/>
                <a:gd name="T26" fmla="*/ 1569 w 2149"/>
                <a:gd name="T27" fmla="*/ 225 h 246"/>
                <a:gd name="T28" fmla="*/ 1508 w 2149"/>
                <a:gd name="T29" fmla="*/ 234 h 246"/>
                <a:gd name="T30" fmla="*/ 1546 w 2149"/>
                <a:gd name="T31" fmla="*/ 229 h 246"/>
                <a:gd name="T32" fmla="*/ 1446 w 2149"/>
                <a:gd name="T33" fmla="*/ 233 h 246"/>
                <a:gd name="T34" fmla="*/ 1421 w 2149"/>
                <a:gd name="T35" fmla="*/ 240 h 246"/>
                <a:gd name="T36" fmla="*/ 1423 w 2149"/>
                <a:gd name="T37" fmla="*/ 237 h 246"/>
                <a:gd name="T38" fmla="*/ 1321 w 2149"/>
                <a:gd name="T39" fmla="*/ 243 h 246"/>
                <a:gd name="T40" fmla="*/ 1360 w 2149"/>
                <a:gd name="T41" fmla="*/ 244 h 246"/>
                <a:gd name="T42" fmla="*/ 1298 w 2149"/>
                <a:gd name="T43" fmla="*/ 240 h 246"/>
                <a:gd name="T44" fmla="*/ 1198 w 2149"/>
                <a:gd name="T45" fmla="*/ 241 h 246"/>
                <a:gd name="T46" fmla="*/ 1175 w 2149"/>
                <a:gd name="T47" fmla="*/ 244 h 246"/>
                <a:gd name="T48" fmla="*/ 1178 w 2149"/>
                <a:gd name="T49" fmla="*/ 241 h 246"/>
                <a:gd name="T50" fmla="*/ 1078 w 2149"/>
                <a:gd name="T51" fmla="*/ 237 h 246"/>
                <a:gd name="T52" fmla="*/ 1016 w 2149"/>
                <a:gd name="T53" fmla="*/ 238 h 246"/>
                <a:gd name="T54" fmla="*/ 1052 w 2149"/>
                <a:gd name="T55" fmla="*/ 241 h 246"/>
                <a:gd name="T56" fmla="*/ 991 w 2149"/>
                <a:gd name="T57" fmla="*/ 230 h 246"/>
                <a:gd name="T58" fmla="*/ 892 w 2149"/>
                <a:gd name="T59" fmla="*/ 223 h 246"/>
                <a:gd name="T60" fmla="*/ 869 w 2149"/>
                <a:gd name="T61" fmla="*/ 223 h 246"/>
                <a:gd name="T62" fmla="*/ 871 w 2149"/>
                <a:gd name="T63" fmla="*/ 221 h 246"/>
                <a:gd name="T64" fmla="*/ 770 w 2149"/>
                <a:gd name="T65" fmla="*/ 210 h 246"/>
                <a:gd name="T66" fmla="*/ 808 w 2149"/>
                <a:gd name="T67" fmla="*/ 218 h 246"/>
                <a:gd name="T68" fmla="*/ 748 w 2149"/>
                <a:gd name="T69" fmla="*/ 203 h 246"/>
                <a:gd name="T70" fmla="*/ 649 w 2149"/>
                <a:gd name="T71" fmla="*/ 188 h 246"/>
                <a:gd name="T72" fmla="*/ 626 w 2149"/>
                <a:gd name="T73" fmla="*/ 186 h 246"/>
                <a:gd name="T74" fmla="*/ 629 w 2149"/>
                <a:gd name="T75" fmla="*/ 184 h 246"/>
                <a:gd name="T76" fmla="*/ 531 w 2149"/>
                <a:gd name="T77" fmla="*/ 164 h 246"/>
                <a:gd name="T78" fmla="*/ 470 w 2149"/>
                <a:gd name="T79" fmla="*/ 154 h 246"/>
                <a:gd name="T80" fmla="*/ 505 w 2149"/>
                <a:gd name="T81" fmla="*/ 163 h 246"/>
                <a:gd name="T82" fmla="*/ 447 w 2149"/>
                <a:gd name="T83" fmla="*/ 143 h 246"/>
                <a:gd name="T84" fmla="*/ 350 w 2149"/>
                <a:gd name="T85" fmla="*/ 119 h 246"/>
                <a:gd name="T86" fmla="*/ 327 w 2149"/>
                <a:gd name="T87" fmla="*/ 116 h 246"/>
                <a:gd name="T88" fmla="*/ 330 w 2149"/>
                <a:gd name="T89" fmla="*/ 114 h 246"/>
                <a:gd name="T90" fmla="*/ 232 w 2149"/>
                <a:gd name="T91" fmla="*/ 85 h 246"/>
                <a:gd name="T92" fmla="*/ 268 w 2149"/>
                <a:gd name="T93" fmla="*/ 100 h 246"/>
                <a:gd name="T94" fmla="*/ 211 w 2149"/>
                <a:gd name="T95" fmla="*/ 75 h 246"/>
                <a:gd name="T96" fmla="*/ 116 w 2149"/>
                <a:gd name="T97" fmla="*/ 44 h 246"/>
                <a:gd name="T98" fmla="*/ 94 w 2149"/>
                <a:gd name="T99" fmla="*/ 38 h 246"/>
                <a:gd name="T100" fmla="*/ 97 w 2149"/>
                <a:gd name="T101" fmla="*/ 37 h 246"/>
                <a:gd name="T102" fmla="*/ 4 w 2149"/>
                <a:gd name="T103" fmla="*/ 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9" h="246">
                  <a:moveTo>
                    <a:pt x="2147" y="120"/>
                  </a:moveTo>
                  <a:lnTo>
                    <a:pt x="2112" y="128"/>
                  </a:lnTo>
                  <a:cubicBezTo>
                    <a:pt x="2111" y="129"/>
                    <a:pt x="2109" y="128"/>
                    <a:pt x="2109" y="127"/>
                  </a:cubicBezTo>
                  <a:cubicBezTo>
                    <a:pt x="2109" y="125"/>
                    <a:pt x="2110" y="124"/>
                    <a:pt x="2111" y="123"/>
                  </a:cubicBezTo>
                  <a:lnTo>
                    <a:pt x="2146" y="115"/>
                  </a:lnTo>
                  <a:cubicBezTo>
                    <a:pt x="2147" y="115"/>
                    <a:pt x="2149" y="115"/>
                    <a:pt x="2149" y="117"/>
                  </a:cubicBezTo>
                  <a:cubicBezTo>
                    <a:pt x="2149" y="118"/>
                    <a:pt x="2148" y="120"/>
                    <a:pt x="2147" y="120"/>
                  </a:cubicBezTo>
                  <a:close/>
                  <a:moveTo>
                    <a:pt x="2087" y="134"/>
                  </a:moveTo>
                  <a:lnTo>
                    <a:pt x="2053" y="143"/>
                  </a:lnTo>
                  <a:cubicBezTo>
                    <a:pt x="2051" y="143"/>
                    <a:pt x="2050" y="142"/>
                    <a:pt x="2049" y="141"/>
                  </a:cubicBezTo>
                  <a:cubicBezTo>
                    <a:pt x="2049" y="140"/>
                    <a:pt x="2050" y="138"/>
                    <a:pt x="2051" y="138"/>
                  </a:cubicBezTo>
                  <a:lnTo>
                    <a:pt x="2086" y="129"/>
                  </a:lnTo>
                  <a:cubicBezTo>
                    <a:pt x="2088" y="129"/>
                    <a:pt x="2089" y="130"/>
                    <a:pt x="2089" y="131"/>
                  </a:cubicBezTo>
                  <a:cubicBezTo>
                    <a:pt x="2090" y="133"/>
                    <a:pt x="2089" y="134"/>
                    <a:pt x="2087" y="134"/>
                  </a:cubicBezTo>
                  <a:close/>
                  <a:moveTo>
                    <a:pt x="2028" y="149"/>
                  </a:moveTo>
                  <a:lnTo>
                    <a:pt x="1993" y="157"/>
                  </a:lnTo>
                  <a:cubicBezTo>
                    <a:pt x="1991" y="158"/>
                    <a:pt x="1990" y="157"/>
                    <a:pt x="1990" y="155"/>
                  </a:cubicBezTo>
                  <a:cubicBezTo>
                    <a:pt x="1989" y="154"/>
                    <a:pt x="1990" y="153"/>
                    <a:pt x="1992" y="152"/>
                  </a:cubicBezTo>
                  <a:lnTo>
                    <a:pt x="2026" y="144"/>
                  </a:lnTo>
                  <a:cubicBezTo>
                    <a:pt x="2028" y="144"/>
                    <a:pt x="2029" y="144"/>
                    <a:pt x="2030" y="146"/>
                  </a:cubicBezTo>
                  <a:cubicBezTo>
                    <a:pt x="2030" y="147"/>
                    <a:pt x="2029" y="149"/>
                    <a:pt x="2028" y="149"/>
                  </a:cubicBezTo>
                  <a:close/>
                  <a:moveTo>
                    <a:pt x="1968" y="163"/>
                  </a:moveTo>
                  <a:lnTo>
                    <a:pt x="1933" y="172"/>
                  </a:lnTo>
                  <a:cubicBezTo>
                    <a:pt x="1932" y="172"/>
                    <a:pt x="1930" y="171"/>
                    <a:pt x="1930" y="170"/>
                  </a:cubicBezTo>
                  <a:cubicBezTo>
                    <a:pt x="1930" y="169"/>
                    <a:pt x="1931" y="167"/>
                    <a:pt x="1932" y="167"/>
                  </a:cubicBezTo>
                  <a:lnTo>
                    <a:pt x="1967" y="158"/>
                  </a:lnTo>
                  <a:cubicBezTo>
                    <a:pt x="1968" y="158"/>
                    <a:pt x="1970" y="159"/>
                    <a:pt x="1970" y="160"/>
                  </a:cubicBezTo>
                  <a:cubicBezTo>
                    <a:pt x="1970" y="162"/>
                    <a:pt x="1969" y="163"/>
                    <a:pt x="1968" y="163"/>
                  </a:cubicBezTo>
                  <a:close/>
                  <a:moveTo>
                    <a:pt x="1908" y="178"/>
                  </a:moveTo>
                  <a:lnTo>
                    <a:pt x="1879" y="185"/>
                  </a:lnTo>
                  <a:lnTo>
                    <a:pt x="1873" y="186"/>
                  </a:lnTo>
                  <a:cubicBezTo>
                    <a:pt x="1872" y="186"/>
                    <a:pt x="1870" y="185"/>
                    <a:pt x="1870" y="184"/>
                  </a:cubicBezTo>
                  <a:cubicBezTo>
                    <a:pt x="1870" y="182"/>
                    <a:pt x="1871" y="181"/>
                    <a:pt x="1872" y="181"/>
                  </a:cubicBezTo>
                  <a:lnTo>
                    <a:pt x="1878" y="180"/>
                  </a:lnTo>
                  <a:lnTo>
                    <a:pt x="1907" y="173"/>
                  </a:lnTo>
                  <a:cubicBezTo>
                    <a:pt x="1908" y="173"/>
                    <a:pt x="1910" y="173"/>
                    <a:pt x="1910" y="175"/>
                  </a:cubicBezTo>
                  <a:cubicBezTo>
                    <a:pt x="1910" y="176"/>
                    <a:pt x="1910" y="178"/>
                    <a:pt x="1908" y="178"/>
                  </a:cubicBezTo>
                  <a:close/>
                  <a:moveTo>
                    <a:pt x="1848" y="190"/>
                  </a:moveTo>
                  <a:lnTo>
                    <a:pt x="1812" y="195"/>
                  </a:lnTo>
                  <a:cubicBezTo>
                    <a:pt x="1811" y="196"/>
                    <a:pt x="1810" y="195"/>
                    <a:pt x="1809" y="193"/>
                  </a:cubicBezTo>
                  <a:cubicBezTo>
                    <a:pt x="1809" y="192"/>
                    <a:pt x="1810" y="190"/>
                    <a:pt x="1812" y="190"/>
                  </a:cubicBezTo>
                  <a:lnTo>
                    <a:pt x="1847" y="185"/>
                  </a:lnTo>
                  <a:cubicBezTo>
                    <a:pt x="1848" y="185"/>
                    <a:pt x="1850" y="185"/>
                    <a:pt x="1850" y="187"/>
                  </a:cubicBezTo>
                  <a:cubicBezTo>
                    <a:pt x="1850" y="188"/>
                    <a:pt x="1849" y="190"/>
                    <a:pt x="1848" y="190"/>
                  </a:cubicBezTo>
                  <a:close/>
                  <a:moveTo>
                    <a:pt x="1787" y="199"/>
                  </a:moveTo>
                  <a:lnTo>
                    <a:pt x="1752" y="205"/>
                  </a:lnTo>
                  <a:cubicBezTo>
                    <a:pt x="1750" y="205"/>
                    <a:pt x="1749" y="204"/>
                    <a:pt x="1749" y="203"/>
                  </a:cubicBezTo>
                  <a:cubicBezTo>
                    <a:pt x="1749" y="201"/>
                    <a:pt x="1750" y="200"/>
                    <a:pt x="1751" y="200"/>
                  </a:cubicBezTo>
                  <a:lnTo>
                    <a:pt x="1786" y="194"/>
                  </a:lnTo>
                  <a:cubicBezTo>
                    <a:pt x="1788" y="194"/>
                    <a:pt x="1789" y="195"/>
                    <a:pt x="1789" y="196"/>
                  </a:cubicBezTo>
                  <a:cubicBezTo>
                    <a:pt x="1789" y="198"/>
                    <a:pt x="1789" y="199"/>
                    <a:pt x="1787" y="199"/>
                  </a:cubicBezTo>
                  <a:close/>
                  <a:moveTo>
                    <a:pt x="1726" y="209"/>
                  </a:moveTo>
                  <a:lnTo>
                    <a:pt x="1691" y="214"/>
                  </a:lnTo>
                  <a:cubicBezTo>
                    <a:pt x="1690" y="214"/>
                    <a:pt x="1688" y="213"/>
                    <a:pt x="1688" y="212"/>
                  </a:cubicBezTo>
                  <a:cubicBezTo>
                    <a:pt x="1688" y="211"/>
                    <a:pt x="1689" y="209"/>
                    <a:pt x="1690" y="209"/>
                  </a:cubicBezTo>
                  <a:lnTo>
                    <a:pt x="1726" y="204"/>
                  </a:lnTo>
                  <a:cubicBezTo>
                    <a:pt x="1727" y="203"/>
                    <a:pt x="1728" y="204"/>
                    <a:pt x="1729" y="206"/>
                  </a:cubicBezTo>
                  <a:cubicBezTo>
                    <a:pt x="1729" y="207"/>
                    <a:pt x="1728" y="208"/>
                    <a:pt x="1726" y="209"/>
                  </a:cubicBezTo>
                  <a:close/>
                  <a:moveTo>
                    <a:pt x="1666" y="218"/>
                  </a:moveTo>
                  <a:lnTo>
                    <a:pt x="1630" y="224"/>
                  </a:lnTo>
                  <a:cubicBezTo>
                    <a:pt x="1629" y="224"/>
                    <a:pt x="1628" y="223"/>
                    <a:pt x="1627" y="221"/>
                  </a:cubicBezTo>
                  <a:cubicBezTo>
                    <a:pt x="1627" y="220"/>
                    <a:pt x="1628" y="219"/>
                    <a:pt x="1630" y="218"/>
                  </a:cubicBezTo>
                  <a:lnTo>
                    <a:pt x="1665" y="213"/>
                  </a:lnTo>
                  <a:cubicBezTo>
                    <a:pt x="1666" y="213"/>
                    <a:pt x="1668" y="214"/>
                    <a:pt x="1668" y="215"/>
                  </a:cubicBezTo>
                  <a:cubicBezTo>
                    <a:pt x="1668" y="217"/>
                    <a:pt x="1667" y="218"/>
                    <a:pt x="1666" y="218"/>
                  </a:cubicBezTo>
                  <a:close/>
                  <a:moveTo>
                    <a:pt x="1605" y="227"/>
                  </a:moveTo>
                  <a:lnTo>
                    <a:pt x="1569" y="230"/>
                  </a:lnTo>
                  <a:cubicBezTo>
                    <a:pt x="1568" y="230"/>
                    <a:pt x="1566" y="229"/>
                    <a:pt x="1566" y="227"/>
                  </a:cubicBezTo>
                  <a:cubicBezTo>
                    <a:pt x="1566" y="226"/>
                    <a:pt x="1567" y="225"/>
                    <a:pt x="1569" y="225"/>
                  </a:cubicBezTo>
                  <a:lnTo>
                    <a:pt x="1569" y="225"/>
                  </a:lnTo>
                  <a:lnTo>
                    <a:pt x="1604" y="222"/>
                  </a:lnTo>
                  <a:cubicBezTo>
                    <a:pt x="1606" y="222"/>
                    <a:pt x="1607" y="223"/>
                    <a:pt x="1607" y="224"/>
                  </a:cubicBezTo>
                  <a:cubicBezTo>
                    <a:pt x="1607" y="226"/>
                    <a:pt x="1606" y="227"/>
                    <a:pt x="1605" y="227"/>
                  </a:cubicBezTo>
                  <a:close/>
                  <a:moveTo>
                    <a:pt x="1543" y="232"/>
                  </a:moveTo>
                  <a:lnTo>
                    <a:pt x="1508" y="234"/>
                  </a:lnTo>
                  <a:cubicBezTo>
                    <a:pt x="1506" y="234"/>
                    <a:pt x="1505" y="233"/>
                    <a:pt x="1505" y="232"/>
                  </a:cubicBezTo>
                  <a:cubicBezTo>
                    <a:pt x="1505" y="230"/>
                    <a:pt x="1506" y="229"/>
                    <a:pt x="1507" y="229"/>
                  </a:cubicBezTo>
                  <a:lnTo>
                    <a:pt x="1507" y="229"/>
                  </a:lnTo>
                  <a:lnTo>
                    <a:pt x="1543" y="226"/>
                  </a:lnTo>
                  <a:cubicBezTo>
                    <a:pt x="1545" y="226"/>
                    <a:pt x="1546" y="227"/>
                    <a:pt x="1546" y="229"/>
                  </a:cubicBezTo>
                  <a:cubicBezTo>
                    <a:pt x="1546" y="230"/>
                    <a:pt x="1545" y="231"/>
                    <a:pt x="1543" y="232"/>
                  </a:cubicBezTo>
                  <a:close/>
                  <a:moveTo>
                    <a:pt x="1482" y="236"/>
                  </a:moveTo>
                  <a:lnTo>
                    <a:pt x="1446" y="238"/>
                  </a:lnTo>
                  <a:cubicBezTo>
                    <a:pt x="1445" y="238"/>
                    <a:pt x="1444" y="237"/>
                    <a:pt x="1444" y="236"/>
                  </a:cubicBezTo>
                  <a:cubicBezTo>
                    <a:pt x="1444" y="234"/>
                    <a:pt x="1445" y="233"/>
                    <a:pt x="1446" y="233"/>
                  </a:cubicBezTo>
                  <a:lnTo>
                    <a:pt x="1446" y="233"/>
                  </a:lnTo>
                  <a:lnTo>
                    <a:pt x="1482" y="231"/>
                  </a:lnTo>
                  <a:cubicBezTo>
                    <a:pt x="1483" y="231"/>
                    <a:pt x="1484" y="232"/>
                    <a:pt x="1485" y="233"/>
                  </a:cubicBezTo>
                  <a:cubicBezTo>
                    <a:pt x="1485" y="234"/>
                    <a:pt x="1484" y="236"/>
                    <a:pt x="1482" y="236"/>
                  </a:cubicBezTo>
                  <a:close/>
                  <a:moveTo>
                    <a:pt x="1421" y="240"/>
                  </a:moveTo>
                  <a:lnTo>
                    <a:pt x="1385" y="243"/>
                  </a:lnTo>
                  <a:cubicBezTo>
                    <a:pt x="1384" y="243"/>
                    <a:pt x="1383" y="242"/>
                    <a:pt x="1382" y="240"/>
                  </a:cubicBezTo>
                  <a:cubicBezTo>
                    <a:pt x="1382" y="239"/>
                    <a:pt x="1383" y="238"/>
                    <a:pt x="1385" y="237"/>
                  </a:cubicBezTo>
                  <a:lnTo>
                    <a:pt x="1421" y="235"/>
                  </a:lnTo>
                  <a:cubicBezTo>
                    <a:pt x="1422" y="235"/>
                    <a:pt x="1423" y="236"/>
                    <a:pt x="1423" y="237"/>
                  </a:cubicBezTo>
                  <a:cubicBezTo>
                    <a:pt x="1423" y="239"/>
                    <a:pt x="1422" y="240"/>
                    <a:pt x="1421" y="240"/>
                  </a:cubicBezTo>
                  <a:close/>
                  <a:moveTo>
                    <a:pt x="1360" y="244"/>
                  </a:moveTo>
                  <a:lnTo>
                    <a:pt x="1336" y="246"/>
                  </a:lnTo>
                  <a:lnTo>
                    <a:pt x="1324" y="246"/>
                  </a:lnTo>
                  <a:cubicBezTo>
                    <a:pt x="1322" y="246"/>
                    <a:pt x="1321" y="245"/>
                    <a:pt x="1321" y="243"/>
                  </a:cubicBezTo>
                  <a:cubicBezTo>
                    <a:pt x="1321" y="242"/>
                    <a:pt x="1322" y="241"/>
                    <a:pt x="1324" y="241"/>
                  </a:cubicBezTo>
                  <a:lnTo>
                    <a:pt x="1335" y="241"/>
                  </a:lnTo>
                  <a:lnTo>
                    <a:pt x="1359" y="239"/>
                  </a:lnTo>
                  <a:cubicBezTo>
                    <a:pt x="1361" y="239"/>
                    <a:pt x="1362" y="240"/>
                    <a:pt x="1362" y="242"/>
                  </a:cubicBezTo>
                  <a:cubicBezTo>
                    <a:pt x="1362" y="243"/>
                    <a:pt x="1361" y="244"/>
                    <a:pt x="1360" y="244"/>
                  </a:cubicBezTo>
                  <a:close/>
                  <a:moveTo>
                    <a:pt x="1298" y="245"/>
                  </a:moveTo>
                  <a:lnTo>
                    <a:pt x="1262" y="245"/>
                  </a:lnTo>
                  <a:cubicBezTo>
                    <a:pt x="1261" y="245"/>
                    <a:pt x="1260" y="244"/>
                    <a:pt x="1260" y="242"/>
                  </a:cubicBezTo>
                  <a:cubicBezTo>
                    <a:pt x="1260" y="241"/>
                    <a:pt x="1261" y="240"/>
                    <a:pt x="1262" y="240"/>
                  </a:cubicBezTo>
                  <a:lnTo>
                    <a:pt x="1298" y="240"/>
                  </a:lnTo>
                  <a:cubicBezTo>
                    <a:pt x="1300" y="240"/>
                    <a:pt x="1301" y="242"/>
                    <a:pt x="1301" y="243"/>
                  </a:cubicBezTo>
                  <a:cubicBezTo>
                    <a:pt x="1301" y="244"/>
                    <a:pt x="1299" y="245"/>
                    <a:pt x="1298" y="245"/>
                  </a:cubicBezTo>
                  <a:close/>
                  <a:moveTo>
                    <a:pt x="1237" y="245"/>
                  </a:moveTo>
                  <a:lnTo>
                    <a:pt x="1201" y="244"/>
                  </a:lnTo>
                  <a:cubicBezTo>
                    <a:pt x="1199" y="244"/>
                    <a:pt x="1198" y="243"/>
                    <a:pt x="1198" y="241"/>
                  </a:cubicBezTo>
                  <a:cubicBezTo>
                    <a:pt x="1198" y="240"/>
                    <a:pt x="1199" y="239"/>
                    <a:pt x="1201" y="239"/>
                  </a:cubicBezTo>
                  <a:lnTo>
                    <a:pt x="1237" y="239"/>
                  </a:lnTo>
                  <a:cubicBezTo>
                    <a:pt x="1238" y="239"/>
                    <a:pt x="1239" y="241"/>
                    <a:pt x="1239" y="242"/>
                  </a:cubicBezTo>
                  <a:cubicBezTo>
                    <a:pt x="1239" y="243"/>
                    <a:pt x="1238" y="245"/>
                    <a:pt x="1237" y="245"/>
                  </a:cubicBezTo>
                  <a:close/>
                  <a:moveTo>
                    <a:pt x="1175" y="244"/>
                  </a:moveTo>
                  <a:lnTo>
                    <a:pt x="1139" y="243"/>
                  </a:lnTo>
                  <a:cubicBezTo>
                    <a:pt x="1138" y="243"/>
                    <a:pt x="1137" y="242"/>
                    <a:pt x="1137" y="241"/>
                  </a:cubicBezTo>
                  <a:cubicBezTo>
                    <a:pt x="1137" y="239"/>
                    <a:pt x="1138" y="238"/>
                    <a:pt x="1139" y="238"/>
                  </a:cubicBezTo>
                  <a:lnTo>
                    <a:pt x="1175" y="239"/>
                  </a:lnTo>
                  <a:cubicBezTo>
                    <a:pt x="1177" y="239"/>
                    <a:pt x="1178" y="240"/>
                    <a:pt x="1178" y="241"/>
                  </a:cubicBezTo>
                  <a:cubicBezTo>
                    <a:pt x="1178" y="243"/>
                    <a:pt x="1177" y="244"/>
                    <a:pt x="1175" y="244"/>
                  </a:cubicBezTo>
                  <a:close/>
                  <a:moveTo>
                    <a:pt x="1114" y="243"/>
                  </a:moveTo>
                  <a:lnTo>
                    <a:pt x="1078" y="242"/>
                  </a:lnTo>
                  <a:cubicBezTo>
                    <a:pt x="1076" y="242"/>
                    <a:pt x="1075" y="241"/>
                    <a:pt x="1075" y="240"/>
                  </a:cubicBezTo>
                  <a:cubicBezTo>
                    <a:pt x="1075" y="238"/>
                    <a:pt x="1077" y="237"/>
                    <a:pt x="1078" y="237"/>
                  </a:cubicBezTo>
                  <a:lnTo>
                    <a:pt x="1114" y="238"/>
                  </a:lnTo>
                  <a:cubicBezTo>
                    <a:pt x="1115" y="238"/>
                    <a:pt x="1116" y="239"/>
                    <a:pt x="1116" y="240"/>
                  </a:cubicBezTo>
                  <a:cubicBezTo>
                    <a:pt x="1116" y="242"/>
                    <a:pt x="1115" y="243"/>
                    <a:pt x="1114" y="243"/>
                  </a:cubicBezTo>
                  <a:close/>
                  <a:moveTo>
                    <a:pt x="1052" y="241"/>
                  </a:moveTo>
                  <a:lnTo>
                    <a:pt x="1016" y="238"/>
                  </a:lnTo>
                  <a:cubicBezTo>
                    <a:pt x="1015" y="237"/>
                    <a:pt x="1014" y="236"/>
                    <a:pt x="1014" y="235"/>
                  </a:cubicBezTo>
                  <a:cubicBezTo>
                    <a:pt x="1014" y="233"/>
                    <a:pt x="1016" y="232"/>
                    <a:pt x="1017" y="233"/>
                  </a:cubicBezTo>
                  <a:lnTo>
                    <a:pt x="1053" y="236"/>
                  </a:lnTo>
                  <a:cubicBezTo>
                    <a:pt x="1054" y="236"/>
                    <a:pt x="1055" y="237"/>
                    <a:pt x="1055" y="239"/>
                  </a:cubicBezTo>
                  <a:cubicBezTo>
                    <a:pt x="1055" y="240"/>
                    <a:pt x="1054" y="241"/>
                    <a:pt x="1052" y="241"/>
                  </a:cubicBezTo>
                  <a:close/>
                  <a:moveTo>
                    <a:pt x="991" y="235"/>
                  </a:moveTo>
                  <a:lnTo>
                    <a:pt x="955" y="232"/>
                  </a:lnTo>
                  <a:cubicBezTo>
                    <a:pt x="954" y="232"/>
                    <a:pt x="953" y="230"/>
                    <a:pt x="953" y="229"/>
                  </a:cubicBezTo>
                  <a:cubicBezTo>
                    <a:pt x="953" y="228"/>
                    <a:pt x="954" y="227"/>
                    <a:pt x="956" y="227"/>
                  </a:cubicBezTo>
                  <a:lnTo>
                    <a:pt x="991" y="230"/>
                  </a:lnTo>
                  <a:cubicBezTo>
                    <a:pt x="993" y="230"/>
                    <a:pt x="994" y="231"/>
                    <a:pt x="994" y="233"/>
                  </a:cubicBezTo>
                  <a:cubicBezTo>
                    <a:pt x="994" y="234"/>
                    <a:pt x="992" y="235"/>
                    <a:pt x="991" y="235"/>
                  </a:cubicBezTo>
                  <a:close/>
                  <a:moveTo>
                    <a:pt x="930" y="229"/>
                  </a:moveTo>
                  <a:lnTo>
                    <a:pt x="894" y="226"/>
                  </a:lnTo>
                  <a:cubicBezTo>
                    <a:pt x="893" y="226"/>
                    <a:pt x="892" y="225"/>
                    <a:pt x="892" y="223"/>
                  </a:cubicBezTo>
                  <a:cubicBezTo>
                    <a:pt x="892" y="222"/>
                    <a:pt x="893" y="221"/>
                    <a:pt x="895" y="221"/>
                  </a:cubicBezTo>
                  <a:lnTo>
                    <a:pt x="930" y="224"/>
                  </a:lnTo>
                  <a:cubicBezTo>
                    <a:pt x="932" y="224"/>
                    <a:pt x="933" y="226"/>
                    <a:pt x="933" y="227"/>
                  </a:cubicBezTo>
                  <a:cubicBezTo>
                    <a:pt x="933" y="228"/>
                    <a:pt x="931" y="229"/>
                    <a:pt x="930" y="229"/>
                  </a:cubicBezTo>
                  <a:close/>
                  <a:moveTo>
                    <a:pt x="869" y="223"/>
                  </a:moveTo>
                  <a:lnTo>
                    <a:pt x="833" y="220"/>
                  </a:lnTo>
                  <a:cubicBezTo>
                    <a:pt x="832" y="220"/>
                    <a:pt x="831" y="219"/>
                    <a:pt x="831" y="217"/>
                  </a:cubicBezTo>
                  <a:cubicBezTo>
                    <a:pt x="831" y="216"/>
                    <a:pt x="832" y="215"/>
                    <a:pt x="834" y="215"/>
                  </a:cubicBezTo>
                  <a:lnTo>
                    <a:pt x="869" y="218"/>
                  </a:lnTo>
                  <a:cubicBezTo>
                    <a:pt x="871" y="218"/>
                    <a:pt x="872" y="220"/>
                    <a:pt x="871" y="221"/>
                  </a:cubicBezTo>
                  <a:cubicBezTo>
                    <a:pt x="871" y="223"/>
                    <a:pt x="870" y="224"/>
                    <a:pt x="869" y="223"/>
                  </a:cubicBezTo>
                  <a:close/>
                  <a:moveTo>
                    <a:pt x="808" y="218"/>
                  </a:moveTo>
                  <a:lnTo>
                    <a:pt x="791" y="216"/>
                  </a:lnTo>
                  <a:lnTo>
                    <a:pt x="772" y="213"/>
                  </a:lnTo>
                  <a:cubicBezTo>
                    <a:pt x="770" y="212"/>
                    <a:pt x="770" y="211"/>
                    <a:pt x="770" y="210"/>
                  </a:cubicBezTo>
                  <a:cubicBezTo>
                    <a:pt x="770" y="208"/>
                    <a:pt x="771" y="207"/>
                    <a:pt x="773" y="208"/>
                  </a:cubicBezTo>
                  <a:lnTo>
                    <a:pt x="792" y="211"/>
                  </a:lnTo>
                  <a:lnTo>
                    <a:pt x="808" y="212"/>
                  </a:lnTo>
                  <a:cubicBezTo>
                    <a:pt x="809" y="213"/>
                    <a:pt x="810" y="214"/>
                    <a:pt x="810" y="215"/>
                  </a:cubicBezTo>
                  <a:cubicBezTo>
                    <a:pt x="810" y="217"/>
                    <a:pt x="809" y="218"/>
                    <a:pt x="808" y="218"/>
                  </a:cubicBezTo>
                  <a:close/>
                  <a:moveTo>
                    <a:pt x="747" y="208"/>
                  </a:moveTo>
                  <a:lnTo>
                    <a:pt x="711" y="202"/>
                  </a:lnTo>
                  <a:cubicBezTo>
                    <a:pt x="710" y="202"/>
                    <a:pt x="709" y="200"/>
                    <a:pt x="709" y="199"/>
                  </a:cubicBezTo>
                  <a:cubicBezTo>
                    <a:pt x="710" y="197"/>
                    <a:pt x="711" y="196"/>
                    <a:pt x="712" y="197"/>
                  </a:cubicBezTo>
                  <a:lnTo>
                    <a:pt x="748" y="203"/>
                  </a:lnTo>
                  <a:cubicBezTo>
                    <a:pt x="749" y="203"/>
                    <a:pt x="750" y="205"/>
                    <a:pt x="750" y="206"/>
                  </a:cubicBezTo>
                  <a:cubicBezTo>
                    <a:pt x="749" y="207"/>
                    <a:pt x="748" y="208"/>
                    <a:pt x="747" y="208"/>
                  </a:cubicBezTo>
                  <a:close/>
                  <a:moveTo>
                    <a:pt x="686" y="197"/>
                  </a:moveTo>
                  <a:lnTo>
                    <a:pt x="651" y="191"/>
                  </a:lnTo>
                  <a:cubicBezTo>
                    <a:pt x="650" y="191"/>
                    <a:pt x="649" y="189"/>
                    <a:pt x="649" y="188"/>
                  </a:cubicBezTo>
                  <a:cubicBezTo>
                    <a:pt x="649" y="187"/>
                    <a:pt x="650" y="186"/>
                    <a:pt x="652" y="186"/>
                  </a:cubicBezTo>
                  <a:lnTo>
                    <a:pt x="687" y="192"/>
                  </a:lnTo>
                  <a:cubicBezTo>
                    <a:pt x="688" y="192"/>
                    <a:pt x="689" y="194"/>
                    <a:pt x="689" y="195"/>
                  </a:cubicBezTo>
                  <a:cubicBezTo>
                    <a:pt x="689" y="197"/>
                    <a:pt x="688" y="198"/>
                    <a:pt x="686" y="197"/>
                  </a:cubicBezTo>
                  <a:close/>
                  <a:moveTo>
                    <a:pt x="626" y="186"/>
                  </a:moveTo>
                  <a:lnTo>
                    <a:pt x="590" y="180"/>
                  </a:lnTo>
                  <a:cubicBezTo>
                    <a:pt x="589" y="180"/>
                    <a:pt x="588" y="179"/>
                    <a:pt x="588" y="177"/>
                  </a:cubicBezTo>
                  <a:cubicBezTo>
                    <a:pt x="589" y="176"/>
                    <a:pt x="590" y="175"/>
                    <a:pt x="591" y="175"/>
                  </a:cubicBezTo>
                  <a:lnTo>
                    <a:pt x="627" y="181"/>
                  </a:lnTo>
                  <a:cubicBezTo>
                    <a:pt x="628" y="182"/>
                    <a:pt x="629" y="183"/>
                    <a:pt x="629" y="184"/>
                  </a:cubicBezTo>
                  <a:cubicBezTo>
                    <a:pt x="628" y="186"/>
                    <a:pt x="627" y="187"/>
                    <a:pt x="626" y="186"/>
                  </a:cubicBezTo>
                  <a:close/>
                  <a:moveTo>
                    <a:pt x="565" y="176"/>
                  </a:moveTo>
                  <a:lnTo>
                    <a:pt x="530" y="169"/>
                  </a:lnTo>
                  <a:cubicBezTo>
                    <a:pt x="529" y="169"/>
                    <a:pt x="528" y="168"/>
                    <a:pt x="528" y="166"/>
                  </a:cubicBezTo>
                  <a:cubicBezTo>
                    <a:pt x="528" y="165"/>
                    <a:pt x="529" y="164"/>
                    <a:pt x="531" y="164"/>
                  </a:cubicBezTo>
                  <a:lnTo>
                    <a:pt x="566" y="171"/>
                  </a:lnTo>
                  <a:cubicBezTo>
                    <a:pt x="568" y="171"/>
                    <a:pt x="568" y="172"/>
                    <a:pt x="568" y="174"/>
                  </a:cubicBezTo>
                  <a:cubicBezTo>
                    <a:pt x="568" y="175"/>
                    <a:pt x="567" y="176"/>
                    <a:pt x="565" y="176"/>
                  </a:cubicBezTo>
                  <a:close/>
                  <a:moveTo>
                    <a:pt x="505" y="163"/>
                  </a:moveTo>
                  <a:lnTo>
                    <a:pt x="470" y="154"/>
                  </a:lnTo>
                  <a:cubicBezTo>
                    <a:pt x="469" y="154"/>
                    <a:pt x="468" y="152"/>
                    <a:pt x="468" y="151"/>
                  </a:cubicBezTo>
                  <a:cubicBezTo>
                    <a:pt x="469" y="150"/>
                    <a:pt x="470" y="149"/>
                    <a:pt x="472" y="149"/>
                  </a:cubicBezTo>
                  <a:lnTo>
                    <a:pt x="506" y="158"/>
                  </a:lnTo>
                  <a:cubicBezTo>
                    <a:pt x="508" y="159"/>
                    <a:pt x="508" y="160"/>
                    <a:pt x="508" y="162"/>
                  </a:cubicBezTo>
                  <a:cubicBezTo>
                    <a:pt x="508" y="163"/>
                    <a:pt x="506" y="164"/>
                    <a:pt x="505" y="163"/>
                  </a:cubicBezTo>
                  <a:close/>
                  <a:moveTo>
                    <a:pt x="446" y="148"/>
                  </a:moveTo>
                  <a:lnTo>
                    <a:pt x="411" y="138"/>
                  </a:lnTo>
                  <a:cubicBezTo>
                    <a:pt x="410" y="138"/>
                    <a:pt x="409" y="136"/>
                    <a:pt x="409" y="135"/>
                  </a:cubicBezTo>
                  <a:cubicBezTo>
                    <a:pt x="409" y="134"/>
                    <a:pt x="411" y="133"/>
                    <a:pt x="412" y="133"/>
                  </a:cubicBezTo>
                  <a:lnTo>
                    <a:pt x="447" y="143"/>
                  </a:lnTo>
                  <a:cubicBezTo>
                    <a:pt x="448" y="143"/>
                    <a:pt x="449" y="144"/>
                    <a:pt x="449" y="146"/>
                  </a:cubicBezTo>
                  <a:cubicBezTo>
                    <a:pt x="448" y="147"/>
                    <a:pt x="447" y="148"/>
                    <a:pt x="446" y="148"/>
                  </a:cubicBezTo>
                  <a:close/>
                  <a:moveTo>
                    <a:pt x="386" y="132"/>
                  </a:moveTo>
                  <a:lnTo>
                    <a:pt x="352" y="122"/>
                  </a:lnTo>
                  <a:cubicBezTo>
                    <a:pt x="350" y="122"/>
                    <a:pt x="349" y="121"/>
                    <a:pt x="350" y="119"/>
                  </a:cubicBezTo>
                  <a:cubicBezTo>
                    <a:pt x="350" y="118"/>
                    <a:pt x="352" y="117"/>
                    <a:pt x="353" y="117"/>
                  </a:cubicBezTo>
                  <a:lnTo>
                    <a:pt x="388" y="127"/>
                  </a:lnTo>
                  <a:cubicBezTo>
                    <a:pt x="389" y="127"/>
                    <a:pt x="390" y="128"/>
                    <a:pt x="389" y="130"/>
                  </a:cubicBezTo>
                  <a:cubicBezTo>
                    <a:pt x="389" y="131"/>
                    <a:pt x="388" y="132"/>
                    <a:pt x="386" y="132"/>
                  </a:cubicBezTo>
                  <a:close/>
                  <a:moveTo>
                    <a:pt x="327" y="116"/>
                  </a:moveTo>
                  <a:lnTo>
                    <a:pt x="292" y="106"/>
                  </a:lnTo>
                  <a:cubicBezTo>
                    <a:pt x="291" y="106"/>
                    <a:pt x="290" y="105"/>
                    <a:pt x="290" y="103"/>
                  </a:cubicBezTo>
                  <a:cubicBezTo>
                    <a:pt x="291" y="102"/>
                    <a:pt x="292" y="101"/>
                    <a:pt x="294" y="101"/>
                  </a:cubicBezTo>
                  <a:lnTo>
                    <a:pt x="328" y="111"/>
                  </a:lnTo>
                  <a:cubicBezTo>
                    <a:pt x="330" y="111"/>
                    <a:pt x="330" y="113"/>
                    <a:pt x="330" y="114"/>
                  </a:cubicBezTo>
                  <a:cubicBezTo>
                    <a:pt x="330" y="115"/>
                    <a:pt x="328" y="116"/>
                    <a:pt x="327" y="116"/>
                  </a:cubicBezTo>
                  <a:close/>
                  <a:moveTo>
                    <a:pt x="268" y="100"/>
                  </a:moveTo>
                  <a:lnTo>
                    <a:pt x="257" y="97"/>
                  </a:lnTo>
                  <a:lnTo>
                    <a:pt x="233" y="89"/>
                  </a:lnTo>
                  <a:cubicBezTo>
                    <a:pt x="232" y="88"/>
                    <a:pt x="231" y="87"/>
                    <a:pt x="232" y="85"/>
                  </a:cubicBezTo>
                  <a:cubicBezTo>
                    <a:pt x="232" y="84"/>
                    <a:pt x="234" y="83"/>
                    <a:pt x="235" y="84"/>
                  </a:cubicBezTo>
                  <a:lnTo>
                    <a:pt x="258" y="92"/>
                  </a:lnTo>
                  <a:lnTo>
                    <a:pt x="269" y="95"/>
                  </a:lnTo>
                  <a:cubicBezTo>
                    <a:pt x="270" y="95"/>
                    <a:pt x="271" y="97"/>
                    <a:pt x="271" y="98"/>
                  </a:cubicBezTo>
                  <a:cubicBezTo>
                    <a:pt x="270" y="99"/>
                    <a:pt x="269" y="100"/>
                    <a:pt x="268" y="100"/>
                  </a:cubicBezTo>
                  <a:close/>
                  <a:moveTo>
                    <a:pt x="209" y="80"/>
                  </a:moveTo>
                  <a:lnTo>
                    <a:pt x="175" y="68"/>
                  </a:lnTo>
                  <a:cubicBezTo>
                    <a:pt x="174" y="67"/>
                    <a:pt x="173" y="66"/>
                    <a:pt x="174" y="64"/>
                  </a:cubicBezTo>
                  <a:cubicBezTo>
                    <a:pt x="174" y="63"/>
                    <a:pt x="176" y="62"/>
                    <a:pt x="177" y="63"/>
                  </a:cubicBezTo>
                  <a:lnTo>
                    <a:pt x="211" y="75"/>
                  </a:lnTo>
                  <a:cubicBezTo>
                    <a:pt x="212" y="76"/>
                    <a:pt x="213" y="77"/>
                    <a:pt x="212" y="78"/>
                  </a:cubicBezTo>
                  <a:cubicBezTo>
                    <a:pt x="212" y="80"/>
                    <a:pt x="211" y="80"/>
                    <a:pt x="209" y="80"/>
                  </a:cubicBezTo>
                  <a:close/>
                  <a:moveTo>
                    <a:pt x="151" y="59"/>
                  </a:moveTo>
                  <a:lnTo>
                    <a:pt x="118" y="47"/>
                  </a:lnTo>
                  <a:cubicBezTo>
                    <a:pt x="116" y="47"/>
                    <a:pt x="116" y="45"/>
                    <a:pt x="116" y="44"/>
                  </a:cubicBezTo>
                  <a:cubicBezTo>
                    <a:pt x="117" y="42"/>
                    <a:pt x="118" y="42"/>
                    <a:pt x="119" y="42"/>
                  </a:cubicBezTo>
                  <a:lnTo>
                    <a:pt x="153" y="54"/>
                  </a:lnTo>
                  <a:cubicBezTo>
                    <a:pt x="154" y="55"/>
                    <a:pt x="155" y="56"/>
                    <a:pt x="155" y="58"/>
                  </a:cubicBezTo>
                  <a:cubicBezTo>
                    <a:pt x="154" y="59"/>
                    <a:pt x="153" y="60"/>
                    <a:pt x="151" y="59"/>
                  </a:cubicBezTo>
                  <a:close/>
                  <a:moveTo>
                    <a:pt x="94" y="38"/>
                  </a:moveTo>
                  <a:lnTo>
                    <a:pt x="60" y="26"/>
                  </a:lnTo>
                  <a:cubicBezTo>
                    <a:pt x="59" y="26"/>
                    <a:pt x="58" y="24"/>
                    <a:pt x="58" y="23"/>
                  </a:cubicBezTo>
                  <a:cubicBezTo>
                    <a:pt x="59" y="22"/>
                    <a:pt x="60" y="21"/>
                    <a:pt x="62" y="21"/>
                  </a:cubicBezTo>
                  <a:lnTo>
                    <a:pt x="95" y="34"/>
                  </a:lnTo>
                  <a:cubicBezTo>
                    <a:pt x="97" y="34"/>
                    <a:pt x="97" y="35"/>
                    <a:pt x="97" y="37"/>
                  </a:cubicBezTo>
                  <a:cubicBezTo>
                    <a:pt x="96" y="38"/>
                    <a:pt x="95" y="39"/>
                    <a:pt x="94" y="38"/>
                  </a:cubicBezTo>
                  <a:close/>
                  <a:moveTo>
                    <a:pt x="36" y="18"/>
                  </a:moveTo>
                  <a:lnTo>
                    <a:pt x="2" y="5"/>
                  </a:lnTo>
                  <a:cubicBezTo>
                    <a:pt x="1" y="5"/>
                    <a:pt x="0" y="4"/>
                    <a:pt x="0" y="2"/>
                  </a:cubicBezTo>
                  <a:cubicBezTo>
                    <a:pt x="1" y="1"/>
                    <a:pt x="2" y="0"/>
                    <a:pt x="4" y="1"/>
                  </a:cubicBezTo>
                  <a:lnTo>
                    <a:pt x="37" y="13"/>
                  </a:lnTo>
                  <a:cubicBezTo>
                    <a:pt x="39" y="13"/>
                    <a:pt x="40" y="15"/>
                    <a:pt x="39" y="16"/>
                  </a:cubicBezTo>
                  <a:cubicBezTo>
                    <a:pt x="39" y="17"/>
                    <a:pt x="37" y="18"/>
                    <a:pt x="36" y="18"/>
                  </a:cubicBezTo>
                  <a:close/>
                </a:path>
              </a:pathLst>
            </a:custGeom>
            <a:solidFill>
              <a:srgbClr val="0000CC"/>
            </a:solidFill>
            <a:ln w="0" cap="flat">
              <a:solidFill>
                <a:srgbClr val="0000C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47" name="Freeform 165">
              <a:extLst>
                <a:ext uri="{FF2B5EF4-FFF2-40B4-BE49-F238E27FC236}">
                  <a16:creationId xmlns:a16="http://schemas.microsoft.com/office/drawing/2014/main" id="{3CA63564-77E7-40EB-ABD8-F023205E3930}"/>
                </a:ext>
              </a:extLst>
            </p:cNvPr>
            <p:cNvSpPr>
              <a:spLocks/>
            </p:cNvSpPr>
            <p:nvPr/>
          </p:nvSpPr>
          <p:spPr bwMode="auto">
            <a:xfrm>
              <a:off x="4954" y="2314"/>
              <a:ext cx="59" cy="48"/>
            </a:xfrm>
            <a:custGeom>
              <a:avLst/>
              <a:gdLst>
                <a:gd name="T0" fmla="*/ 38 w 59"/>
                <a:gd name="T1" fmla="*/ 48 h 48"/>
                <a:gd name="T2" fmla="*/ 0 w 59"/>
                <a:gd name="T3" fmla="*/ 3 h 48"/>
                <a:gd name="T4" fmla="*/ 59 w 59"/>
                <a:gd name="T5" fmla="*/ 0 h 48"/>
                <a:gd name="T6" fmla="*/ 38 w 59"/>
                <a:gd name="T7" fmla="*/ 48 h 48"/>
              </a:gdLst>
              <a:ahLst/>
              <a:cxnLst>
                <a:cxn ang="0">
                  <a:pos x="T0" y="T1"/>
                </a:cxn>
                <a:cxn ang="0">
                  <a:pos x="T2" y="T3"/>
                </a:cxn>
                <a:cxn ang="0">
                  <a:pos x="T4" y="T5"/>
                </a:cxn>
                <a:cxn ang="0">
                  <a:pos x="T6" y="T7"/>
                </a:cxn>
              </a:cxnLst>
              <a:rect l="0" t="0" r="r" b="b"/>
              <a:pathLst>
                <a:path w="59" h="48">
                  <a:moveTo>
                    <a:pt x="38" y="48"/>
                  </a:moveTo>
                  <a:lnTo>
                    <a:pt x="0" y="3"/>
                  </a:lnTo>
                  <a:lnTo>
                    <a:pt x="59" y="0"/>
                  </a:lnTo>
                  <a:lnTo>
                    <a:pt x="38" y="48"/>
                  </a:lnTo>
                  <a:close/>
                </a:path>
              </a:pathLst>
            </a:custGeom>
            <a:solidFill>
              <a:srgbClr val="000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48" name="Rectangle 166">
              <a:extLst>
                <a:ext uri="{FF2B5EF4-FFF2-40B4-BE49-F238E27FC236}">
                  <a16:creationId xmlns:a16="http://schemas.microsoft.com/office/drawing/2014/main" id="{BCA5C996-2AEA-40D1-AE4E-CF9C6DD4D039}"/>
                </a:ext>
              </a:extLst>
            </p:cNvPr>
            <p:cNvSpPr>
              <a:spLocks noChangeArrowheads="1"/>
            </p:cNvSpPr>
            <p:nvPr/>
          </p:nvSpPr>
          <p:spPr bwMode="auto">
            <a:xfrm>
              <a:off x="5286" y="2372"/>
              <a:ext cx="327"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49" name="Freeform 167">
              <a:extLst>
                <a:ext uri="{FF2B5EF4-FFF2-40B4-BE49-F238E27FC236}">
                  <a16:creationId xmlns:a16="http://schemas.microsoft.com/office/drawing/2014/main" id="{AFC300FE-50D9-4126-B0F2-AB290EC092A0}"/>
                </a:ext>
              </a:extLst>
            </p:cNvPr>
            <p:cNvSpPr>
              <a:spLocks noEditPoints="1"/>
            </p:cNvSpPr>
            <p:nvPr/>
          </p:nvSpPr>
          <p:spPr bwMode="auto">
            <a:xfrm>
              <a:off x="5291" y="2384"/>
              <a:ext cx="321" cy="49"/>
            </a:xfrm>
            <a:custGeom>
              <a:avLst/>
              <a:gdLst>
                <a:gd name="T0" fmla="*/ 48 w 717"/>
                <a:gd name="T1" fmla="*/ 86 h 109"/>
                <a:gd name="T2" fmla="*/ 6 w 717"/>
                <a:gd name="T3" fmla="*/ 87 h 109"/>
                <a:gd name="T4" fmla="*/ 3 w 717"/>
                <a:gd name="T5" fmla="*/ 6 h 109"/>
                <a:gd name="T6" fmla="*/ 48 w 717"/>
                <a:gd name="T7" fmla="*/ 7 h 109"/>
                <a:gd name="T8" fmla="*/ 58 w 717"/>
                <a:gd name="T9" fmla="*/ 7 h 109"/>
                <a:gd name="T10" fmla="*/ 112 w 717"/>
                <a:gd name="T11" fmla="*/ 85 h 109"/>
                <a:gd name="T12" fmla="*/ 77 w 717"/>
                <a:gd name="T13" fmla="*/ 63 h 109"/>
                <a:gd name="T14" fmla="*/ 104 w 717"/>
                <a:gd name="T15" fmla="*/ 35 h 109"/>
                <a:gd name="T16" fmla="*/ 78 w 717"/>
                <a:gd name="T17" fmla="*/ 38 h 109"/>
                <a:gd name="T18" fmla="*/ 109 w 717"/>
                <a:gd name="T19" fmla="*/ 27 h 109"/>
                <a:gd name="T20" fmla="*/ 90 w 717"/>
                <a:gd name="T21" fmla="*/ 62 h 109"/>
                <a:gd name="T22" fmla="*/ 191 w 717"/>
                <a:gd name="T23" fmla="*/ 85 h 109"/>
                <a:gd name="T24" fmla="*/ 181 w 717"/>
                <a:gd name="T25" fmla="*/ 85 h 109"/>
                <a:gd name="T26" fmla="*/ 153 w 717"/>
                <a:gd name="T27" fmla="*/ 85 h 109"/>
                <a:gd name="T28" fmla="*/ 143 w 717"/>
                <a:gd name="T29" fmla="*/ 85 h 109"/>
                <a:gd name="T30" fmla="*/ 152 w 717"/>
                <a:gd name="T31" fmla="*/ 28 h 109"/>
                <a:gd name="T32" fmla="*/ 191 w 717"/>
                <a:gd name="T33" fmla="*/ 51 h 109"/>
                <a:gd name="T34" fmla="*/ 247 w 717"/>
                <a:gd name="T35" fmla="*/ 87 h 109"/>
                <a:gd name="T36" fmla="*/ 205 w 717"/>
                <a:gd name="T37" fmla="*/ 69 h 109"/>
                <a:gd name="T38" fmla="*/ 245 w 717"/>
                <a:gd name="T39" fmla="*/ 2 h 109"/>
                <a:gd name="T40" fmla="*/ 255 w 717"/>
                <a:gd name="T41" fmla="*/ 2 h 109"/>
                <a:gd name="T42" fmla="*/ 214 w 717"/>
                <a:gd name="T43" fmla="*/ 57 h 109"/>
                <a:gd name="T44" fmla="*/ 245 w 717"/>
                <a:gd name="T45" fmla="*/ 68 h 109"/>
                <a:gd name="T46" fmla="*/ 272 w 717"/>
                <a:gd name="T47" fmla="*/ 87 h 109"/>
                <a:gd name="T48" fmla="*/ 279 w 717"/>
                <a:gd name="T49" fmla="*/ 0 h 109"/>
                <a:gd name="T50" fmla="*/ 310 w 717"/>
                <a:gd name="T51" fmla="*/ 59 h 109"/>
                <a:gd name="T52" fmla="*/ 347 w 717"/>
                <a:gd name="T53" fmla="*/ 75 h 109"/>
                <a:gd name="T54" fmla="*/ 347 w 717"/>
                <a:gd name="T55" fmla="*/ 83 h 109"/>
                <a:gd name="T56" fmla="*/ 299 w 717"/>
                <a:gd name="T57" fmla="*/ 57 h 109"/>
                <a:gd name="T58" fmla="*/ 351 w 717"/>
                <a:gd name="T59" fmla="*/ 53 h 109"/>
                <a:gd name="T60" fmla="*/ 310 w 717"/>
                <a:gd name="T61" fmla="*/ 52 h 109"/>
                <a:gd name="T62" fmla="*/ 401 w 717"/>
                <a:gd name="T63" fmla="*/ 86 h 109"/>
                <a:gd name="T64" fmla="*/ 444 w 717"/>
                <a:gd name="T65" fmla="*/ 8 h 109"/>
                <a:gd name="T66" fmla="*/ 438 w 717"/>
                <a:gd name="T67" fmla="*/ 40 h 109"/>
                <a:gd name="T68" fmla="*/ 438 w 717"/>
                <a:gd name="T69" fmla="*/ 49 h 109"/>
                <a:gd name="T70" fmla="*/ 546 w 717"/>
                <a:gd name="T71" fmla="*/ 85 h 109"/>
                <a:gd name="T72" fmla="*/ 536 w 717"/>
                <a:gd name="T73" fmla="*/ 85 h 109"/>
                <a:gd name="T74" fmla="*/ 510 w 717"/>
                <a:gd name="T75" fmla="*/ 85 h 109"/>
                <a:gd name="T76" fmla="*/ 500 w 717"/>
                <a:gd name="T77" fmla="*/ 85 h 109"/>
                <a:gd name="T78" fmla="*/ 473 w 717"/>
                <a:gd name="T79" fmla="*/ 85 h 109"/>
                <a:gd name="T80" fmla="*/ 463 w 717"/>
                <a:gd name="T81" fmla="*/ 85 h 109"/>
                <a:gd name="T82" fmla="*/ 472 w 717"/>
                <a:gd name="T83" fmla="*/ 28 h 109"/>
                <a:gd name="T84" fmla="*/ 508 w 717"/>
                <a:gd name="T85" fmla="*/ 37 h 109"/>
                <a:gd name="T86" fmla="*/ 546 w 717"/>
                <a:gd name="T87" fmla="*/ 50 h 109"/>
                <a:gd name="T88" fmla="*/ 578 w 717"/>
                <a:gd name="T89" fmla="*/ 86 h 109"/>
                <a:gd name="T90" fmla="*/ 562 w 717"/>
                <a:gd name="T91" fmla="*/ 109 h 109"/>
                <a:gd name="T92" fmla="*/ 563 w 717"/>
                <a:gd name="T93" fmla="*/ 27 h 109"/>
                <a:gd name="T94" fmla="*/ 583 w 717"/>
                <a:gd name="T95" fmla="*/ 27 h 109"/>
                <a:gd name="T96" fmla="*/ 597 w 717"/>
                <a:gd name="T97" fmla="*/ 42 h 109"/>
                <a:gd name="T98" fmla="*/ 577 w 717"/>
                <a:gd name="T99" fmla="*/ 76 h 109"/>
                <a:gd name="T100" fmla="*/ 651 w 717"/>
                <a:gd name="T101" fmla="*/ 85 h 109"/>
                <a:gd name="T102" fmla="*/ 625 w 717"/>
                <a:gd name="T103" fmla="*/ 69 h 109"/>
                <a:gd name="T104" fmla="*/ 618 w 717"/>
                <a:gd name="T105" fmla="*/ 27 h 109"/>
                <a:gd name="T106" fmla="*/ 635 w 717"/>
                <a:gd name="T107" fmla="*/ 12 h 109"/>
                <a:gd name="T108" fmla="*/ 652 w 717"/>
                <a:gd name="T109" fmla="*/ 32 h 109"/>
                <a:gd name="T110" fmla="*/ 648 w 717"/>
                <a:gd name="T111" fmla="*/ 78 h 109"/>
                <a:gd name="T112" fmla="*/ 689 w 717"/>
                <a:gd name="T113" fmla="*/ 107 h 109"/>
                <a:gd name="T114" fmla="*/ 685 w 717"/>
                <a:gd name="T115" fmla="*/ 86 h 109"/>
                <a:gd name="T116" fmla="*/ 673 w 717"/>
                <a:gd name="T117" fmla="*/ 27 h 109"/>
                <a:gd name="T118" fmla="*/ 712 w 717"/>
                <a:gd name="T119" fmla="*/ 2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7" h="109">
                  <a:moveTo>
                    <a:pt x="58" y="85"/>
                  </a:moveTo>
                  <a:cubicBezTo>
                    <a:pt x="58" y="85"/>
                    <a:pt x="58" y="86"/>
                    <a:pt x="58" y="86"/>
                  </a:cubicBezTo>
                  <a:cubicBezTo>
                    <a:pt x="58" y="86"/>
                    <a:pt x="58" y="86"/>
                    <a:pt x="57" y="87"/>
                  </a:cubicBezTo>
                  <a:cubicBezTo>
                    <a:pt x="57" y="87"/>
                    <a:pt x="56" y="87"/>
                    <a:pt x="56" y="87"/>
                  </a:cubicBezTo>
                  <a:cubicBezTo>
                    <a:pt x="55" y="87"/>
                    <a:pt x="54" y="87"/>
                    <a:pt x="53" y="87"/>
                  </a:cubicBezTo>
                  <a:cubicBezTo>
                    <a:pt x="52" y="87"/>
                    <a:pt x="51" y="87"/>
                    <a:pt x="50" y="87"/>
                  </a:cubicBezTo>
                  <a:cubicBezTo>
                    <a:pt x="50" y="87"/>
                    <a:pt x="49" y="87"/>
                    <a:pt x="49" y="87"/>
                  </a:cubicBezTo>
                  <a:cubicBezTo>
                    <a:pt x="48" y="86"/>
                    <a:pt x="48" y="86"/>
                    <a:pt x="48" y="86"/>
                  </a:cubicBezTo>
                  <a:cubicBezTo>
                    <a:pt x="48" y="86"/>
                    <a:pt x="48" y="85"/>
                    <a:pt x="48" y="85"/>
                  </a:cubicBezTo>
                  <a:lnTo>
                    <a:pt x="48" y="49"/>
                  </a:lnTo>
                  <a:lnTo>
                    <a:pt x="11" y="49"/>
                  </a:lnTo>
                  <a:lnTo>
                    <a:pt x="11" y="85"/>
                  </a:lnTo>
                  <a:cubicBezTo>
                    <a:pt x="11" y="85"/>
                    <a:pt x="11" y="86"/>
                    <a:pt x="11" y="86"/>
                  </a:cubicBezTo>
                  <a:cubicBezTo>
                    <a:pt x="10" y="86"/>
                    <a:pt x="10" y="86"/>
                    <a:pt x="10" y="87"/>
                  </a:cubicBezTo>
                  <a:cubicBezTo>
                    <a:pt x="9" y="87"/>
                    <a:pt x="9" y="87"/>
                    <a:pt x="8" y="87"/>
                  </a:cubicBezTo>
                  <a:cubicBezTo>
                    <a:pt x="7" y="87"/>
                    <a:pt x="7" y="87"/>
                    <a:pt x="6" y="87"/>
                  </a:cubicBezTo>
                  <a:cubicBezTo>
                    <a:pt x="5" y="87"/>
                    <a:pt x="4" y="87"/>
                    <a:pt x="3" y="87"/>
                  </a:cubicBezTo>
                  <a:cubicBezTo>
                    <a:pt x="2" y="87"/>
                    <a:pt x="2" y="87"/>
                    <a:pt x="1" y="87"/>
                  </a:cubicBezTo>
                  <a:cubicBezTo>
                    <a:pt x="1" y="86"/>
                    <a:pt x="1" y="86"/>
                    <a:pt x="0" y="86"/>
                  </a:cubicBezTo>
                  <a:cubicBezTo>
                    <a:pt x="0" y="86"/>
                    <a:pt x="0" y="85"/>
                    <a:pt x="0" y="85"/>
                  </a:cubicBezTo>
                  <a:lnTo>
                    <a:pt x="0" y="7"/>
                  </a:lnTo>
                  <a:cubicBezTo>
                    <a:pt x="0" y="7"/>
                    <a:pt x="0" y="7"/>
                    <a:pt x="0" y="7"/>
                  </a:cubicBezTo>
                  <a:cubicBezTo>
                    <a:pt x="1" y="6"/>
                    <a:pt x="1" y="6"/>
                    <a:pt x="1" y="6"/>
                  </a:cubicBezTo>
                  <a:cubicBezTo>
                    <a:pt x="2" y="6"/>
                    <a:pt x="2" y="6"/>
                    <a:pt x="3" y="6"/>
                  </a:cubicBezTo>
                  <a:cubicBezTo>
                    <a:pt x="4" y="6"/>
                    <a:pt x="5" y="5"/>
                    <a:pt x="6" y="5"/>
                  </a:cubicBezTo>
                  <a:cubicBezTo>
                    <a:pt x="7" y="5"/>
                    <a:pt x="7" y="6"/>
                    <a:pt x="8" y="6"/>
                  </a:cubicBezTo>
                  <a:cubicBezTo>
                    <a:pt x="9" y="6"/>
                    <a:pt x="9" y="6"/>
                    <a:pt x="10" y="6"/>
                  </a:cubicBezTo>
                  <a:cubicBezTo>
                    <a:pt x="10" y="6"/>
                    <a:pt x="10" y="6"/>
                    <a:pt x="11" y="7"/>
                  </a:cubicBezTo>
                  <a:cubicBezTo>
                    <a:pt x="11" y="7"/>
                    <a:pt x="11" y="7"/>
                    <a:pt x="11" y="7"/>
                  </a:cubicBezTo>
                  <a:lnTo>
                    <a:pt x="11" y="40"/>
                  </a:lnTo>
                  <a:lnTo>
                    <a:pt x="48" y="40"/>
                  </a:lnTo>
                  <a:lnTo>
                    <a:pt x="48" y="7"/>
                  </a:lnTo>
                  <a:cubicBezTo>
                    <a:pt x="48" y="7"/>
                    <a:pt x="48" y="7"/>
                    <a:pt x="48" y="7"/>
                  </a:cubicBezTo>
                  <a:cubicBezTo>
                    <a:pt x="48" y="6"/>
                    <a:pt x="48" y="6"/>
                    <a:pt x="49" y="6"/>
                  </a:cubicBezTo>
                  <a:cubicBezTo>
                    <a:pt x="49" y="6"/>
                    <a:pt x="50" y="6"/>
                    <a:pt x="50" y="6"/>
                  </a:cubicBezTo>
                  <a:cubicBezTo>
                    <a:pt x="51" y="6"/>
                    <a:pt x="52" y="5"/>
                    <a:pt x="53" y="5"/>
                  </a:cubicBezTo>
                  <a:cubicBezTo>
                    <a:pt x="54" y="5"/>
                    <a:pt x="55" y="6"/>
                    <a:pt x="56" y="6"/>
                  </a:cubicBezTo>
                  <a:cubicBezTo>
                    <a:pt x="56" y="6"/>
                    <a:pt x="57" y="6"/>
                    <a:pt x="57" y="6"/>
                  </a:cubicBezTo>
                  <a:cubicBezTo>
                    <a:pt x="58" y="6"/>
                    <a:pt x="58" y="6"/>
                    <a:pt x="58" y="7"/>
                  </a:cubicBezTo>
                  <a:cubicBezTo>
                    <a:pt x="58" y="7"/>
                    <a:pt x="58" y="7"/>
                    <a:pt x="58" y="7"/>
                  </a:cubicBezTo>
                  <a:lnTo>
                    <a:pt x="58" y="85"/>
                  </a:lnTo>
                  <a:close/>
                  <a:moveTo>
                    <a:pt x="121" y="85"/>
                  </a:moveTo>
                  <a:cubicBezTo>
                    <a:pt x="121" y="86"/>
                    <a:pt x="121" y="86"/>
                    <a:pt x="121" y="86"/>
                  </a:cubicBezTo>
                  <a:cubicBezTo>
                    <a:pt x="121" y="87"/>
                    <a:pt x="120" y="87"/>
                    <a:pt x="119" y="87"/>
                  </a:cubicBezTo>
                  <a:cubicBezTo>
                    <a:pt x="119" y="87"/>
                    <a:pt x="118" y="87"/>
                    <a:pt x="117" y="87"/>
                  </a:cubicBezTo>
                  <a:cubicBezTo>
                    <a:pt x="116" y="87"/>
                    <a:pt x="115" y="87"/>
                    <a:pt x="114" y="87"/>
                  </a:cubicBezTo>
                  <a:cubicBezTo>
                    <a:pt x="114" y="87"/>
                    <a:pt x="113" y="87"/>
                    <a:pt x="113" y="86"/>
                  </a:cubicBezTo>
                  <a:cubicBezTo>
                    <a:pt x="113" y="86"/>
                    <a:pt x="112" y="86"/>
                    <a:pt x="112" y="85"/>
                  </a:cubicBezTo>
                  <a:lnTo>
                    <a:pt x="112" y="80"/>
                  </a:lnTo>
                  <a:cubicBezTo>
                    <a:pt x="110" y="82"/>
                    <a:pt x="107" y="84"/>
                    <a:pt x="104" y="86"/>
                  </a:cubicBezTo>
                  <a:cubicBezTo>
                    <a:pt x="101" y="87"/>
                    <a:pt x="98" y="88"/>
                    <a:pt x="95" y="88"/>
                  </a:cubicBezTo>
                  <a:cubicBezTo>
                    <a:pt x="92" y="88"/>
                    <a:pt x="89" y="88"/>
                    <a:pt x="87" y="87"/>
                  </a:cubicBezTo>
                  <a:cubicBezTo>
                    <a:pt x="84" y="86"/>
                    <a:pt x="82" y="85"/>
                    <a:pt x="80" y="83"/>
                  </a:cubicBezTo>
                  <a:cubicBezTo>
                    <a:pt x="79" y="82"/>
                    <a:pt x="77" y="80"/>
                    <a:pt x="77" y="78"/>
                  </a:cubicBezTo>
                  <a:cubicBezTo>
                    <a:pt x="76" y="76"/>
                    <a:pt x="75" y="74"/>
                    <a:pt x="75" y="71"/>
                  </a:cubicBezTo>
                  <a:cubicBezTo>
                    <a:pt x="75" y="68"/>
                    <a:pt x="76" y="65"/>
                    <a:pt x="77" y="63"/>
                  </a:cubicBezTo>
                  <a:cubicBezTo>
                    <a:pt x="78" y="60"/>
                    <a:pt x="80" y="58"/>
                    <a:pt x="83" y="57"/>
                  </a:cubicBezTo>
                  <a:cubicBezTo>
                    <a:pt x="85" y="55"/>
                    <a:pt x="88" y="54"/>
                    <a:pt x="92" y="53"/>
                  </a:cubicBezTo>
                  <a:cubicBezTo>
                    <a:pt x="95" y="52"/>
                    <a:pt x="99" y="52"/>
                    <a:pt x="103" y="52"/>
                  </a:cubicBezTo>
                  <a:lnTo>
                    <a:pt x="111" y="52"/>
                  </a:lnTo>
                  <a:lnTo>
                    <a:pt x="111" y="48"/>
                  </a:lnTo>
                  <a:cubicBezTo>
                    <a:pt x="111" y="46"/>
                    <a:pt x="111" y="44"/>
                    <a:pt x="110" y="42"/>
                  </a:cubicBezTo>
                  <a:cubicBezTo>
                    <a:pt x="110" y="40"/>
                    <a:pt x="109" y="39"/>
                    <a:pt x="108" y="38"/>
                  </a:cubicBezTo>
                  <a:cubicBezTo>
                    <a:pt x="107" y="37"/>
                    <a:pt x="106" y="36"/>
                    <a:pt x="104" y="35"/>
                  </a:cubicBezTo>
                  <a:cubicBezTo>
                    <a:pt x="103" y="35"/>
                    <a:pt x="101" y="34"/>
                    <a:pt x="98" y="34"/>
                  </a:cubicBezTo>
                  <a:cubicBezTo>
                    <a:pt x="96" y="34"/>
                    <a:pt x="93" y="35"/>
                    <a:pt x="91" y="35"/>
                  </a:cubicBezTo>
                  <a:cubicBezTo>
                    <a:pt x="89" y="36"/>
                    <a:pt x="88" y="37"/>
                    <a:pt x="86" y="37"/>
                  </a:cubicBezTo>
                  <a:cubicBezTo>
                    <a:pt x="85" y="38"/>
                    <a:pt x="83" y="39"/>
                    <a:pt x="82" y="39"/>
                  </a:cubicBezTo>
                  <a:cubicBezTo>
                    <a:pt x="81" y="40"/>
                    <a:pt x="80" y="40"/>
                    <a:pt x="80" y="40"/>
                  </a:cubicBezTo>
                  <a:cubicBezTo>
                    <a:pt x="80" y="40"/>
                    <a:pt x="79" y="40"/>
                    <a:pt x="79" y="40"/>
                  </a:cubicBezTo>
                  <a:cubicBezTo>
                    <a:pt x="79" y="40"/>
                    <a:pt x="79" y="40"/>
                    <a:pt x="78" y="39"/>
                  </a:cubicBezTo>
                  <a:cubicBezTo>
                    <a:pt x="78" y="39"/>
                    <a:pt x="78" y="39"/>
                    <a:pt x="78" y="38"/>
                  </a:cubicBezTo>
                  <a:cubicBezTo>
                    <a:pt x="78" y="37"/>
                    <a:pt x="78" y="37"/>
                    <a:pt x="78" y="36"/>
                  </a:cubicBezTo>
                  <a:cubicBezTo>
                    <a:pt x="78" y="35"/>
                    <a:pt x="78" y="34"/>
                    <a:pt x="78" y="34"/>
                  </a:cubicBezTo>
                  <a:cubicBezTo>
                    <a:pt x="78" y="33"/>
                    <a:pt x="79" y="33"/>
                    <a:pt x="79" y="32"/>
                  </a:cubicBezTo>
                  <a:cubicBezTo>
                    <a:pt x="80" y="32"/>
                    <a:pt x="81" y="31"/>
                    <a:pt x="82" y="30"/>
                  </a:cubicBezTo>
                  <a:cubicBezTo>
                    <a:pt x="83" y="29"/>
                    <a:pt x="85" y="29"/>
                    <a:pt x="87" y="28"/>
                  </a:cubicBezTo>
                  <a:cubicBezTo>
                    <a:pt x="89" y="28"/>
                    <a:pt x="91" y="27"/>
                    <a:pt x="93" y="27"/>
                  </a:cubicBezTo>
                  <a:cubicBezTo>
                    <a:pt x="95" y="26"/>
                    <a:pt x="97" y="26"/>
                    <a:pt x="99" y="26"/>
                  </a:cubicBezTo>
                  <a:cubicBezTo>
                    <a:pt x="103" y="26"/>
                    <a:pt x="107" y="27"/>
                    <a:pt x="109" y="27"/>
                  </a:cubicBezTo>
                  <a:cubicBezTo>
                    <a:pt x="112" y="28"/>
                    <a:pt x="115" y="30"/>
                    <a:pt x="116" y="32"/>
                  </a:cubicBezTo>
                  <a:cubicBezTo>
                    <a:pt x="118" y="33"/>
                    <a:pt x="119" y="35"/>
                    <a:pt x="120" y="38"/>
                  </a:cubicBezTo>
                  <a:cubicBezTo>
                    <a:pt x="121" y="41"/>
                    <a:pt x="121" y="44"/>
                    <a:pt x="121" y="47"/>
                  </a:cubicBezTo>
                  <a:lnTo>
                    <a:pt x="121" y="85"/>
                  </a:lnTo>
                  <a:close/>
                  <a:moveTo>
                    <a:pt x="111" y="60"/>
                  </a:moveTo>
                  <a:lnTo>
                    <a:pt x="102" y="60"/>
                  </a:lnTo>
                  <a:cubicBezTo>
                    <a:pt x="99" y="60"/>
                    <a:pt x="97" y="60"/>
                    <a:pt x="95" y="60"/>
                  </a:cubicBezTo>
                  <a:cubicBezTo>
                    <a:pt x="93" y="61"/>
                    <a:pt x="91" y="61"/>
                    <a:pt x="90" y="62"/>
                  </a:cubicBezTo>
                  <a:cubicBezTo>
                    <a:pt x="88" y="63"/>
                    <a:pt x="87" y="64"/>
                    <a:pt x="87" y="66"/>
                  </a:cubicBezTo>
                  <a:cubicBezTo>
                    <a:pt x="86" y="67"/>
                    <a:pt x="86" y="69"/>
                    <a:pt x="86" y="70"/>
                  </a:cubicBezTo>
                  <a:cubicBezTo>
                    <a:pt x="86" y="73"/>
                    <a:pt x="87" y="76"/>
                    <a:pt x="88" y="77"/>
                  </a:cubicBezTo>
                  <a:cubicBezTo>
                    <a:pt x="90" y="79"/>
                    <a:pt x="93" y="80"/>
                    <a:pt x="96" y="80"/>
                  </a:cubicBezTo>
                  <a:cubicBezTo>
                    <a:pt x="99" y="80"/>
                    <a:pt x="101" y="79"/>
                    <a:pt x="104" y="78"/>
                  </a:cubicBezTo>
                  <a:cubicBezTo>
                    <a:pt x="106" y="76"/>
                    <a:pt x="109" y="74"/>
                    <a:pt x="111" y="71"/>
                  </a:cubicBezTo>
                  <a:lnTo>
                    <a:pt x="111" y="60"/>
                  </a:lnTo>
                  <a:close/>
                  <a:moveTo>
                    <a:pt x="191" y="85"/>
                  </a:moveTo>
                  <a:cubicBezTo>
                    <a:pt x="191" y="86"/>
                    <a:pt x="191" y="86"/>
                    <a:pt x="191" y="86"/>
                  </a:cubicBezTo>
                  <a:cubicBezTo>
                    <a:pt x="191" y="86"/>
                    <a:pt x="191" y="86"/>
                    <a:pt x="190" y="87"/>
                  </a:cubicBezTo>
                  <a:cubicBezTo>
                    <a:pt x="190" y="87"/>
                    <a:pt x="189" y="87"/>
                    <a:pt x="189" y="87"/>
                  </a:cubicBezTo>
                  <a:cubicBezTo>
                    <a:pt x="188" y="87"/>
                    <a:pt x="187" y="87"/>
                    <a:pt x="186" y="87"/>
                  </a:cubicBezTo>
                  <a:cubicBezTo>
                    <a:pt x="185" y="87"/>
                    <a:pt x="184" y="87"/>
                    <a:pt x="184" y="87"/>
                  </a:cubicBezTo>
                  <a:cubicBezTo>
                    <a:pt x="183" y="87"/>
                    <a:pt x="183" y="87"/>
                    <a:pt x="182" y="87"/>
                  </a:cubicBezTo>
                  <a:cubicBezTo>
                    <a:pt x="182" y="86"/>
                    <a:pt x="182" y="86"/>
                    <a:pt x="181" y="86"/>
                  </a:cubicBezTo>
                  <a:cubicBezTo>
                    <a:pt x="181" y="86"/>
                    <a:pt x="181" y="86"/>
                    <a:pt x="181" y="85"/>
                  </a:cubicBezTo>
                  <a:lnTo>
                    <a:pt x="181" y="52"/>
                  </a:lnTo>
                  <a:cubicBezTo>
                    <a:pt x="181" y="49"/>
                    <a:pt x="181" y="46"/>
                    <a:pt x="180" y="44"/>
                  </a:cubicBezTo>
                  <a:cubicBezTo>
                    <a:pt x="180" y="43"/>
                    <a:pt x="179" y="41"/>
                    <a:pt x="178" y="39"/>
                  </a:cubicBezTo>
                  <a:cubicBezTo>
                    <a:pt x="177" y="38"/>
                    <a:pt x="176" y="37"/>
                    <a:pt x="174" y="36"/>
                  </a:cubicBezTo>
                  <a:cubicBezTo>
                    <a:pt x="173" y="35"/>
                    <a:pt x="171" y="35"/>
                    <a:pt x="169" y="35"/>
                  </a:cubicBezTo>
                  <a:cubicBezTo>
                    <a:pt x="167" y="35"/>
                    <a:pt x="164" y="36"/>
                    <a:pt x="161" y="38"/>
                  </a:cubicBezTo>
                  <a:cubicBezTo>
                    <a:pt x="159" y="40"/>
                    <a:pt x="156" y="42"/>
                    <a:pt x="153" y="46"/>
                  </a:cubicBezTo>
                  <a:lnTo>
                    <a:pt x="153" y="85"/>
                  </a:lnTo>
                  <a:cubicBezTo>
                    <a:pt x="153" y="86"/>
                    <a:pt x="153" y="86"/>
                    <a:pt x="153" y="86"/>
                  </a:cubicBezTo>
                  <a:cubicBezTo>
                    <a:pt x="153" y="86"/>
                    <a:pt x="153" y="86"/>
                    <a:pt x="152" y="87"/>
                  </a:cubicBezTo>
                  <a:cubicBezTo>
                    <a:pt x="152" y="87"/>
                    <a:pt x="151" y="87"/>
                    <a:pt x="151" y="87"/>
                  </a:cubicBezTo>
                  <a:cubicBezTo>
                    <a:pt x="150" y="87"/>
                    <a:pt x="149" y="87"/>
                    <a:pt x="148" y="87"/>
                  </a:cubicBezTo>
                  <a:cubicBezTo>
                    <a:pt x="147" y="87"/>
                    <a:pt x="146" y="87"/>
                    <a:pt x="146" y="87"/>
                  </a:cubicBezTo>
                  <a:cubicBezTo>
                    <a:pt x="145" y="87"/>
                    <a:pt x="144" y="87"/>
                    <a:pt x="144" y="87"/>
                  </a:cubicBezTo>
                  <a:cubicBezTo>
                    <a:pt x="144" y="86"/>
                    <a:pt x="143" y="86"/>
                    <a:pt x="143" y="86"/>
                  </a:cubicBezTo>
                  <a:cubicBezTo>
                    <a:pt x="143" y="86"/>
                    <a:pt x="143" y="86"/>
                    <a:pt x="143" y="85"/>
                  </a:cubicBezTo>
                  <a:lnTo>
                    <a:pt x="143" y="29"/>
                  </a:lnTo>
                  <a:cubicBezTo>
                    <a:pt x="143" y="29"/>
                    <a:pt x="143" y="28"/>
                    <a:pt x="143" y="28"/>
                  </a:cubicBezTo>
                  <a:cubicBezTo>
                    <a:pt x="143" y="28"/>
                    <a:pt x="144" y="28"/>
                    <a:pt x="144" y="27"/>
                  </a:cubicBezTo>
                  <a:cubicBezTo>
                    <a:pt x="144" y="27"/>
                    <a:pt x="145" y="27"/>
                    <a:pt x="145" y="27"/>
                  </a:cubicBezTo>
                  <a:cubicBezTo>
                    <a:pt x="146" y="27"/>
                    <a:pt x="147" y="27"/>
                    <a:pt x="148" y="27"/>
                  </a:cubicBezTo>
                  <a:cubicBezTo>
                    <a:pt x="149" y="27"/>
                    <a:pt x="149" y="27"/>
                    <a:pt x="150" y="27"/>
                  </a:cubicBezTo>
                  <a:cubicBezTo>
                    <a:pt x="151" y="27"/>
                    <a:pt x="151" y="27"/>
                    <a:pt x="151" y="27"/>
                  </a:cubicBezTo>
                  <a:cubicBezTo>
                    <a:pt x="152" y="28"/>
                    <a:pt x="152" y="28"/>
                    <a:pt x="152" y="28"/>
                  </a:cubicBezTo>
                  <a:cubicBezTo>
                    <a:pt x="152" y="28"/>
                    <a:pt x="152" y="29"/>
                    <a:pt x="152" y="29"/>
                  </a:cubicBezTo>
                  <a:lnTo>
                    <a:pt x="152" y="36"/>
                  </a:lnTo>
                  <a:cubicBezTo>
                    <a:pt x="155" y="33"/>
                    <a:pt x="159" y="30"/>
                    <a:pt x="162" y="29"/>
                  </a:cubicBezTo>
                  <a:cubicBezTo>
                    <a:pt x="165" y="27"/>
                    <a:pt x="168" y="26"/>
                    <a:pt x="171" y="26"/>
                  </a:cubicBezTo>
                  <a:cubicBezTo>
                    <a:pt x="175" y="26"/>
                    <a:pt x="178" y="27"/>
                    <a:pt x="181" y="28"/>
                  </a:cubicBezTo>
                  <a:cubicBezTo>
                    <a:pt x="183" y="29"/>
                    <a:pt x="185" y="31"/>
                    <a:pt x="187" y="33"/>
                  </a:cubicBezTo>
                  <a:cubicBezTo>
                    <a:pt x="189" y="35"/>
                    <a:pt x="190" y="38"/>
                    <a:pt x="190" y="41"/>
                  </a:cubicBezTo>
                  <a:cubicBezTo>
                    <a:pt x="191" y="43"/>
                    <a:pt x="191" y="47"/>
                    <a:pt x="191" y="51"/>
                  </a:cubicBezTo>
                  <a:lnTo>
                    <a:pt x="191" y="85"/>
                  </a:lnTo>
                  <a:close/>
                  <a:moveTo>
                    <a:pt x="255" y="85"/>
                  </a:moveTo>
                  <a:cubicBezTo>
                    <a:pt x="255" y="86"/>
                    <a:pt x="255" y="86"/>
                    <a:pt x="255" y="86"/>
                  </a:cubicBezTo>
                  <a:cubicBezTo>
                    <a:pt x="255" y="86"/>
                    <a:pt x="255" y="86"/>
                    <a:pt x="254" y="87"/>
                  </a:cubicBezTo>
                  <a:cubicBezTo>
                    <a:pt x="254" y="87"/>
                    <a:pt x="253" y="87"/>
                    <a:pt x="253" y="87"/>
                  </a:cubicBezTo>
                  <a:cubicBezTo>
                    <a:pt x="252" y="87"/>
                    <a:pt x="251" y="87"/>
                    <a:pt x="251" y="87"/>
                  </a:cubicBezTo>
                  <a:cubicBezTo>
                    <a:pt x="250" y="87"/>
                    <a:pt x="249" y="87"/>
                    <a:pt x="248" y="87"/>
                  </a:cubicBezTo>
                  <a:cubicBezTo>
                    <a:pt x="248" y="87"/>
                    <a:pt x="247" y="87"/>
                    <a:pt x="247" y="87"/>
                  </a:cubicBezTo>
                  <a:cubicBezTo>
                    <a:pt x="247" y="86"/>
                    <a:pt x="246" y="86"/>
                    <a:pt x="246" y="86"/>
                  </a:cubicBezTo>
                  <a:cubicBezTo>
                    <a:pt x="246" y="86"/>
                    <a:pt x="246" y="86"/>
                    <a:pt x="246" y="85"/>
                  </a:cubicBezTo>
                  <a:lnTo>
                    <a:pt x="246" y="78"/>
                  </a:lnTo>
                  <a:cubicBezTo>
                    <a:pt x="243" y="81"/>
                    <a:pt x="240" y="83"/>
                    <a:pt x="237" y="85"/>
                  </a:cubicBezTo>
                  <a:cubicBezTo>
                    <a:pt x="234" y="87"/>
                    <a:pt x="230" y="88"/>
                    <a:pt x="226" y="88"/>
                  </a:cubicBezTo>
                  <a:cubicBezTo>
                    <a:pt x="222" y="88"/>
                    <a:pt x="219" y="87"/>
                    <a:pt x="216" y="86"/>
                  </a:cubicBezTo>
                  <a:cubicBezTo>
                    <a:pt x="213" y="84"/>
                    <a:pt x="210" y="82"/>
                    <a:pt x="209" y="79"/>
                  </a:cubicBezTo>
                  <a:cubicBezTo>
                    <a:pt x="207" y="76"/>
                    <a:pt x="205" y="73"/>
                    <a:pt x="205" y="69"/>
                  </a:cubicBezTo>
                  <a:cubicBezTo>
                    <a:pt x="204" y="66"/>
                    <a:pt x="203" y="62"/>
                    <a:pt x="203" y="58"/>
                  </a:cubicBezTo>
                  <a:cubicBezTo>
                    <a:pt x="203" y="53"/>
                    <a:pt x="204" y="49"/>
                    <a:pt x="205" y="45"/>
                  </a:cubicBezTo>
                  <a:cubicBezTo>
                    <a:pt x="206" y="41"/>
                    <a:pt x="208" y="37"/>
                    <a:pt x="210" y="35"/>
                  </a:cubicBezTo>
                  <a:cubicBezTo>
                    <a:pt x="212" y="32"/>
                    <a:pt x="214" y="30"/>
                    <a:pt x="217" y="28"/>
                  </a:cubicBezTo>
                  <a:cubicBezTo>
                    <a:pt x="220" y="27"/>
                    <a:pt x="224" y="26"/>
                    <a:pt x="228" y="26"/>
                  </a:cubicBezTo>
                  <a:cubicBezTo>
                    <a:pt x="231" y="26"/>
                    <a:pt x="234" y="27"/>
                    <a:pt x="237" y="28"/>
                  </a:cubicBezTo>
                  <a:cubicBezTo>
                    <a:pt x="239" y="30"/>
                    <a:pt x="242" y="32"/>
                    <a:pt x="245" y="35"/>
                  </a:cubicBezTo>
                  <a:lnTo>
                    <a:pt x="245" y="2"/>
                  </a:lnTo>
                  <a:cubicBezTo>
                    <a:pt x="245" y="2"/>
                    <a:pt x="245" y="1"/>
                    <a:pt x="245" y="1"/>
                  </a:cubicBezTo>
                  <a:cubicBezTo>
                    <a:pt x="245" y="1"/>
                    <a:pt x="245" y="1"/>
                    <a:pt x="246" y="0"/>
                  </a:cubicBezTo>
                  <a:cubicBezTo>
                    <a:pt x="246" y="0"/>
                    <a:pt x="247" y="0"/>
                    <a:pt x="247" y="0"/>
                  </a:cubicBezTo>
                  <a:cubicBezTo>
                    <a:pt x="248" y="0"/>
                    <a:pt x="249" y="0"/>
                    <a:pt x="250" y="0"/>
                  </a:cubicBezTo>
                  <a:cubicBezTo>
                    <a:pt x="251" y="0"/>
                    <a:pt x="252" y="0"/>
                    <a:pt x="252" y="0"/>
                  </a:cubicBezTo>
                  <a:cubicBezTo>
                    <a:pt x="253" y="0"/>
                    <a:pt x="254" y="0"/>
                    <a:pt x="254" y="0"/>
                  </a:cubicBezTo>
                  <a:cubicBezTo>
                    <a:pt x="254" y="1"/>
                    <a:pt x="255" y="1"/>
                    <a:pt x="255" y="1"/>
                  </a:cubicBezTo>
                  <a:cubicBezTo>
                    <a:pt x="255" y="1"/>
                    <a:pt x="255" y="2"/>
                    <a:pt x="255" y="2"/>
                  </a:cubicBezTo>
                  <a:lnTo>
                    <a:pt x="255" y="85"/>
                  </a:lnTo>
                  <a:close/>
                  <a:moveTo>
                    <a:pt x="245" y="46"/>
                  </a:moveTo>
                  <a:cubicBezTo>
                    <a:pt x="242" y="42"/>
                    <a:pt x="239" y="40"/>
                    <a:pt x="237" y="38"/>
                  </a:cubicBezTo>
                  <a:cubicBezTo>
                    <a:pt x="234" y="36"/>
                    <a:pt x="231" y="35"/>
                    <a:pt x="229" y="35"/>
                  </a:cubicBezTo>
                  <a:cubicBezTo>
                    <a:pt x="226" y="35"/>
                    <a:pt x="224" y="36"/>
                    <a:pt x="222" y="37"/>
                  </a:cubicBezTo>
                  <a:cubicBezTo>
                    <a:pt x="220" y="38"/>
                    <a:pt x="219" y="40"/>
                    <a:pt x="217" y="42"/>
                  </a:cubicBezTo>
                  <a:cubicBezTo>
                    <a:pt x="216" y="44"/>
                    <a:pt x="215" y="46"/>
                    <a:pt x="215" y="49"/>
                  </a:cubicBezTo>
                  <a:cubicBezTo>
                    <a:pt x="214" y="51"/>
                    <a:pt x="214" y="54"/>
                    <a:pt x="214" y="57"/>
                  </a:cubicBezTo>
                  <a:cubicBezTo>
                    <a:pt x="214" y="59"/>
                    <a:pt x="214" y="62"/>
                    <a:pt x="215" y="65"/>
                  </a:cubicBezTo>
                  <a:cubicBezTo>
                    <a:pt x="215" y="68"/>
                    <a:pt x="216" y="70"/>
                    <a:pt x="217" y="72"/>
                  </a:cubicBezTo>
                  <a:cubicBezTo>
                    <a:pt x="218" y="74"/>
                    <a:pt x="220" y="76"/>
                    <a:pt x="221" y="77"/>
                  </a:cubicBezTo>
                  <a:cubicBezTo>
                    <a:pt x="223" y="78"/>
                    <a:pt x="225" y="79"/>
                    <a:pt x="228" y="79"/>
                  </a:cubicBezTo>
                  <a:cubicBezTo>
                    <a:pt x="229" y="79"/>
                    <a:pt x="231" y="79"/>
                    <a:pt x="232" y="79"/>
                  </a:cubicBezTo>
                  <a:cubicBezTo>
                    <a:pt x="233" y="78"/>
                    <a:pt x="235" y="78"/>
                    <a:pt x="236" y="77"/>
                  </a:cubicBezTo>
                  <a:cubicBezTo>
                    <a:pt x="237" y="76"/>
                    <a:pt x="239" y="75"/>
                    <a:pt x="240" y="73"/>
                  </a:cubicBezTo>
                  <a:cubicBezTo>
                    <a:pt x="242" y="72"/>
                    <a:pt x="243" y="70"/>
                    <a:pt x="245" y="68"/>
                  </a:cubicBezTo>
                  <a:lnTo>
                    <a:pt x="245" y="46"/>
                  </a:lnTo>
                  <a:close/>
                  <a:moveTo>
                    <a:pt x="281" y="85"/>
                  </a:moveTo>
                  <a:cubicBezTo>
                    <a:pt x="281" y="86"/>
                    <a:pt x="281" y="86"/>
                    <a:pt x="281" y="86"/>
                  </a:cubicBezTo>
                  <a:cubicBezTo>
                    <a:pt x="281" y="86"/>
                    <a:pt x="281" y="86"/>
                    <a:pt x="280" y="87"/>
                  </a:cubicBezTo>
                  <a:cubicBezTo>
                    <a:pt x="280" y="87"/>
                    <a:pt x="279" y="87"/>
                    <a:pt x="279" y="87"/>
                  </a:cubicBezTo>
                  <a:cubicBezTo>
                    <a:pt x="278" y="87"/>
                    <a:pt x="277" y="87"/>
                    <a:pt x="276" y="87"/>
                  </a:cubicBezTo>
                  <a:cubicBezTo>
                    <a:pt x="275" y="87"/>
                    <a:pt x="274" y="87"/>
                    <a:pt x="274" y="87"/>
                  </a:cubicBezTo>
                  <a:cubicBezTo>
                    <a:pt x="273" y="87"/>
                    <a:pt x="272" y="87"/>
                    <a:pt x="272" y="87"/>
                  </a:cubicBezTo>
                  <a:cubicBezTo>
                    <a:pt x="272" y="86"/>
                    <a:pt x="271" y="86"/>
                    <a:pt x="271" y="86"/>
                  </a:cubicBezTo>
                  <a:cubicBezTo>
                    <a:pt x="271" y="86"/>
                    <a:pt x="271" y="86"/>
                    <a:pt x="271" y="85"/>
                  </a:cubicBezTo>
                  <a:lnTo>
                    <a:pt x="271" y="2"/>
                  </a:lnTo>
                  <a:cubicBezTo>
                    <a:pt x="271" y="1"/>
                    <a:pt x="271" y="1"/>
                    <a:pt x="271" y="1"/>
                  </a:cubicBezTo>
                  <a:cubicBezTo>
                    <a:pt x="271" y="1"/>
                    <a:pt x="272" y="0"/>
                    <a:pt x="272" y="0"/>
                  </a:cubicBezTo>
                  <a:cubicBezTo>
                    <a:pt x="272" y="0"/>
                    <a:pt x="273" y="0"/>
                    <a:pt x="274" y="0"/>
                  </a:cubicBezTo>
                  <a:cubicBezTo>
                    <a:pt x="274" y="0"/>
                    <a:pt x="275" y="0"/>
                    <a:pt x="276" y="0"/>
                  </a:cubicBezTo>
                  <a:cubicBezTo>
                    <a:pt x="277" y="0"/>
                    <a:pt x="278" y="0"/>
                    <a:pt x="279" y="0"/>
                  </a:cubicBezTo>
                  <a:cubicBezTo>
                    <a:pt x="279" y="0"/>
                    <a:pt x="280" y="0"/>
                    <a:pt x="280" y="0"/>
                  </a:cubicBezTo>
                  <a:cubicBezTo>
                    <a:pt x="281" y="0"/>
                    <a:pt x="281" y="1"/>
                    <a:pt x="281" y="1"/>
                  </a:cubicBezTo>
                  <a:cubicBezTo>
                    <a:pt x="281" y="1"/>
                    <a:pt x="281" y="1"/>
                    <a:pt x="281" y="2"/>
                  </a:cubicBezTo>
                  <a:lnTo>
                    <a:pt x="281" y="85"/>
                  </a:lnTo>
                  <a:close/>
                  <a:moveTo>
                    <a:pt x="351" y="55"/>
                  </a:moveTo>
                  <a:cubicBezTo>
                    <a:pt x="351" y="56"/>
                    <a:pt x="351" y="57"/>
                    <a:pt x="350" y="58"/>
                  </a:cubicBezTo>
                  <a:cubicBezTo>
                    <a:pt x="349" y="59"/>
                    <a:pt x="348" y="59"/>
                    <a:pt x="347" y="59"/>
                  </a:cubicBezTo>
                  <a:lnTo>
                    <a:pt x="310" y="59"/>
                  </a:lnTo>
                  <a:cubicBezTo>
                    <a:pt x="310" y="62"/>
                    <a:pt x="310" y="65"/>
                    <a:pt x="311" y="68"/>
                  </a:cubicBezTo>
                  <a:cubicBezTo>
                    <a:pt x="311" y="70"/>
                    <a:pt x="313" y="72"/>
                    <a:pt x="314" y="74"/>
                  </a:cubicBezTo>
                  <a:cubicBezTo>
                    <a:pt x="315" y="76"/>
                    <a:pt x="317" y="77"/>
                    <a:pt x="320" y="78"/>
                  </a:cubicBezTo>
                  <a:cubicBezTo>
                    <a:pt x="322" y="79"/>
                    <a:pt x="325" y="80"/>
                    <a:pt x="328" y="80"/>
                  </a:cubicBezTo>
                  <a:cubicBezTo>
                    <a:pt x="331" y="80"/>
                    <a:pt x="333" y="79"/>
                    <a:pt x="335" y="79"/>
                  </a:cubicBezTo>
                  <a:cubicBezTo>
                    <a:pt x="338" y="78"/>
                    <a:pt x="339" y="78"/>
                    <a:pt x="341" y="77"/>
                  </a:cubicBezTo>
                  <a:cubicBezTo>
                    <a:pt x="342" y="77"/>
                    <a:pt x="344" y="76"/>
                    <a:pt x="345" y="76"/>
                  </a:cubicBezTo>
                  <a:cubicBezTo>
                    <a:pt x="346" y="76"/>
                    <a:pt x="346" y="75"/>
                    <a:pt x="347" y="75"/>
                  </a:cubicBezTo>
                  <a:cubicBezTo>
                    <a:pt x="347" y="75"/>
                    <a:pt x="347" y="75"/>
                    <a:pt x="348" y="76"/>
                  </a:cubicBezTo>
                  <a:cubicBezTo>
                    <a:pt x="348" y="76"/>
                    <a:pt x="348" y="76"/>
                    <a:pt x="348" y="76"/>
                  </a:cubicBezTo>
                  <a:cubicBezTo>
                    <a:pt x="348" y="76"/>
                    <a:pt x="348" y="77"/>
                    <a:pt x="348" y="77"/>
                  </a:cubicBezTo>
                  <a:cubicBezTo>
                    <a:pt x="349" y="78"/>
                    <a:pt x="349" y="79"/>
                    <a:pt x="349" y="79"/>
                  </a:cubicBezTo>
                  <a:cubicBezTo>
                    <a:pt x="349" y="80"/>
                    <a:pt x="349" y="80"/>
                    <a:pt x="349" y="81"/>
                  </a:cubicBezTo>
                  <a:cubicBezTo>
                    <a:pt x="348" y="81"/>
                    <a:pt x="348" y="81"/>
                    <a:pt x="348" y="82"/>
                  </a:cubicBezTo>
                  <a:cubicBezTo>
                    <a:pt x="348" y="82"/>
                    <a:pt x="348" y="82"/>
                    <a:pt x="348" y="83"/>
                  </a:cubicBezTo>
                  <a:cubicBezTo>
                    <a:pt x="348" y="83"/>
                    <a:pt x="348" y="83"/>
                    <a:pt x="347" y="83"/>
                  </a:cubicBezTo>
                  <a:cubicBezTo>
                    <a:pt x="347" y="84"/>
                    <a:pt x="347" y="84"/>
                    <a:pt x="345" y="84"/>
                  </a:cubicBezTo>
                  <a:cubicBezTo>
                    <a:pt x="344" y="85"/>
                    <a:pt x="343" y="85"/>
                    <a:pt x="341" y="86"/>
                  </a:cubicBezTo>
                  <a:cubicBezTo>
                    <a:pt x="339" y="86"/>
                    <a:pt x="337" y="87"/>
                    <a:pt x="335" y="87"/>
                  </a:cubicBezTo>
                  <a:cubicBezTo>
                    <a:pt x="333" y="88"/>
                    <a:pt x="330" y="88"/>
                    <a:pt x="327" y="88"/>
                  </a:cubicBezTo>
                  <a:cubicBezTo>
                    <a:pt x="323" y="88"/>
                    <a:pt x="319" y="87"/>
                    <a:pt x="315" y="86"/>
                  </a:cubicBezTo>
                  <a:cubicBezTo>
                    <a:pt x="312" y="85"/>
                    <a:pt x="309" y="83"/>
                    <a:pt x="306" y="80"/>
                  </a:cubicBezTo>
                  <a:cubicBezTo>
                    <a:pt x="304" y="78"/>
                    <a:pt x="302" y="75"/>
                    <a:pt x="301" y="71"/>
                  </a:cubicBezTo>
                  <a:cubicBezTo>
                    <a:pt x="300" y="67"/>
                    <a:pt x="299" y="62"/>
                    <a:pt x="299" y="57"/>
                  </a:cubicBezTo>
                  <a:cubicBezTo>
                    <a:pt x="299" y="52"/>
                    <a:pt x="300" y="48"/>
                    <a:pt x="301" y="44"/>
                  </a:cubicBezTo>
                  <a:cubicBezTo>
                    <a:pt x="302" y="40"/>
                    <a:pt x="304" y="37"/>
                    <a:pt x="306" y="34"/>
                  </a:cubicBezTo>
                  <a:cubicBezTo>
                    <a:pt x="309" y="32"/>
                    <a:pt x="312" y="30"/>
                    <a:pt x="315" y="28"/>
                  </a:cubicBezTo>
                  <a:cubicBezTo>
                    <a:pt x="318" y="27"/>
                    <a:pt x="322" y="26"/>
                    <a:pt x="326" y="26"/>
                  </a:cubicBezTo>
                  <a:cubicBezTo>
                    <a:pt x="331" y="26"/>
                    <a:pt x="334" y="27"/>
                    <a:pt x="337" y="28"/>
                  </a:cubicBezTo>
                  <a:cubicBezTo>
                    <a:pt x="341" y="30"/>
                    <a:pt x="343" y="32"/>
                    <a:pt x="345" y="34"/>
                  </a:cubicBezTo>
                  <a:cubicBezTo>
                    <a:pt x="347" y="36"/>
                    <a:pt x="349" y="39"/>
                    <a:pt x="350" y="42"/>
                  </a:cubicBezTo>
                  <a:cubicBezTo>
                    <a:pt x="350" y="46"/>
                    <a:pt x="351" y="49"/>
                    <a:pt x="351" y="53"/>
                  </a:cubicBezTo>
                  <a:lnTo>
                    <a:pt x="351" y="55"/>
                  </a:lnTo>
                  <a:close/>
                  <a:moveTo>
                    <a:pt x="341" y="52"/>
                  </a:moveTo>
                  <a:cubicBezTo>
                    <a:pt x="341" y="46"/>
                    <a:pt x="340" y="42"/>
                    <a:pt x="337" y="39"/>
                  </a:cubicBezTo>
                  <a:cubicBezTo>
                    <a:pt x="334" y="36"/>
                    <a:pt x="331" y="34"/>
                    <a:pt x="326" y="34"/>
                  </a:cubicBezTo>
                  <a:cubicBezTo>
                    <a:pt x="323" y="34"/>
                    <a:pt x="321" y="35"/>
                    <a:pt x="319" y="36"/>
                  </a:cubicBezTo>
                  <a:cubicBezTo>
                    <a:pt x="317" y="37"/>
                    <a:pt x="315" y="38"/>
                    <a:pt x="314" y="39"/>
                  </a:cubicBezTo>
                  <a:cubicBezTo>
                    <a:pt x="313" y="41"/>
                    <a:pt x="312" y="43"/>
                    <a:pt x="311" y="45"/>
                  </a:cubicBezTo>
                  <a:cubicBezTo>
                    <a:pt x="310" y="47"/>
                    <a:pt x="310" y="49"/>
                    <a:pt x="310" y="52"/>
                  </a:cubicBezTo>
                  <a:lnTo>
                    <a:pt x="341" y="52"/>
                  </a:lnTo>
                  <a:close/>
                  <a:moveTo>
                    <a:pt x="445" y="82"/>
                  </a:moveTo>
                  <a:cubicBezTo>
                    <a:pt x="445" y="83"/>
                    <a:pt x="445" y="84"/>
                    <a:pt x="445" y="84"/>
                  </a:cubicBezTo>
                  <a:cubicBezTo>
                    <a:pt x="445" y="85"/>
                    <a:pt x="445" y="85"/>
                    <a:pt x="445" y="86"/>
                  </a:cubicBezTo>
                  <a:cubicBezTo>
                    <a:pt x="444" y="86"/>
                    <a:pt x="444" y="86"/>
                    <a:pt x="444" y="86"/>
                  </a:cubicBezTo>
                  <a:cubicBezTo>
                    <a:pt x="444" y="87"/>
                    <a:pt x="443" y="87"/>
                    <a:pt x="443" y="87"/>
                  </a:cubicBezTo>
                  <a:lnTo>
                    <a:pt x="404" y="87"/>
                  </a:lnTo>
                  <a:cubicBezTo>
                    <a:pt x="403" y="87"/>
                    <a:pt x="402" y="86"/>
                    <a:pt x="401" y="86"/>
                  </a:cubicBezTo>
                  <a:cubicBezTo>
                    <a:pt x="401" y="85"/>
                    <a:pt x="400" y="84"/>
                    <a:pt x="400" y="82"/>
                  </a:cubicBezTo>
                  <a:lnTo>
                    <a:pt x="400" y="10"/>
                  </a:lnTo>
                  <a:cubicBezTo>
                    <a:pt x="400" y="9"/>
                    <a:pt x="401" y="7"/>
                    <a:pt x="401" y="7"/>
                  </a:cubicBezTo>
                  <a:cubicBezTo>
                    <a:pt x="402" y="6"/>
                    <a:pt x="403" y="6"/>
                    <a:pt x="404" y="6"/>
                  </a:cubicBezTo>
                  <a:lnTo>
                    <a:pt x="443" y="6"/>
                  </a:lnTo>
                  <a:cubicBezTo>
                    <a:pt x="443" y="6"/>
                    <a:pt x="443" y="6"/>
                    <a:pt x="443" y="6"/>
                  </a:cubicBezTo>
                  <a:cubicBezTo>
                    <a:pt x="444" y="6"/>
                    <a:pt x="444" y="7"/>
                    <a:pt x="444" y="7"/>
                  </a:cubicBezTo>
                  <a:cubicBezTo>
                    <a:pt x="444" y="7"/>
                    <a:pt x="444" y="8"/>
                    <a:pt x="444" y="8"/>
                  </a:cubicBezTo>
                  <a:cubicBezTo>
                    <a:pt x="445" y="9"/>
                    <a:pt x="445" y="10"/>
                    <a:pt x="445" y="10"/>
                  </a:cubicBezTo>
                  <a:cubicBezTo>
                    <a:pt x="445" y="11"/>
                    <a:pt x="445" y="12"/>
                    <a:pt x="444" y="12"/>
                  </a:cubicBezTo>
                  <a:cubicBezTo>
                    <a:pt x="444" y="13"/>
                    <a:pt x="444" y="13"/>
                    <a:pt x="444" y="14"/>
                  </a:cubicBezTo>
                  <a:cubicBezTo>
                    <a:pt x="444" y="14"/>
                    <a:pt x="444" y="14"/>
                    <a:pt x="443" y="15"/>
                  </a:cubicBezTo>
                  <a:cubicBezTo>
                    <a:pt x="443" y="15"/>
                    <a:pt x="443" y="15"/>
                    <a:pt x="443" y="15"/>
                  </a:cubicBezTo>
                  <a:lnTo>
                    <a:pt x="411" y="15"/>
                  </a:lnTo>
                  <a:lnTo>
                    <a:pt x="411" y="40"/>
                  </a:lnTo>
                  <a:lnTo>
                    <a:pt x="438" y="40"/>
                  </a:lnTo>
                  <a:cubicBezTo>
                    <a:pt x="438" y="40"/>
                    <a:pt x="439" y="40"/>
                    <a:pt x="439" y="40"/>
                  </a:cubicBezTo>
                  <a:cubicBezTo>
                    <a:pt x="439" y="41"/>
                    <a:pt x="439" y="41"/>
                    <a:pt x="440" y="41"/>
                  </a:cubicBezTo>
                  <a:cubicBezTo>
                    <a:pt x="440" y="42"/>
                    <a:pt x="440" y="42"/>
                    <a:pt x="440" y="43"/>
                  </a:cubicBezTo>
                  <a:cubicBezTo>
                    <a:pt x="440" y="43"/>
                    <a:pt x="440" y="44"/>
                    <a:pt x="440" y="45"/>
                  </a:cubicBezTo>
                  <a:cubicBezTo>
                    <a:pt x="440" y="45"/>
                    <a:pt x="440" y="46"/>
                    <a:pt x="440" y="47"/>
                  </a:cubicBezTo>
                  <a:cubicBezTo>
                    <a:pt x="440" y="47"/>
                    <a:pt x="440" y="48"/>
                    <a:pt x="440" y="48"/>
                  </a:cubicBezTo>
                  <a:cubicBezTo>
                    <a:pt x="439" y="48"/>
                    <a:pt x="439" y="48"/>
                    <a:pt x="439" y="49"/>
                  </a:cubicBezTo>
                  <a:cubicBezTo>
                    <a:pt x="439" y="49"/>
                    <a:pt x="438" y="49"/>
                    <a:pt x="438" y="49"/>
                  </a:cubicBezTo>
                  <a:lnTo>
                    <a:pt x="411" y="49"/>
                  </a:lnTo>
                  <a:lnTo>
                    <a:pt x="411" y="78"/>
                  </a:lnTo>
                  <a:lnTo>
                    <a:pt x="443" y="78"/>
                  </a:lnTo>
                  <a:cubicBezTo>
                    <a:pt x="443" y="78"/>
                    <a:pt x="444" y="78"/>
                    <a:pt x="444" y="78"/>
                  </a:cubicBezTo>
                  <a:cubicBezTo>
                    <a:pt x="444" y="78"/>
                    <a:pt x="444" y="78"/>
                    <a:pt x="445" y="79"/>
                  </a:cubicBezTo>
                  <a:cubicBezTo>
                    <a:pt x="445" y="79"/>
                    <a:pt x="445" y="80"/>
                    <a:pt x="445" y="80"/>
                  </a:cubicBezTo>
                  <a:cubicBezTo>
                    <a:pt x="445" y="81"/>
                    <a:pt x="445" y="81"/>
                    <a:pt x="445" y="82"/>
                  </a:cubicBezTo>
                  <a:close/>
                  <a:moveTo>
                    <a:pt x="546" y="85"/>
                  </a:moveTo>
                  <a:cubicBezTo>
                    <a:pt x="546" y="86"/>
                    <a:pt x="546" y="86"/>
                    <a:pt x="546" y="86"/>
                  </a:cubicBezTo>
                  <a:cubicBezTo>
                    <a:pt x="546" y="86"/>
                    <a:pt x="546" y="86"/>
                    <a:pt x="545" y="87"/>
                  </a:cubicBezTo>
                  <a:cubicBezTo>
                    <a:pt x="545" y="87"/>
                    <a:pt x="544" y="87"/>
                    <a:pt x="544" y="87"/>
                  </a:cubicBezTo>
                  <a:cubicBezTo>
                    <a:pt x="543" y="87"/>
                    <a:pt x="542" y="87"/>
                    <a:pt x="541" y="87"/>
                  </a:cubicBezTo>
                  <a:cubicBezTo>
                    <a:pt x="540" y="87"/>
                    <a:pt x="539" y="87"/>
                    <a:pt x="539" y="87"/>
                  </a:cubicBezTo>
                  <a:cubicBezTo>
                    <a:pt x="538" y="87"/>
                    <a:pt x="538" y="87"/>
                    <a:pt x="537" y="87"/>
                  </a:cubicBezTo>
                  <a:cubicBezTo>
                    <a:pt x="537" y="86"/>
                    <a:pt x="536" y="86"/>
                    <a:pt x="536" y="86"/>
                  </a:cubicBezTo>
                  <a:cubicBezTo>
                    <a:pt x="536" y="86"/>
                    <a:pt x="536" y="86"/>
                    <a:pt x="536" y="85"/>
                  </a:cubicBezTo>
                  <a:lnTo>
                    <a:pt x="536" y="51"/>
                  </a:lnTo>
                  <a:cubicBezTo>
                    <a:pt x="536" y="49"/>
                    <a:pt x="536" y="46"/>
                    <a:pt x="535" y="44"/>
                  </a:cubicBezTo>
                  <a:cubicBezTo>
                    <a:pt x="535" y="43"/>
                    <a:pt x="534" y="41"/>
                    <a:pt x="533" y="39"/>
                  </a:cubicBezTo>
                  <a:cubicBezTo>
                    <a:pt x="532" y="38"/>
                    <a:pt x="531" y="37"/>
                    <a:pt x="530" y="36"/>
                  </a:cubicBezTo>
                  <a:cubicBezTo>
                    <a:pt x="528" y="35"/>
                    <a:pt x="527" y="35"/>
                    <a:pt x="525" y="35"/>
                  </a:cubicBezTo>
                  <a:cubicBezTo>
                    <a:pt x="523" y="35"/>
                    <a:pt x="520" y="36"/>
                    <a:pt x="518" y="38"/>
                  </a:cubicBezTo>
                  <a:cubicBezTo>
                    <a:pt x="515" y="40"/>
                    <a:pt x="513" y="42"/>
                    <a:pt x="510" y="46"/>
                  </a:cubicBezTo>
                  <a:lnTo>
                    <a:pt x="510" y="85"/>
                  </a:lnTo>
                  <a:cubicBezTo>
                    <a:pt x="510" y="86"/>
                    <a:pt x="510" y="86"/>
                    <a:pt x="510" y="86"/>
                  </a:cubicBezTo>
                  <a:cubicBezTo>
                    <a:pt x="509" y="86"/>
                    <a:pt x="509" y="86"/>
                    <a:pt x="509" y="87"/>
                  </a:cubicBezTo>
                  <a:cubicBezTo>
                    <a:pt x="508" y="87"/>
                    <a:pt x="508" y="87"/>
                    <a:pt x="507" y="87"/>
                  </a:cubicBezTo>
                  <a:cubicBezTo>
                    <a:pt x="506" y="87"/>
                    <a:pt x="506" y="87"/>
                    <a:pt x="505" y="87"/>
                  </a:cubicBezTo>
                  <a:cubicBezTo>
                    <a:pt x="504" y="87"/>
                    <a:pt x="503" y="87"/>
                    <a:pt x="502" y="87"/>
                  </a:cubicBezTo>
                  <a:cubicBezTo>
                    <a:pt x="501" y="87"/>
                    <a:pt x="501" y="87"/>
                    <a:pt x="501" y="87"/>
                  </a:cubicBezTo>
                  <a:cubicBezTo>
                    <a:pt x="500" y="86"/>
                    <a:pt x="500" y="86"/>
                    <a:pt x="500" y="86"/>
                  </a:cubicBezTo>
                  <a:cubicBezTo>
                    <a:pt x="500" y="86"/>
                    <a:pt x="500" y="86"/>
                    <a:pt x="500" y="85"/>
                  </a:cubicBezTo>
                  <a:lnTo>
                    <a:pt x="500" y="51"/>
                  </a:lnTo>
                  <a:cubicBezTo>
                    <a:pt x="500" y="49"/>
                    <a:pt x="499" y="46"/>
                    <a:pt x="499" y="44"/>
                  </a:cubicBezTo>
                  <a:cubicBezTo>
                    <a:pt x="498" y="43"/>
                    <a:pt x="498" y="41"/>
                    <a:pt x="497" y="39"/>
                  </a:cubicBezTo>
                  <a:cubicBezTo>
                    <a:pt x="496" y="38"/>
                    <a:pt x="495" y="37"/>
                    <a:pt x="493" y="36"/>
                  </a:cubicBezTo>
                  <a:cubicBezTo>
                    <a:pt x="492" y="35"/>
                    <a:pt x="490" y="35"/>
                    <a:pt x="488" y="35"/>
                  </a:cubicBezTo>
                  <a:cubicBezTo>
                    <a:pt x="486" y="35"/>
                    <a:pt x="484" y="36"/>
                    <a:pt x="481" y="38"/>
                  </a:cubicBezTo>
                  <a:cubicBezTo>
                    <a:pt x="479" y="40"/>
                    <a:pt x="476" y="42"/>
                    <a:pt x="473" y="46"/>
                  </a:cubicBezTo>
                  <a:lnTo>
                    <a:pt x="473" y="85"/>
                  </a:lnTo>
                  <a:cubicBezTo>
                    <a:pt x="473" y="86"/>
                    <a:pt x="473" y="86"/>
                    <a:pt x="473" y="86"/>
                  </a:cubicBezTo>
                  <a:cubicBezTo>
                    <a:pt x="473" y="86"/>
                    <a:pt x="473" y="86"/>
                    <a:pt x="472" y="87"/>
                  </a:cubicBezTo>
                  <a:cubicBezTo>
                    <a:pt x="472" y="87"/>
                    <a:pt x="471" y="87"/>
                    <a:pt x="471" y="87"/>
                  </a:cubicBezTo>
                  <a:cubicBezTo>
                    <a:pt x="470" y="87"/>
                    <a:pt x="469" y="87"/>
                    <a:pt x="468" y="87"/>
                  </a:cubicBezTo>
                  <a:cubicBezTo>
                    <a:pt x="467" y="87"/>
                    <a:pt x="466" y="87"/>
                    <a:pt x="466" y="87"/>
                  </a:cubicBezTo>
                  <a:cubicBezTo>
                    <a:pt x="465" y="87"/>
                    <a:pt x="464" y="87"/>
                    <a:pt x="464" y="87"/>
                  </a:cubicBezTo>
                  <a:cubicBezTo>
                    <a:pt x="464" y="86"/>
                    <a:pt x="463" y="86"/>
                    <a:pt x="463" y="86"/>
                  </a:cubicBezTo>
                  <a:cubicBezTo>
                    <a:pt x="463" y="86"/>
                    <a:pt x="463" y="86"/>
                    <a:pt x="463" y="85"/>
                  </a:cubicBezTo>
                  <a:lnTo>
                    <a:pt x="463" y="29"/>
                  </a:lnTo>
                  <a:cubicBezTo>
                    <a:pt x="463" y="29"/>
                    <a:pt x="463" y="28"/>
                    <a:pt x="463" y="28"/>
                  </a:cubicBezTo>
                  <a:cubicBezTo>
                    <a:pt x="463" y="28"/>
                    <a:pt x="464" y="28"/>
                    <a:pt x="464" y="27"/>
                  </a:cubicBezTo>
                  <a:cubicBezTo>
                    <a:pt x="464" y="27"/>
                    <a:pt x="465" y="27"/>
                    <a:pt x="465" y="27"/>
                  </a:cubicBezTo>
                  <a:cubicBezTo>
                    <a:pt x="466" y="27"/>
                    <a:pt x="467" y="27"/>
                    <a:pt x="468" y="27"/>
                  </a:cubicBezTo>
                  <a:cubicBezTo>
                    <a:pt x="469" y="27"/>
                    <a:pt x="469" y="27"/>
                    <a:pt x="470" y="27"/>
                  </a:cubicBezTo>
                  <a:cubicBezTo>
                    <a:pt x="471" y="27"/>
                    <a:pt x="471" y="27"/>
                    <a:pt x="471" y="27"/>
                  </a:cubicBezTo>
                  <a:cubicBezTo>
                    <a:pt x="472" y="28"/>
                    <a:pt x="472" y="28"/>
                    <a:pt x="472" y="28"/>
                  </a:cubicBezTo>
                  <a:cubicBezTo>
                    <a:pt x="472" y="28"/>
                    <a:pt x="472" y="29"/>
                    <a:pt x="472" y="29"/>
                  </a:cubicBezTo>
                  <a:lnTo>
                    <a:pt x="472" y="36"/>
                  </a:lnTo>
                  <a:cubicBezTo>
                    <a:pt x="475" y="33"/>
                    <a:pt x="479" y="30"/>
                    <a:pt x="481" y="29"/>
                  </a:cubicBezTo>
                  <a:cubicBezTo>
                    <a:pt x="484" y="27"/>
                    <a:pt x="487" y="26"/>
                    <a:pt x="491" y="26"/>
                  </a:cubicBezTo>
                  <a:cubicBezTo>
                    <a:pt x="493" y="26"/>
                    <a:pt x="495" y="26"/>
                    <a:pt x="497" y="27"/>
                  </a:cubicBezTo>
                  <a:cubicBezTo>
                    <a:pt x="499" y="27"/>
                    <a:pt x="500" y="28"/>
                    <a:pt x="502" y="29"/>
                  </a:cubicBezTo>
                  <a:cubicBezTo>
                    <a:pt x="503" y="30"/>
                    <a:pt x="504" y="31"/>
                    <a:pt x="505" y="33"/>
                  </a:cubicBezTo>
                  <a:cubicBezTo>
                    <a:pt x="506" y="34"/>
                    <a:pt x="507" y="36"/>
                    <a:pt x="508" y="37"/>
                  </a:cubicBezTo>
                  <a:cubicBezTo>
                    <a:pt x="510" y="35"/>
                    <a:pt x="511" y="33"/>
                    <a:pt x="513" y="32"/>
                  </a:cubicBezTo>
                  <a:cubicBezTo>
                    <a:pt x="515" y="31"/>
                    <a:pt x="516" y="29"/>
                    <a:pt x="518" y="29"/>
                  </a:cubicBezTo>
                  <a:cubicBezTo>
                    <a:pt x="520" y="28"/>
                    <a:pt x="521" y="27"/>
                    <a:pt x="523" y="27"/>
                  </a:cubicBezTo>
                  <a:cubicBezTo>
                    <a:pt x="524" y="26"/>
                    <a:pt x="526" y="26"/>
                    <a:pt x="527" y="26"/>
                  </a:cubicBezTo>
                  <a:cubicBezTo>
                    <a:pt x="531" y="26"/>
                    <a:pt x="534" y="27"/>
                    <a:pt x="536" y="28"/>
                  </a:cubicBezTo>
                  <a:cubicBezTo>
                    <a:pt x="539" y="29"/>
                    <a:pt x="541" y="31"/>
                    <a:pt x="542" y="33"/>
                  </a:cubicBezTo>
                  <a:cubicBezTo>
                    <a:pt x="544" y="35"/>
                    <a:pt x="545" y="38"/>
                    <a:pt x="545" y="41"/>
                  </a:cubicBezTo>
                  <a:cubicBezTo>
                    <a:pt x="546" y="43"/>
                    <a:pt x="546" y="46"/>
                    <a:pt x="546" y="50"/>
                  </a:cubicBezTo>
                  <a:lnTo>
                    <a:pt x="546" y="85"/>
                  </a:lnTo>
                  <a:close/>
                  <a:moveTo>
                    <a:pt x="611" y="56"/>
                  </a:moveTo>
                  <a:cubicBezTo>
                    <a:pt x="611" y="61"/>
                    <a:pt x="610" y="66"/>
                    <a:pt x="609" y="69"/>
                  </a:cubicBezTo>
                  <a:cubicBezTo>
                    <a:pt x="608" y="73"/>
                    <a:pt x="606" y="77"/>
                    <a:pt x="604" y="79"/>
                  </a:cubicBezTo>
                  <a:cubicBezTo>
                    <a:pt x="602" y="82"/>
                    <a:pt x="600" y="84"/>
                    <a:pt x="597" y="86"/>
                  </a:cubicBezTo>
                  <a:cubicBezTo>
                    <a:pt x="594" y="87"/>
                    <a:pt x="590" y="88"/>
                    <a:pt x="586" y="88"/>
                  </a:cubicBezTo>
                  <a:cubicBezTo>
                    <a:pt x="585" y="88"/>
                    <a:pt x="583" y="88"/>
                    <a:pt x="582" y="87"/>
                  </a:cubicBezTo>
                  <a:cubicBezTo>
                    <a:pt x="580" y="87"/>
                    <a:pt x="579" y="87"/>
                    <a:pt x="578" y="86"/>
                  </a:cubicBezTo>
                  <a:cubicBezTo>
                    <a:pt x="576" y="85"/>
                    <a:pt x="575" y="84"/>
                    <a:pt x="574" y="83"/>
                  </a:cubicBezTo>
                  <a:cubicBezTo>
                    <a:pt x="572" y="82"/>
                    <a:pt x="571" y="81"/>
                    <a:pt x="569" y="79"/>
                  </a:cubicBezTo>
                  <a:lnTo>
                    <a:pt x="569" y="107"/>
                  </a:lnTo>
                  <a:cubicBezTo>
                    <a:pt x="569" y="108"/>
                    <a:pt x="569" y="108"/>
                    <a:pt x="569" y="108"/>
                  </a:cubicBezTo>
                  <a:cubicBezTo>
                    <a:pt x="569" y="109"/>
                    <a:pt x="569" y="109"/>
                    <a:pt x="568" y="109"/>
                  </a:cubicBezTo>
                  <a:cubicBezTo>
                    <a:pt x="568" y="109"/>
                    <a:pt x="567" y="109"/>
                    <a:pt x="567" y="109"/>
                  </a:cubicBezTo>
                  <a:cubicBezTo>
                    <a:pt x="566" y="109"/>
                    <a:pt x="565" y="109"/>
                    <a:pt x="564" y="109"/>
                  </a:cubicBezTo>
                  <a:cubicBezTo>
                    <a:pt x="563" y="109"/>
                    <a:pt x="562" y="109"/>
                    <a:pt x="562" y="109"/>
                  </a:cubicBezTo>
                  <a:cubicBezTo>
                    <a:pt x="561" y="109"/>
                    <a:pt x="560" y="109"/>
                    <a:pt x="560" y="109"/>
                  </a:cubicBezTo>
                  <a:cubicBezTo>
                    <a:pt x="560" y="109"/>
                    <a:pt x="559" y="109"/>
                    <a:pt x="559" y="108"/>
                  </a:cubicBezTo>
                  <a:cubicBezTo>
                    <a:pt x="559" y="108"/>
                    <a:pt x="559" y="108"/>
                    <a:pt x="559" y="107"/>
                  </a:cubicBezTo>
                  <a:lnTo>
                    <a:pt x="559" y="29"/>
                  </a:lnTo>
                  <a:cubicBezTo>
                    <a:pt x="559" y="29"/>
                    <a:pt x="559" y="28"/>
                    <a:pt x="559" y="28"/>
                  </a:cubicBezTo>
                  <a:cubicBezTo>
                    <a:pt x="559" y="28"/>
                    <a:pt x="560" y="28"/>
                    <a:pt x="560" y="27"/>
                  </a:cubicBezTo>
                  <a:cubicBezTo>
                    <a:pt x="560" y="27"/>
                    <a:pt x="561" y="27"/>
                    <a:pt x="561" y="27"/>
                  </a:cubicBezTo>
                  <a:cubicBezTo>
                    <a:pt x="562" y="27"/>
                    <a:pt x="563" y="27"/>
                    <a:pt x="563" y="27"/>
                  </a:cubicBezTo>
                  <a:cubicBezTo>
                    <a:pt x="564" y="27"/>
                    <a:pt x="565" y="27"/>
                    <a:pt x="566" y="27"/>
                  </a:cubicBezTo>
                  <a:cubicBezTo>
                    <a:pt x="566" y="27"/>
                    <a:pt x="567" y="27"/>
                    <a:pt x="567" y="27"/>
                  </a:cubicBezTo>
                  <a:cubicBezTo>
                    <a:pt x="567" y="28"/>
                    <a:pt x="568" y="28"/>
                    <a:pt x="568" y="28"/>
                  </a:cubicBezTo>
                  <a:cubicBezTo>
                    <a:pt x="568" y="28"/>
                    <a:pt x="568" y="29"/>
                    <a:pt x="568" y="29"/>
                  </a:cubicBezTo>
                  <a:lnTo>
                    <a:pt x="568" y="36"/>
                  </a:lnTo>
                  <a:cubicBezTo>
                    <a:pt x="570" y="35"/>
                    <a:pt x="571" y="33"/>
                    <a:pt x="573" y="32"/>
                  </a:cubicBezTo>
                  <a:cubicBezTo>
                    <a:pt x="575" y="31"/>
                    <a:pt x="576" y="30"/>
                    <a:pt x="578" y="29"/>
                  </a:cubicBezTo>
                  <a:cubicBezTo>
                    <a:pt x="579" y="28"/>
                    <a:pt x="581" y="27"/>
                    <a:pt x="583" y="27"/>
                  </a:cubicBezTo>
                  <a:cubicBezTo>
                    <a:pt x="584" y="26"/>
                    <a:pt x="586" y="26"/>
                    <a:pt x="588" y="26"/>
                  </a:cubicBezTo>
                  <a:cubicBezTo>
                    <a:pt x="592" y="26"/>
                    <a:pt x="596" y="27"/>
                    <a:pt x="598" y="28"/>
                  </a:cubicBezTo>
                  <a:cubicBezTo>
                    <a:pt x="601" y="30"/>
                    <a:pt x="604" y="32"/>
                    <a:pt x="605" y="35"/>
                  </a:cubicBezTo>
                  <a:cubicBezTo>
                    <a:pt x="607" y="38"/>
                    <a:pt x="609" y="41"/>
                    <a:pt x="609" y="45"/>
                  </a:cubicBezTo>
                  <a:cubicBezTo>
                    <a:pt x="610" y="48"/>
                    <a:pt x="611" y="52"/>
                    <a:pt x="611" y="56"/>
                  </a:cubicBezTo>
                  <a:close/>
                  <a:moveTo>
                    <a:pt x="600" y="57"/>
                  </a:moveTo>
                  <a:cubicBezTo>
                    <a:pt x="600" y="54"/>
                    <a:pt x="600" y="52"/>
                    <a:pt x="599" y="49"/>
                  </a:cubicBezTo>
                  <a:cubicBezTo>
                    <a:pt x="599" y="46"/>
                    <a:pt x="598" y="44"/>
                    <a:pt x="597" y="42"/>
                  </a:cubicBezTo>
                  <a:cubicBezTo>
                    <a:pt x="596" y="40"/>
                    <a:pt x="595" y="38"/>
                    <a:pt x="593" y="37"/>
                  </a:cubicBezTo>
                  <a:cubicBezTo>
                    <a:pt x="591" y="36"/>
                    <a:pt x="589" y="35"/>
                    <a:pt x="586" y="35"/>
                  </a:cubicBezTo>
                  <a:cubicBezTo>
                    <a:pt x="585" y="35"/>
                    <a:pt x="583" y="35"/>
                    <a:pt x="582" y="36"/>
                  </a:cubicBezTo>
                  <a:cubicBezTo>
                    <a:pt x="581" y="36"/>
                    <a:pt x="579" y="37"/>
                    <a:pt x="578" y="37"/>
                  </a:cubicBezTo>
                  <a:cubicBezTo>
                    <a:pt x="577" y="38"/>
                    <a:pt x="575" y="39"/>
                    <a:pt x="574" y="41"/>
                  </a:cubicBezTo>
                  <a:cubicBezTo>
                    <a:pt x="572" y="42"/>
                    <a:pt x="571" y="44"/>
                    <a:pt x="569" y="46"/>
                  </a:cubicBezTo>
                  <a:lnTo>
                    <a:pt x="569" y="68"/>
                  </a:lnTo>
                  <a:cubicBezTo>
                    <a:pt x="572" y="72"/>
                    <a:pt x="575" y="74"/>
                    <a:pt x="577" y="76"/>
                  </a:cubicBezTo>
                  <a:cubicBezTo>
                    <a:pt x="580" y="78"/>
                    <a:pt x="583" y="79"/>
                    <a:pt x="585" y="79"/>
                  </a:cubicBezTo>
                  <a:cubicBezTo>
                    <a:pt x="588" y="79"/>
                    <a:pt x="590" y="78"/>
                    <a:pt x="592" y="77"/>
                  </a:cubicBezTo>
                  <a:cubicBezTo>
                    <a:pt x="594" y="76"/>
                    <a:pt x="596" y="74"/>
                    <a:pt x="597" y="72"/>
                  </a:cubicBezTo>
                  <a:cubicBezTo>
                    <a:pt x="598" y="70"/>
                    <a:pt x="599" y="68"/>
                    <a:pt x="599" y="65"/>
                  </a:cubicBezTo>
                  <a:cubicBezTo>
                    <a:pt x="600" y="63"/>
                    <a:pt x="600" y="60"/>
                    <a:pt x="600" y="57"/>
                  </a:cubicBezTo>
                  <a:close/>
                  <a:moveTo>
                    <a:pt x="652" y="81"/>
                  </a:moveTo>
                  <a:cubicBezTo>
                    <a:pt x="652" y="82"/>
                    <a:pt x="652" y="83"/>
                    <a:pt x="652" y="84"/>
                  </a:cubicBezTo>
                  <a:cubicBezTo>
                    <a:pt x="652" y="85"/>
                    <a:pt x="652" y="85"/>
                    <a:pt x="651" y="85"/>
                  </a:cubicBezTo>
                  <a:cubicBezTo>
                    <a:pt x="651" y="86"/>
                    <a:pt x="650" y="86"/>
                    <a:pt x="650" y="86"/>
                  </a:cubicBezTo>
                  <a:cubicBezTo>
                    <a:pt x="649" y="87"/>
                    <a:pt x="648" y="87"/>
                    <a:pt x="647" y="87"/>
                  </a:cubicBezTo>
                  <a:cubicBezTo>
                    <a:pt x="647" y="87"/>
                    <a:pt x="646" y="87"/>
                    <a:pt x="645" y="88"/>
                  </a:cubicBezTo>
                  <a:cubicBezTo>
                    <a:pt x="644" y="88"/>
                    <a:pt x="643" y="88"/>
                    <a:pt x="642" y="88"/>
                  </a:cubicBezTo>
                  <a:cubicBezTo>
                    <a:pt x="639" y="88"/>
                    <a:pt x="636" y="87"/>
                    <a:pt x="634" y="87"/>
                  </a:cubicBezTo>
                  <a:cubicBezTo>
                    <a:pt x="632" y="86"/>
                    <a:pt x="631" y="85"/>
                    <a:pt x="629" y="83"/>
                  </a:cubicBezTo>
                  <a:cubicBezTo>
                    <a:pt x="628" y="82"/>
                    <a:pt x="627" y="80"/>
                    <a:pt x="626" y="77"/>
                  </a:cubicBezTo>
                  <a:cubicBezTo>
                    <a:pt x="626" y="75"/>
                    <a:pt x="625" y="72"/>
                    <a:pt x="625" y="69"/>
                  </a:cubicBezTo>
                  <a:lnTo>
                    <a:pt x="625" y="36"/>
                  </a:lnTo>
                  <a:lnTo>
                    <a:pt x="618" y="36"/>
                  </a:lnTo>
                  <a:cubicBezTo>
                    <a:pt x="617" y="36"/>
                    <a:pt x="616" y="36"/>
                    <a:pt x="616" y="35"/>
                  </a:cubicBezTo>
                  <a:cubicBezTo>
                    <a:pt x="616" y="34"/>
                    <a:pt x="615" y="33"/>
                    <a:pt x="615" y="32"/>
                  </a:cubicBezTo>
                  <a:cubicBezTo>
                    <a:pt x="615" y="31"/>
                    <a:pt x="616" y="30"/>
                    <a:pt x="616" y="30"/>
                  </a:cubicBezTo>
                  <a:cubicBezTo>
                    <a:pt x="616" y="29"/>
                    <a:pt x="616" y="29"/>
                    <a:pt x="616" y="28"/>
                  </a:cubicBezTo>
                  <a:cubicBezTo>
                    <a:pt x="616" y="28"/>
                    <a:pt x="616" y="28"/>
                    <a:pt x="617" y="28"/>
                  </a:cubicBezTo>
                  <a:cubicBezTo>
                    <a:pt x="617" y="27"/>
                    <a:pt x="617" y="27"/>
                    <a:pt x="618" y="27"/>
                  </a:cubicBezTo>
                  <a:lnTo>
                    <a:pt x="625" y="27"/>
                  </a:lnTo>
                  <a:lnTo>
                    <a:pt x="625" y="14"/>
                  </a:lnTo>
                  <a:cubicBezTo>
                    <a:pt x="625" y="14"/>
                    <a:pt x="625" y="13"/>
                    <a:pt x="626" y="13"/>
                  </a:cubicBezTo>
                  <a:cubicBezTo>
                    <a:pt x="626" y="13"/>
                    <a:pt x="626" y="13"/>
                    <a:pt x="626" y="12"/>
                  </a:cubicBezTo>
                  <a:cubicBezTo>
                    <a:pt x="627" y="12"/>
                    <a:pt x="627" y="12"/>
                    <a:pt x="628" y="12"/>
                  </a:cubicBezTo>
                  <a:cubicBezTo>
                    <a:pt x="629" y="12"/>
                    <a:pt x="630" y="12"/>
                    <a:pt x="631" y="12"/>
                  </a:cubicBezTo>
                  <a:cubicBezTo>
                    <a:pt x="632" y="12"/>
                    <a:pt x="632" y="12"/>
                    <a:pt x="633" y="12"/>
                  </a:cubicBezTo>
                  <a:cubicBezTo>
                    <a:pt x="634" y="12"/>
                    <a:pt x="634" y="12"/>
                    <a:pt x="635" y="12"/>
                  </a:cubicBezTo>
                  <a:cubicBezTo>
                    <a:pt x="635" y="13"/>
                    <a:pt x="635" y="13"/>
                    <a:pt x="635" y="13"/>
                  </a:cubicBezTo>
                  <a:cubicBezTo>
                    <a:pt x="636" y="13"/>
                    <a:pt x="636" y="14"/>
                    <a:pt x="636" y="14"/>
                  </a:cubicBezTo>
                  <a:lnTo>
                    <a:pt x="636" y="27"/>
                  </a:lnTo>
                  <a:lnTo>
                    <a:pt x="650" y="27"/>
                  </a:lnTo>
                  <a:cubicBezTo>
                    <a:pt x="650" y="27"/>
                    <a:pt x="651" y="27"/>
                    <a:pt x="651" y="28"/>
                  </a:cubicBezTo>
                  <a:cubicBezTo>
                    <a:pt x="651" y="28"/>
                    <a:pt x="651" y="28"/>
                    <a:pt x="652" y="28"/>
                  </a:cubicBezTo>
                  <a:cubicBezTo>
                    <a:pt x="652" y="29"/>
                    <a:pt x="652" y="29"/>
                    <a:pt x="652" y="30"/>
                  </a:cubicBezTo>
                  <a:cubicBezTo>
                    <a:pt x="652" y="30"/>
                    <a:pt x="652" y="31"/>
                    <a:pt x="652" y="32"/>
                  </a:cubicBezTo>
                  <a:cubicBezTo>
                    <a:pt x="652" y="33"/>
                    <a:pt x="652" y="34"/>
                    <a:pt x="652" y="35"/>
                  </a:cubicBezTo>
                  <a:cubicBezTo>
                    <a:pt x="651" y="36"/>
                    <a:pt x="651" y="36"/>
                    <a:pt x="650" y="36"/>
                  </a:cubicBezTo>
                  <a:lnTo>
                    <a:pt x="636" y="36"/>
                  </a:lnTo>
                  <a:lnTo>
                    <a:pt x="636" y="67"/>
                  </a:lnTo>
                  <a:cubicBezTo>
                    <a:pt x="636" y="71"/>
                    <a:pt x="636" y="74"/>
                    <a:pt x="637" y="76"/>
                  </a:cubicBezTo>
                  <a:cubicBezTo>
                    <a:pt x="639" y="78"/>
                    <a:pt x="641" y="79"/>
                    <a:pt x="644" y="79"/>
                  </a:cubicBezTo>
                  <a:cubicBezTo>
                    <a:pt x="645" y="79"/>
                    <a:pt x="645" y="79"/>
                    <a:pt x="646" y="79"/>
                  </a:cubicBezTo>
                  <a:cubicBezTo>
                    <a:pt x="647" y="79"/>
                    <a:pt x="648" y="78"/>
                    <a:pt x="648" y="78"/>
                  </a:cubicBezTo>
                  <a:cubicBezTo>
                    <a:pt x="649" y="78"/>
                    <a:pt x="649" y="78"/>
                    <a:pt x="650" y="78"/>
                  </a:cubicBezTo>
                  <a:cubicBezTo>
                    <a:pt x="650" y="77"/>
                    <a:pt x="650" y="77"/>
                    <a:pt x="651" y="77"/>
                  </a:cubicBezTo>
                  <a:cubicBezTo>
                    <a:pt x="651" y="77"/>
                    <a:pt x="651" y="77"/>
                    <a:pt x="651" y="77"/>
                  </a:cubicBezTo>
                  <a:cubicBezTo>
                    <a:pt x="652" y="77"/>
                    <a:pt x="652" y="78"/>
                    <a:pt x="652" y="78"/>
                  </a:cubicBezTo>
                  <a:cubicBezTo>
                    <a:pt x="652" y="78"/>
                    <a:pt x="652" y="79"/>
                    <a:pt x="652" y="79"/>
                  </a:cubicBezTo>
                  <a:cubicBezTo>
                    <a:pt x="652" y="80"/>
                    <a:pt x="652" y="80"/>
                    <a:pt x="652" y="81"/>
                  </a:cubicBezTo>
                  <a:close/>
                  <a:moveTo>
                    <a:pt x="697" y="87"/>
                  </a:moveTo>
                  <a:lnTo>
                    <a:pt x="689" y="107"/>
                  </a:lnTo>
                  <a:cubicBezTo>
                    <a:pt x="689" y="108"/>
                    <a:pt x="688" y="109"/>
                    <a:pt x="687" y="109"/>
                  </a:cubicBezTo>
                  <a:cubicBezTo>
                    <a:pt x="686" y="109"/>
                    <a:pt x="685" y="109"/>
                    <a:pt x="683" y="109"/>
                  </a:cubicBezTo>
                  <a:cubicBezTo>
                    <a:pt x="681" y="109"/>
                    <a:pt x="681" y="109"/>
                    <a:pt x="680" y="109"/>
                  </a:cubicBezTo>
                  <a:cubicBezTo>
                    <a:pt x="679" y="109"/>
                    <a:pt x="679" y="109"/>
                    <a:pt x="678" y="109"/>
                  </a:cubicBezTo>
                  <a:cubicBezTo>
                    <a:pt x="678" y="109"/>
                    <a:pt x="678" y="108"/>
                    <a:pt x="678" y="108"/>
                  </a:cubicBezTo>
                  <a:cubicBezTo>
                    <a:pt x="678" y="107"/>
                    <a:pt x="678" y="107"/>
                    <a:pt x="678" y="106"/>
                  </a:cubicBezTo>
                  <a:lnTo>
                    <a:pt x="686" y="87"/>
                  </a:lnTo>
                  <a:cubicBezTo>
                    <a:pt x="685" y="87"/>
                    <a:pt x="685" y="86"/>
                    <a:pt x="685" y="86"/>
                  </a:cubicBezTo>
                  <a:cubicBezTo>
                    <a:pt x="684" y="86"/>
                    <a:pt x="684" y="85"/>
                    <a:pt x="684" y="85"/>
                  </a:cubicBezTo>
                  <a:lnTo>
                    <a:pt x="664" y="31"/>
                  </a:lnTo>
                  <a:cubicBezTo>
                    <a:pt x="664" y="30"/>
                    <a:pt x="664" y="29"/>
                    <a:pt x="664" y="29"/>
                  </a:cubicBezTo>
                  <a:cubicBezTo>
                    <a:pt x="664" y="28"/>
                    <a:pt x="664" y="28"/>
                    <a:pt x="664" y="28"/>
                  </a:cubicBezTo>
                  <a:cubicBezTo>
                    <a:pt x="664" y="27"/>
                    <a:pt x="665" y="27"/>
                    <a:pt x="666" y="27"/>
                  </a:cubicBezTo>
                  <a:cubicBezTo>
                    <a:pt x="666" y="27"/>
                    <a:pt x="667" y="27"/>
                    <a:pt x="669" y="27"/>
                  </a:cubicBezTo>
                  <a:cubicBezTo>
                    <a:pt x="670" y="27"/>
                    <a:pt x="671" y="27"/>
                    <a:pt x="672" y="27"/>
                  </a:cubicBezTo>
                  <a:cubicBezTo>
                    <a:pt x="672" y="27"/>
                    <a:pt x="673" y="27"/>
                    <a:pt x="673" y="27"/>
                  </a:cubicBezTo>
                  <a:cubicBezTo>
                    <a:pt x="674" y="28"/>
                    <a:pt x="674" y="28"/>
                    <a:pt x="674" y="28"/>
                  </a:cubicBezTo>
                  <a:cubicBezTo>
                    <a:pt x="674" y="28"/>
                    <a:pt x="675" y="29"/>
                    <a:pt x="675" y="29"/>
                  </a:cubicBezTo>
                  <a:lnTo>
                    <a:pt x="691" y="75"/>
                  </a:lnTo>
                  <a:lnTo>
                    <a:pt x="691" y="75"/>
                  </a:lnTo>
                  <a:lnTo>
                    <a:pt x="707" y="29"/>
                  </a:lnTo>
                  <a:cubicBezTo>
                    <a:pt x="707" y="28"/>
                    <a:pt x="707" y="28"/>
                    <a:pt x="707" y="28"/>
                  </a:cubicBezTo>
                  <a:cubicBezTo>
                    <a:pt x="708" y="27"/>
                    <a:pt x="708" y="27"/>
                    <a:pt x="709" y="27"/>
                  </a:cubicBezTo>
                  <a:cubicBezTo>
                    <a:pt x="710" y="27"/>
                    <a:pt x="711" y="27"/>
                    <a:pt x="712" y="27"/>
                  </a:cubicBezTo>
                  <a:cubicBezTo>
                    <a:pt x="713" y="27"/>
                    <a:pt x="714" y="27"/>
                    <a:pt x="715" y="27"/>
                  </a:cubicBezTo>
                  <a:cubicBezTo>
                    <a:pt x="716" y="27"/>
                    <a:pt x="716" y="27"/>
                    <a:pt x="717" y="28"/>
                  </a:cubicBezTo>
                  <a:cubicBezTo>
                    <a:pt x="717" y="28"/>
                    <a:pt x="717" y="28"/>
                    <a:pt x="717" y="29"/>
                  </a:cubicBezTo>
                  <a:cubicBezTo>
                    <a:pt x="717" y="29"/>
                    <a:pt x="717" y="30"/>
                    <a:pt x="717" y="31"/>
                  </a:cubicBezTo>
                  <a:lnTo>
                    <a:pt x="697" y="87"/>
                  </a:ln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50" name="Freeform 168">
              <a:extLst>
                <a:ext uri="{FF2B5EF4-FFF2-40B4-BE49-F238E27FC236}">
                  <a16:creationId xmlns:a16="http://schemas.microsoft.com/office/drawing/2014/main" id="{7714F991-AFA6-4D96-9286-FE33F7191145}"/>
                </a:ext>
              </a:extLst>
            </p:cNvPr>
            <p:cNvSpPr>
              <a:spLocks noEditPoints="1"/>
            </p:cNvSpPr>
            <p:nvPr/>
          </p:nvSpPr>
          <p:spPr bwMode="auto">
            <a:xfrm>
              <a:off x="5305" y="2453"/>
              <a:ext cx="292" cy="40"/>
            </a:xfrm>
            <a:custGeom>
              <a:avLst/>
              <a:gdLst>
                <a:gd name="T0" fmla="*/ 1 w 652"/>
                <a:gd name="T1" fmla="*/ 86 h 89"/>
                <a:gd name="T2" fmla="*/ 48 w 652"/>
                <a:gd name="T3" fmla="*/ 27 h 89"/>
                <a:gd name="T4" fmla="*/ 37 w 652"/>
                <a:gd name="T5" fmla="*/ 28 h 89"/>
                <a:gd name="T6" fmla="*/ 34 w 652"/>
                <a:gd name="T7" fmla="*/ 37 h 89"/>
                <a:gd name="T8" fmla="*/ 11 w 652"/>
                <a:gd name="T9" fmla="*/ 78 h 89"/>
                <a:gd name="T10" fmla="*/ 101 w 652"/>
                <a:gd name="T11" fmla="*/ 88 h 89"/>
                <a:gd name="T12" fmla="*/ 60 w 652"/>
                <a:gd name="T13" fmla="*/ 79 h 89"/>
                <a:gd name="T14" fmla="*/ 92 w 652"/>
                <a:gd name="T15" fmla="*/ 38 h 89"/>
                <a:gd name="T16" fmla="*/ 62 w 652"/>
                <a:gd name="T17" fmla="*/ 39 h 89"/>
                <a:gd name="T18" fmla="*/ 100 w 652"/>
                <a:gd name="T19" fmla="*/ 32 h 89"/>
                <a:gd name="T20" fmla="*/ 69 w 652"/>
                <a:gd name="T21" fmla="*/ 71 h 89"/>
                <a:gd name="T22" fmla="*/ 149 w 652"/>
                <a:gd name="T23" fmla="*/ 87 h 89"/>
                <a:gd name="T24" fmla="*/ 123 w 652"/>
                <a:gd name="T25" fmla="*/ 76 h 89"/>
                <a:gd name="T26" fmla="*/ 151 w 652"/>
                <a:gd name="T27" fmla="*/ 75 h 89"/>
                <a:gd name="T28" fmla="*/ 124 w 652"/>
                <a:gd name="T29" fmla="*/ 43 h 89"/>
                <a:gd name="T30" fmla="*/ 159 w 652"/>
                <a:gd name="T31" fmla="*/ 31 h 89"/>
                <a:gd name="T32" fmla="*/ 153 w 652"/>
                <a:gd name="T33" fmla="*/ 37 h 89"/>
                <a:gd name="T34" fmla="*/ 143 w 652"/>
                <a:gd name="T35" fmla="*/ 52 h 89"/>
                <a:gd name="T36" fmla="*/ 218 w 652"/>
                <a:gd name="T37" fmla="*/ 88 h 89"/>
                <a:gd name="T38" fmla="*/ 184 w 652"/>
                <a:gd name="T39" fmla="*/ 87 h 89"/>
                <a:gd name="T40" fmla="*/ 176 w 652"/>
                <a:gd name="T41" fmla="*/ 1 h 89"/>
                <a:gd name="T42" fmla="*/ 207 w 652"/>
                <a:gd name="T43" fmla="*/ 29 h 89"/>
                <a:gd name="T44" fmla="*/ 217 w 652"/>
                <a:gd name="T45" fmla="*/ 33 h 89"/>
                <a:gd name="T46" fmla="*/ 247 w 652"/>
                <a:gd name="T47" fmla="*/ 68 h 89"/>
                <a:gd name="T48" fmla="*/ 284 w 652"/>
                <a:gd name="T49" fmla="*/ 77 h 89"/>
                <a:gd name="T50" fmla="*/ 271 w 652"/>
                <a:gd name="T51" fmla="*/ 88 h 89"/>
                <a:gd name="T52" fmla="*/ 262 w 652"/>
                <a:gd name="T53" fmla="*/ 27 h 89"/>
                <a:gd name="T54" fmla="*/ 255 w 652"/>
                <a:gd name="T55" fmla="*/ 36 h 89"/>
                <a:gd name="T56" fmla="*/ 327 w 652"/>
                <a:gd name="T57" fmla="*/ 88 h 89"/>
                <a:gd name="T58" fmla="*/ 296 w 652"/>
                <a:gd name="T59" fmla="*/ 35 h 89"/>
                <a:gd name="T60" fmla="*/ 306 w 652"/>
                <a:gd name="T61" fmla="*/ 13 h 89"/>
                <a:gd name="T62" fmla="*/ 331 w 652"/>
                <a:gd name="T63" fmla="*/ 28 h 89"/>
                <a:gd name="T64" fmla="*/ 323 w 652"/>
                <a:gd name="T65" fmla="*/ 80 h 89"/>
                <a:gd name="T66" fmla="*/ 413 w 652"/>
                <a:gd name="T67" fmla="*/ 83 h 89"/>
                <a:gd name="T68" fmla="*/ 369 w 652"/>
                <a:gd name="T69" fmla="*/ 7 h 89"/>
                <a:gd name="T70" fmla="*/ 411 w 652"/>
                <a:gd name="T71" fmla="*/ 15 h 89"/>
                <a:gd name="T72" fmla="*/ 408 w 652"/>
                <a:gd name="T73" fmla="*/ 47 h 89"/>
                <a:gd name="T74" fmla="*/ 413 w 652"/>
                <a:gd name="T75" fmla="*/ 81 h 89"/>
                <a:gd name="T76" fmla="*/ 455 w 652"/>
                <a:gd name="T77" fmla="*/ 87 h 89"/>
                <a:gd name="T78" fmla="*/ 423 w 652"/>
                <a:gd name="T79" fmla="*/ 30 h 89"/>
                <a:gd name="T80" fmla="*/ 434 w 652"/>
                <a:gd name="T81" fmla="*/ 30 h 89"/>
                <a:gd name="T82" fmla="*/ 474 w 652"/>
                <a:gd name="T83" fmla="*/ 28 h 89"/>
                <a:gd name="T84" fmla="*/ 506 w 652"/>
                <a:gd name="T85" fmla="*/ 75 h 89"/>
                <a:gd name="T86" fmla="*/ 540 w 652"/>
                <a:gd name="T87" fmla="*/ 78 h 89"/>
                <a:gd name="T88" fmla="*/ 519 w 652"/>
                <a:gd name="T89" fmla="*/ 89 h 89"/>
                <a:gd name="T90" fmla="*/ 529 w 652"/>
                <a:gd name="T91" fmla="*/ 29 h 89"/>
                <a:gd name="T92" fmla="*/ 506 w 652"/>
                <a:gd name="T93" fmla="*/ 40 h 89"/>
                <a:gd name="T94" fmla="*/ 599 w 652"/>
                <a:gd name="T95" fmla="*/ 88 h 89"/>
                <a:gd name="T96" fmla="*/ 577 w 652"/>
                <a:gd name="T97" fmla="*/ 38 h 89"/>
                <a:gd name="T98" fmla="*/ 559 w 652"/>
                <a:gd name="T99" fmla="*/ 87 h 89"/>
                <a:gd name="T100" fmla="*/ 568 w 652"/>
                <a:gd name="T101" fmla="*/ 29 h 89"/>
                <a:gd name="T102" fmla="*/ 607 w 652"/>
                <a:gd name="T103" fmla="*/ 86 h 89"/>
                <a:gd name="T104" fmla="*/ 629 w 652"/>
                <a:gd name="T105" fmla="*/ 84 h 89"/>
                <a:gd name="T106" fmla="*/ 616 w 652"/>
                <a:gd name="T107" fmla="*/ 28 h 89"/>
                <a:gd name="T108" fmla="*/ 634 w 652"/>
                <a:gd name="T109" fmla="*/ 13 h 89"/>
                <a:gd name="T110" fmla="*/ 651 w 652"/>
                <a:gd name="T111" fmla="*/ 35 h 89"/>
                <a:gd name="T112" fmla="*/ 651 w 652"/>
                <a:gd name="T113" fmla="*/ 7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2" h="89">
                  <a:moveTo>
                    <a:pt x="53" y="64"/>
                  </a:moveTo>
                  <a:cubicBezTo>
                    <a:pt x="53" y="67"/>
                    <a:pt x="53" y="69"/>
                    <a:pt x="52" y="71"/>
                  </a:cubicBezTo>
                  <a:cubicBezTo>
                    <a:pt x="52" y="73"/>
                    <a:pt x="51" y="75"/>
                    <a:pt x="50" y="77"/>
                  </a:cubicBezTo>
                  <a:cubicBezTo>
                    <a:pt x="48" y="79"/>
                    <a:pt x="47" y="80"/>
                    <a:pt x="45" y="81"/>
                  </a:cubicBezTo>
                  <a:cubicBezTo>
                    <a:pt x="44" y="83"/>
                    <a:pt x="42" y="84"/>
                    <a:pt x="40" y="85"/>
                  </a:cubicBezTo>
                  <a:cubicBezTo>
                    <a:pt x="38" y="86"/>
                    <a:pt x="36" y="86"/>
                    <a:pt x="33" y="87"/>
                  </a:cubicBezTo>
                  <a:cubicBezTo>
                    <a:pt x="31" y="87"/>
                    <a:pt x="28" y="87"/>
                    <a:pt x="25" y="87"/>
                  </a:cubicBezTo>
                  <a:lnTo>
                    <a:pt x="4" y="87"/>
                  </a:lnTo>
                  <a:cubicBezTo>
                    <a:pt x="3" y="87"/>
                    <a:pt x="2" y="87"/>
                    <a:pt x="1" y="86"/>
                  </a:cubicBezTo>
                  <a:cubicBezTo>
                    <a:pt x="0" y="86"/>
                    <a:pt x="0" y="85"/>
                    <a:pt x="0" y="83"/>
                  </a:cubicBezTo>
                  <a:lnTo>
                    <a:pt x="0" y="11"/>
                  </a:lnTo>
                  <a:cubicBezTo>
                    <a:pt x="0" y="9"/>
                    <a:pt x="0" y="8"/>
                    <a:pt x="1" y="7"/>
                  </a:cubicBezTo>
                  <a:cubicBezTo>
                    <a:pt x="2" y="7"/>
                    <a:pt x="3" y="6"/>
                    <a:pt x="4" y="6"/>
                  </a:cubicBezTo>
                  <a:lnTo>
                    <a:pt x="22" y="6"/>
                  </a:lnTo>
                  <a:cubicBezTo>
                    <a:pt x="27" y="6"/>
                    <a:pt x="31" y="7"/>
                    <a:pt x="34" y="8"/>
                  </a:cubicBezTo>
                  <a:cubicBezTo>
                    <a:pt x="37" y="9"/>
                    <a:pt x="40" y="10"/>
                    <a:pt x="42" y="12"/>
                  </a:cubicBezTo>
                  <a:cubicBezTo>
                    <a:pt x="44" y="14"/>
                    <a:pt x="46" y="16"/>
                    <a:pt x="47" y="18"/>
                  </a:cubicBezTo>
                  <a:cubicBezTo>
                    <a:pt x="48" y="21"/>
                    <a:pt x="48" y="24"/>
                    <a:pt x="48" y="27"/>
                  </a:cubicBezTo>
                  <a:cubicBezTo>
                    <a:pt x="48" y="29"/>
                    <a:pt x="48" y="31"/>
                    <a:pt x="47" y="32"/>
                  </a:cubicBezTo>
                  <a:cubicBezTo>
                    <a:pt x="47" y="34"/>
                    <a:pt x="46" y="36"/>
                    <a:pt x="45" y="37"/>
                  </a:cubicBezTo>
                  <a:cubicBezTo>
                    <a:pt x="45" y="39"/>
                    <a:pt x="43" y="40"/>
                    <a:pt x="42" y="41"/>
                  </a:cubicBezTo>
                  <a:cubicBezTo>
                    <a:pt x="41" y="42"/>
                    <a:pt x="39" y="43"/>
                    <a:pt x="37" y="44"/>
                  </a:cubicBezTo>
                  <a:cubicBezTo>
                    <a:pt x="40" y="44"/>
                    <a:pt x="42" y="45"/>
                    <a:pt x="44" y="46"/>
                  </a:cubicBezTo>
                  <a:cubicBezTo>
                    <a:pt x="45" y="47"/>
                    <a:pt x="47" y="49"/>
                    <a:pt x="49" y="51"/>
                  </a:cubicBezTo>
                  <a:cubicBezTo>
                    <a:pt x="50" y="52"/>
                    <a:pt x="51" y="54"/>
                    <a:pt x="52" y="57"/>
                  </a:cubicBezTo>
                  <a:cubicBezTo>
                    <a:pt x="53" y="59"/>
                    <a:pt x="53" y="61"/>
                    <a:pt x="53" y="64"/>
                  </a:cubicBezTo>
                  <a:close/>
                  <a:moveTo>
                    <a:pt x="37" y="28"/>
                  </a:moveTo>
                  <a:cubicBezTo>
                    <a:pt x="37" y="26"/>
                    <a:pt x="37" y="24"/>
                    <a:pt x="36" y="23"/>
                  </a:cubicBezTo>
                  <a:cubicBezTo>
                    <a:pt x="36" y="21"/>
                    <a:pt x="35" y="20"/>
                    <a:pt x="34" y="19"/>
                  </a:cubicBezTo>
                  <a:cubicBezTo>
                    <a:pt x="33" y="18"/>
                    <a:pt x="31" y="17"/>
                    <a:pt x="29" y="16"/>
                  </a:cubicBezTo>
                  <a:cubicBezTo>
                    <a:pt x="27" y="15"/>
                    <a:pt x="25" y="15"/>
                    <a:pt x="22" y="15"/>
                  </a:cubicBezTo>
                  <a:lnTo>
                    <a:pt x="11" y="15"/>
                  </a:lnTo>
                  <a:lnTo>
                    <a:pt x="11" y="41"/>
                  </a:lnTo>
                  <a:lnTo>
                    <a:pt x="23" y="41"/>
                  </a:lnTo>
                  <a:cubicBezTo>
                    <a:pt x="26" y="41"/>
                    <a:pt x="28" y="41"/>
                    <a:pt x="30" y="40"/>
                  </a:cubicBezTo>
                  <a:cubicBezTo>
                    <a:pt x="31" y="40"/>
                    <a:pt x="33" y="39"/>
                    <a:pt x="34" y="37"/>
                  </a:cubicBezTo>
                  <a:cubicBezTo>
                    <a:pt x="35" y="36"/>
                    <a:pt x="36" y="35"/>
                    <a:pt x="36" y="33"/>
                  </a:cubicBezTo>
                  <a:cubicBezTo>
                    <a:pt x="37" y="31"/>
                    <a:pt x="37" y="30"/>
                    <a:pt x="37" y="28"/>
                  </a:cubicBezTo>
                  <a:close/>
                  <a:moveTo>
                    <a:pt x="42" y="65"/>
                  </a:moveTo>
                  <a:cubicBezTo>
                    <a:pt x="42" y="62"/>
                    <a:pt x="42" y="60"/>
                    <a:pt x="41" y="58"/>
                  </a:cubicBezTo>
                  <a:cubicBezTo>
                    <a:pt x="40" y="57"/>
                    <a:pt x="39" y="55"/>
                    <a:pt x="37" y="54"/>
                  </a:cubicBezTo>
                  <a:cubicBezTo>
                    <a:pt x="36" y="53"/>
                    <a:pt x="34" y="52"/>
                    <a:pt x="32" y="51"/>
                  </a:cubicBezTo>
                  <a:cubicBezTo>
                    <a:pt x="30" y="50"/>
                    <a:pt x="27" y="50"/>
                    <a:pt x="23" y="50"/>
                  </a:cubicBezTo>
                  <a:lnTo>
                    <a:pt x="11" y="50"/>
                  </a:lnTo>
                  <a:lnTo>
                    <a:pt x="11" y="78"/>
                  </a:lnTo>
                  <a:lnTo>
                    <a:pt x="26" y="78"/>
                  </a:lnTo>
                  <a:cubicBezTo>
                    <a:pt x="29" y="78"/>
                    <a:pt x="31" y="78"/>
                    <a:pt x="33" y="78"/>
                  </a:cubicBezTo>
                  <a:cubicBezTo>
                    <a:pt x="34" y="77"/>
                    <a:pt x="36" y="76"/>
                    <a:pt x="37" y="75"/>
                  </a:cubicBezTo>
                  <a:cubicBezTo>
                    <a:pt x="39" y="74"/>
                    <a:pt x="40" y="72"/>
                    <a:pt x="41" y="71"/>
                  </a:cubicBezTo>
                  <a:cubicBezTo>
                    <a:pt x="42" y="69"/>
                    <a:pt x="42" y="67"/>
                    <a:pt x="42" y="65"/>
                  </a:cubicBezTo>
                  <a:close/>
                  <a:moveTo>
                    <a:pt x="105" y="86"/>
                  </a:moveTo>
                  <a:cubicBezTo>
                    <a:pt x="105" y="86"/>
                    <a:pt x="105" y="87"/>
                    <a:pt x="105" y="87"/>
                  </a:cubicBezTo>
                  <a:cubicBezTo>
                    <a:pt x="104" y="87"/>
                    <a:pt x="104" y="87"/>
                    <a:pt x="103" y="88"/>
                  </a:cubicBezTo>
                  <a:cubicBezTo>
                    <a:pt x="103" y="88"/>
                    <a:pt x="102" y="88"/>
                    <a:pt x="101" y="88"/>
                  </a:cubicBezTo>
                  <a:cubicBezTo>
                    <a:pt x="100" y="88"/>
                    <a:pt x="99" y="88"/>
                    <a:pt x="98" y="88"/>
                  </a:cubicBezTo>
                  <a:cubicBezTo>
                    <a:pt x="97" y="87"/>
                    <a:pt x="97" y="87"/>
                    <a:pt x="97" y="87"/>
                  </a:cubicBezTo>
                  <a:cubicBezTo>
                    <a:pt x="96" y="87"/>
                    <a:pt x="96" y="86"/>
                    <a:pt x="96" y="86"/>
                  </a:cubicBezTo>
                  <a:lnTo>
                    <a:pt x="96" y="80"/>
                  </a:lnTo>
                  <a:cubicBezTo>
                    <a:pt x="94" y="83"/>
                    <a:pt x="91" y="85"/>
                    <a:pt x="88" y="86"/>
                  </a:cubicBezTo>
                  <a:cubicBezTo>
                    <a:pt x="85" y="88"/>
                    <a:pt x="82" y="89"/>
                    <a:pt x="78" y="89"/>
                  </a:cubicBezTo>
                  <a:cubicBezTo>
                    <a:pt x="75" y="89"/>
                    <a:pt x="73" y="88"/>
                    <a:pt x="70" y="87"/>
                  </a:cubicBezTo>
                  <a:cubicBezTo>
                    <a:pt x="68" y="87"/>
                    <a:pt x="66" y="85"/>
                    <a:pt x="64" y="84"/>
                  </a:cubicBezTo>
                  <a:cubicBezTo>
                    <a:pt x="63" y="83"/>
                    <a:pt x="61" y="81"/>
                    <a:pt x="60" y="79"/>
                  </a:cubicBezTo>
                  <a:cubicBezTo>
                    <a:pt x="59" y="77"/>
                    <a:pt x="59" y="74"/>
                    <a:pt x="59" y="71"/>
                  </a:cubicBezTo>
                  <a:cubicBezTo>
                    <a:pt x="59" y="68"/>
                    <a:pt x="60" y="65"/>
                    <a:pt x="61" y="63"/>
                  </a:cubicBezTo>
                  <a:cubicBezTo>
                    <a:pt x="62" y="61"/>
                    <a:pt x="64" y="59"/>
                    <a:pt x="66" y="57"/>
                  </a:cubicBezTo>
                  <a:cubicBezTo>
                    <a:pt x="69" y="56"/>
                    <a:pt x="72" y="55"/>
                    <a:pt x="75" y="54"/>
                  </a:cubicBezTo>
                  <a:cubicBezTo>
                    <a:pt x="79" y="53"/>
                    <a:pt x="83" y="53"/>
                    <a:pt x="87" y="53"/>
                  </a:cubicBezTo>
                  <a:lnTo>
                    <a:pt x="95" y="53"/>
                  </a:lnTo>
                  <a:lnTo>
                    <a:pt x="95" y="48"/>
                  </a:lnTo>
                  <a:cubicBezTo>
                    <a:pt x="95" y="46"/>
                    <a:pt x="95" y="44"/>
                    <a:pt x="94" y="43"/>
                  </a:cubicBezTo>
                  <a:cubicBezTo>
                    <a:pt x="94" y="41"/>
                    <a:pt x="93" y="40"/>
                    <a:pt x="92" y="38"/>
                  </a:cubicBezTo>
                  <a:cubicBezTo>
                    <a:pt x="91" y="37"/>
                    <a:pt x="90" y="36"/>
                    <a:pt x="88" y="36"/>
                  </a:cubicBezTo>
                  <a:cubicBezTo>
                    <a:pt x="86" y="35"/>
                    <a:pt x="84" y="35"/>
                    <a:pt x="82" y="35"/>
                  </a:cubicBezTo>
                  <a:cubicBezTo>
                    <a:pt x="79" y="35"/>
                    <a:pt x="77" y="35"/>
                    <a:pt x="75" y="36"/>
                  </a:cubicBezTo>
                  <a:cubicBezTo>
                    <a:pt x="73" y="37"/>
                    <a:pt x="71" y="37"/>
                    <a:pt x="70" y="38"/>
                  </a:cubicBezTo>
                  <a:cubicBezTo>
                    <a:pt x="68" y="39"/>
                    <a:pt x="67" y="39"/>
                    <a:pt x="66" y="40"/>
                  </a:cubicBezTo>
                  <a:cubicBezTo>
                    <a:pt x="65" y="41"/>
                    <a:pt x="64" y="41"/>
                    <a:pt x="64" y="41"/>
                  </a:cubicBezTo>
                  <a:cubicBezTo>
                    <a:pt x="63" y="41"/>
                    <a:pt x="63" y="41"/>
                    <a:pt x="63" y="41"/>
                  </a:cubicBezTo>
                  <a:cubicBezTo>
                    <a:pt x="63" y="40"/>
                    <a:pt x="62" y="40"/>
                    <a:pt x="62" y="40"/>
                  </a:cubicBezTo>
                  <a:cubicBezTo>
                    <a:pt x="62" y="40"/>
                    <a:pt x="62" y="39"/>
                    <a:pt x="62" y="39"/>
                  </a:cubicBezTo>
                  <a:cubicBezTo>
                    <a:pt x="62" y="38"/>
                    <a:pt x="62" y="38"/>
                    <a:pt x="62" y="37"/>
                  </a:cubicBezTo>
                  <a:cubicBezTo>
                    <a:pt x="62" y="36"/>
                    <a:pt x="62" y="35"/>
                    <a:pt x="62" y="34"/>
                  </a:cubicBezTo>
                  <a:cubicBezTo>
                    <a:pt x="62" y="34"/>
                    <a:pt x="62" y="33"/>
                    <a:pt x="63" y="33"/>
                  </a:cubicBezTo>
                  <a:cubicBezTo>
                    <a:pt x="64" y="32"/>
                    <a:pt x="64" y="32"/>
                    <a:pt x="66" y="31"/>
                  </a:cubicBezTo>
                  <a:cubicBezTo>
                    <a:pt x="67" y="30"/>
                    <a:pt x="69" y="29"/>
                    <a:pt x="71" y="29"/>
                  </a:cubicBezTo>
                  <a:cubicBezTo>
                    <a:pt x="72" y="28"/>
                    <a:pt x="74" y="28"/>
                    <a:pt x="76" y="27"/>
                  </a:cubicBezTo>
                  <a:cubicBezTo>
                    <a:pt x="79" y="27"/>
                    <a:pt x="81" y="27"/>
                    <a:pt x="83" y="27"/>
                  </a:cubicBezTo>
                  <a:cubicBezTo>
                    <a:pt x="87" y="27"/>
                    <a:pt x="90" y="27"/>
                    <a:pt x="93" y="28"/>
                  </a:cubicBezTo>
                  <a:cubicBezTo>
                    <a:pt x="96" y="29"/>
                    <a:pt x="98" y="30"/>
                    <a:pt x="100" y="32"/>
                  </a:cubicBezTo>
                  <a:cubicBezTo>
                    <a:pt x="102" y="34"/>
                    <a:pt x="103" y="36"/>
                    <a:pt x="104" y="39"/>
                  </a:cubicBezTo>
                  <a:cubicBezTo>
                    <a:pt x="105" y="41"/>
                    <a:pt x="105" y="44"/>
                    <a:pt x="105" y="48"/>
                  </a:cubicBezTo>
                  <a:lnTo>
                    <a:pt x="105" y="86"/>
                  </a:lnTo>
                  <a:close/>
                  <a:moveTo>
                    <a:pt x="95" y="60"/>
                  </a:moveTo>
                  <a:lnTo>
                    <a:pt x="86" y="60"/>
                  </a:lnTo>
                  <a:cubicBezTo>
                    <a:pt x="83" y="60"/>
                    <a:pt x="81" y="60"/>
                    <a:pt x="79" y="61"/>
                  </a:cubicBezTo>
                  <a:cubicBezTo>
                    <a:pt x="77" y="61"/>
                    <a:pt x="75" y="62"/>
                    <a:pt x="73" y="63"/>
                  </a:cubicBezTo>
                  <a:cubicBezTo>
                    <a:pt x="72" y="64"/>
                    <a:pt x="71" y="65"/>
                    <a:pt x="70" y="66"/>
                  </a:cubicBezTo>
                  <a:cubicBezTo>
                    <a:pt x="70" y="68"/>
                    <a:pt x="69" y="69"/>
                    <a:pt x="69" y="71"/>
                  </a:cubicBezTo>
                  <a:cubicBezTo>
                    <a:pt x="69" y="74"/>
                    <a:pt x="70" y="76"/>
                    <a:pt x="72" y="78"/>
                  </a:cubicBezTo>
                  <a:cubicBezTo>
                    <a:pt x="74" y="80"/>
                    <a:pt x="77" y="80"/>
                    <a:pt x="80" y="80"/>
                  </a:cubicBezTo>
                  <a:cubicBezTo>
                    <a:pt x="83" y="80"/>
                    <a:pt x="85" y="80"/>
                    <a:pt x="88" y="78"/>
                  </a:cubicBezTo>
                  <a:cubicBezTo>
                    <a:pt x="90" y="77"/>
                    <a:pt x="92" y="75"/>
                    <a:pt x="95" y="72"/>
                  </a:cubicBezTo>
                  <a:lnTo>
                    <a:pt x="95" y="60"/>
                  </a:lnTo>
                  <a:close/>
                  <a:moveTo>
                    <a:pt x="162" y="70"/>
                  </a:moveTo>
                  <a:cubicBezTo>
                    <a:pt x="162" y="73"/>
                    <a:pt x="162" y="76"/>
                    <a:pt x="160" y="78"/>
                  </a:cubicBezTo>
                  <a:cubicBezTo>
                    <a:pt x="159" y="80"/>
                    <a:pt x="158" y="82"/>
                    <a:pt x="156" y="84"/>
                  </a:cubicBezTo>
                  <a:cubicBezTo>
                    <a:pt x="154" y="85"/>
                    <a:pt x="152" y="87"/>
                    <a:pt x="149" y="87"/>
                  </a:cubicBezTo>
                  <a:cubicBezTo>
                    <a:pt x="146" y="88"/>
                    <a:pt x="143" y="89"/>
                    <a:pt x="140" y="89"/>
                  </a:cubicBezTo>
                  <a:cubicBezTo>
                    <a:pt x="138" y="89"/>
                    <a:pt x="136" y="88"/>
                    <a:pt x="134" y="88"/>
                  </a:cubicBezTo>
                  <a:cubicBezTo>
                    <a:pt x="132" y="88"/>
                    <a:pt x="131" y="87"/>
                    <a:pt x="129" y="87"/>
                  </a:cubicBezTo>
                  <a:cubicBezTo>
                    <a:pt x="128" y="86"/>
                    <a:pt x="127" y="86"/>
                    <a:pt x="126" y="85"/>
                  </a:cubicBezTo>
                  <a:cubicBezTo>
                    <a:pt x="125" y="85"/>
                    <a:pt x="124" y="84"/>
                    <a:pt x="124" y="84"/>
                  </a:cubicBezTo>
                  <a:cubicBezTo>
                    <a:pt x="123" y="84"/>
                    <a:pt x="123" y="83"/>
                    <a:pt x="123" y="82"/>
                  </a:cubicBezTo>
                  <a:cubicBezTo>
                    <a:pt x="122" y="81"/>
                    <a:pt x="122" y="80"/>
                    <a:pt x="122" y="79"/>
                  </a:cubicBezTo>
                  <a:cubicBezTo>
                    <a:pt x="122" y="78"/>
                    <a:pt x="122" y="78"/>
                    <a:pt x="122" y="77"/>
                  </a:cubicBezTo>
                  <a:cubicBezTo>
                    <a:pt x="122" y="77"/>
                    <a:pt x="123" y="76"/>
                    <a:pt x="123" y="76"/>
                  </a:cubicBezTo>
                  <a:cubicBezTo>
                    <a:pt x="123" y="75"/>
                    <a:pt x="123" y="75"/>
                    <a:pt x="123" y="75"/>
                  </a:cubicBezTo>
                  <a:cubicBezTo>
                    <a:pt x="123" y="75"/>
                    <a:pt x="124" y="75"/>
                    <a:pt x="124" y="75"/>
                  </a:cubicBezTo>
                  <a:cubicBezTo>
                    <a:pt x="124" y="75"/>
                    <a:pt x="125" y="75"/>
                    <a:pt x="126" y="76"/>
                  </a:cubicBezTo>
                  <a:cubicBezTo>
                    <a:pt x="127" y="76"/>
                    <a:pt x="128" y="77"/>
                    <a:pt x="129" y="78"/>
                  </a:cubicBezTo>
                  <a:cubicBezTo>
                    <a:pt x="131" y="78"/>
                    <a:pt x="132" y="79"/>
                    <a:pt x="134" y="79"/>
                  </a:cubicBezTo>
                  <a:cubicBezTo>
                    <a:pt x="136" y="80"/>
                    <a:pt x="138" y="80"/>
                    <a:pt x="140" y="80"/>
                  </a:cubicBezTo>
                  <a:cubicBezTo>
                    <a:pt x="142" y="80"/>
                    <a:pt x="144" y="80"/>
                    <a:pt x="145" y="80"/>
                  </a:cubicBezTo>
                  <a:cubicBezTo>
                    <a:pt x="146" y="79"/>
                    <a:pt x="148" y="79"/>
                    <a:pt x="149" y="78"/>
                  </a:cubicBezTo>
                  <a:cubicBezTo>
                    <a:pt x="150" y="77"/>
                    <a:pt x="150" y="76"/>
                    <a:pt x="151" y="75"/>
                  </a:cubicBezTo>
                  <a:cubicBezTo>
                    <a:pt x="152" y="74"/>
                    <a:pt x="152" y="73"/>
                    <a:pt x="152" y="71"/>
                  </a:cubicBezTo>
                  <a:cubicBezTo>
                    <a:pt x="152" y="70"/>
                    <a:pt x="151" y="68"/>
                    <a:pt x="151" y="67"/>
                  </a:cubicBezTo>
                  <a:cubicBezTo>
                    <a:pt x="150" y="66"/>
                    <a:pt x="149" y="65"/>
                    <a:pt x="147" y="64"/>
                  </a:cubicBezTo>
                  <a:cubicBezTo>
                    <a:pt x="146" y="64"/>
                    <a:pt x="145" y="63"/>
                    <a:pt x="143" y="62"/>
                  </a:cubicBezTo>
                  <a:cubicBezTo>
                    <a:pt x="141" y="62"/>
                    <a:pt x="140" y="61"/>
                    <a:pt x="138" y="60"/>
                  </a:cubicBezTo>
                  <a:cubicBezTo>
                    <a:pt x="136" y="59"/>
                    <a:pt x="134" y="59"/>
                    <a:pt x="133" y="58"/>
                  </a:cubicBezTo>
                  <a:cubicBezTo>
                    <a:pt x="131" y="57"/>
                    <a:pt x="129" y="56"/>
                    <a:pt x="128" y="54"/>
                  </a:cubicBezTo>
                  <a:cubicBezTo>
                    <a:pt x="127" y="53"/>
                    <a:pt x="126" y="52"/>
                    <a:pt x="125" y="50"/>
                  </a:cubicBezTo>
                  <a:cubicBezTo>
                    <a:pt x="124" y="48"/>
                    <a:pt x="124" y="46"/>
                    <a:pt x="124" y="43"/>
                  </a:cubicBezTo>
                  <a:cubicBezTo>
                    <a:pt x="124" y="41"/>
                    <a:pt x="124" y="39"/>
                    <a:pt x="125" y="37"/>
                  </a:cubicBezTo>
                  <a:cubicBezTo>
                    <a:pt x="126" y="35"/>
                    <a:pt x="127" y="33"/>
                    <a:pt x="129" y="32"/>
                  </a:cubicBezTo>
                  <a:cubicBezTo>
                    <a:pt x="130" y="30"/>
                    <a:pt x="133" y="29"/>
                    <a:pt x="135" y="28"/>
                  </a:cubicBezTo>
                  <a:cubicBezTo>
                    <a:pt x="138" y="27"/>
                    <a:pt x="141" y="27"/>
                    <a:pt x="144" y="27"/>
                  </a:cubicBezTo>
                  <a:cubicBezTo>
                    <a:pt x="146" y="27"/>
                    <a:pt x="147" y="27"/>
                    <a:pt x="149" y="27"/>
                  </a:cubicBezTo>
                  <a:cubicBezTo>
                    <a:pt x="150" y="27"/>
                    <a:pt x="151" y="28"/>
                    <a:pt x="153" y="28"/>
                  </a:cubicBezTo>
                  <a:cubicBezTo>
                    <a:pt x="154" y="28"/>
                    <a:pt x="155" y="29"/>
                    <a:pt x="156" y="29"/>
                  </a:cubicBezTo>
                  <a:cubicBezTo>
                    <a:pt x="157" y="30"/>
                    <a:pt x="157" y="30"/>
                    <a:pt x="158" y="30"/>
                  </a:cubicBezTo>
                  <a:cubicBezTo>
                    <a:pt x="158" y="31"/>
                    <a:pt x="158" y="31"/>
                    <a:pt x="159" y="31"/>
                  </a:cubicBezTo>
                  <a:cubicBezTo>
                    <a:pt x="159" y="32"/>
                    <a:pt x="159" y="32"/>
                    <a:pt x="159" y="32"/>
                  </a:cubicBezTo>
                  <a:cubicBezTo>
                    <a:pt x="159" y="32"/>
                    <a:pt x="159" y="33"/>
                    <a:pt x="159" y="33"/>
                  </a:cubicBezTo>
                  <a:cubicBezTo>
                    <a:pt x="159" y="34"/>
                    <a:pt x="159" y="34"/>
                    <a:pt x="159" y="35"/>
                  </a:cubicBezTo>
                  <a:cubicBezTo>
                    <a:pt x="159" y="36"/>
                    <a:pt x="159" y="36"/>
                    <a:pt x="159" y="37"/>
                  </a:cubicBezTo>
                  <a:cubicBezTo>
                    <a:pt x="159" y="37"/>
                    <a:pt x="159" y="38"/>
                    <a:pt x="159" y="38"/>
                  </a:cubicBezTo>
                  <a:cubicBezTo>
                    <a:pt x="159" y="38"/>
                    <a:pt x="158" y="39"/>
                    <a:pt x="158" y="39"/>
                  </a:cubicBezTo>
                  <a:cubicBezTo>
                    <a:pt x="158" y="39"/>
                    <a:pt x="158" y="39"/>
                    <a:pt x="158" y="39"/>
                  </a:cubicBezTo>
                  <a:cubicBezTo>
                    <a:pt x="157" y="39"/>
                    <a:pt x="157" y="39"/>
                    <a:pt x="156" y="38"/>
                  </a:cubicBezTo>
                  <a:cubicBezTo>
                    <a:pt x="155" y="38"/>
                    <a:pt x="154" y="37"/>
                    <a:pt x="153" y="37"/>
                  </a:cubicBezTo>
                  <a:cubicBezTo>
                    <a:pt x="152" y="36"/>
                    <a:pt x="151" y="36"/>
                    <a:pt x="149" y="35"/>
                  </a:cubicBezTo>
                  <a:cubicBezTo>
                    <a:pt x="148" y="35"/>
                    <a:pt x="146" y="35"/>
                    <a:pt x="144" y="35"/>
                  </a:cubicBezTo>
                  <a:cubicBezTo>
                    <a:pt x="142" y="35"/>
                    <a:pt x="141" y="35"/>
                    <a:pt x="139" y="35"/>
                  </a:cubicBezTo>
                  <a:cubicBezTo>
                    <a:pt x="138" y="36"/>
                    <a:pt x="137" y="36"/>
                    <a:pt x="136" y="37"/>
                  </a:cubicBezTo>
                  <a:cubicBezTo>
                    <a:pt x="135" y="38"/>
                    <a:pt x="135" y="39"/>
                    <a:pt x="134" y="40"/>
                  </a:cubicBezTo>
                  <a:cubicBezTo>
                    <a:pt x="134" y="41"/>
                    <a:pt x="133" y="42"/>
                    <a:pt x="133" y="43"/>
                  </a:cubicBezTo>
                  <a:cubicBezTo>
                    <a:pt x="133" y="44"/>
                    <a:pt x="134" y="46"/>
                    <a:pt x="135" y="47"/>
                  </a:cubicBezTo>
                  <a:cubicBezTo>
                    <a:pt x="136" y="48"/>
                    <a:pt x="137" y="49"/>
                    <a:pt x="138" y="50"/>
                  </a:cubicBezTo>
                  <a:cubicBezTo>
                    <a:pt x="139" y="51"/>
                    <a:pt x="141" y="51"/>
                    <a:pt x="143" y="52"/>
                  </a:cubicBezTo>
                  <a:cubicBezTo>
                    <a:pt x="144" y="53"/>
                    <a:pt x="146" y="53"/>
                    <a:pt x="148" y="54"/>
                  </a:cubicBezTo>
                  <a:cubicBezTo>
                    <a:pt x="150" y="55"/>
                    <a:pt x="151" y="56"/>
                    <a:pt x="153" y="57"/>
                  </a:cubicBezTo>
                  <a:cubicBezTo>
                    <a:pt x="155" y="57"/>
                    <a:pt x="156" y="58"/>
                    <a:pt x="158" y="60"/>
                  </a:cubicBezTo>
                  <a:cubicBezTo>
                    <a:pt x="159" y="61"/>
                    <a:pt x="160" y="62"/>
                    <a:pt x="161" y="64"/>
                  </a:cubicBezTo>
                  <a:cubicBezTo>
                    <a:pt x="162" y="66"/>
                    <a:pt x="162" y="68"/>
                    <a:pt x="162" y="70"/>
                  </a:cubicBezTo>
                  <a:close/>
                  <a:moveTo>
                    <a:pt x="221" y="86"/>
                  </a:moveTo>
                  <a:cubicBezTo>
                    <a:pt x="221" y="86"/>
                    <a:pt x="221" y="86"/>
                    <a:pt x="221" y="87"/>
                  </a:cubicBezTo>
                  <a:cubicBezTo>
                    <a:pt x="221" y="87"/>
                    <a:pt x="220" y="87"/>
                    <a:pt x="220" y="87"/>
                  </a:cubicBezTo>
                  <a:cubicBezTo>
                    <a:pt x="219" y="87"/>
                    <a:pt x="219" y="87"/>
                    <a:pt x="218" y="88"/>
                  </a:cubicBezTo>
                  <a:cubicBezTo>
                    <a:pt x="217" y="88"/>
                    <a:pt x="217" y="88"/>
                    <a:pt x="215" y="88"/>
                  </a:cubicBezTo>
                  <a:cubicBezTo>
                    <a:pt x="214" y="88"/>
                    <a:pt x="213" y="88"/>
                    <a:pt x="213" y="88"/>
                  </a:cubicBezTo>
                  <a:cubicBezTo>
                    <a:pt x="212" y="88"/>
                    <a:pt x="211" y="87"/>
                    <a:pt x="211" y="87"/>
                  </a:cubicBezTo>
                  <a:cubicBezTo>
                    <a:pt x="210" y="87"/>
                    <a:pt x="210" y="87"/>
                    <a:pt x="210" y="87"/>
                  </a:cubicBezTo>
                  <a:cubicBezTo>
                    <a:pt x="209" y="86"/>
                    <a:pt x="209" y="86"/>
                    <a:pt x="209" y="86"/>
                  </a:cubicBezTo>
                  <a:lnTo>
                    <a:pt x="185" y="55"/>
                  </a:lnTo>
                  <a:lnTo>
                    <a:pt x="185" y="86"/>
                  </a:lnTo>
                  <a:cubicBezTo>
                    <a:pt x="185" y="86"/>
                    <a:pt x="185" y="86"/>
                    <a:pt x="185" y="87"/>
                  </a:cubicBezTo>
                  <a:cubicBezTo>
                    <a:pt x="185" y="87"/>
                    <a:pt x="184" y="87"/>
                    <a:pt x="184" y="87"/>
                  </a:cubicBezTo>
                  <a:cubicBezTo>
                    <a:pt x="184" y="87"/>
                    <a:pt x="183" y="87"/>
                    <a:pt x="182" y="88"/>
                  </a:cubicBezTo>
                  <a:cubicBezTo>
                    <a:pt x="182" y="88"/>
                    <a:pt x="181" y="88"/>
                    <a:pt x="180" y="88"/>
                  </a:cubicBezTo>
                  <a:cubicBezTo>
                    <a:pt x="179" y="88"/>
                    <a:pt x="178" y="88"/>
                    <a:pt x="177" y="88"/>
                  </a:cubicBezTo>
                  <a:cubicBezTo>
                    <a:pt x="177" y="87"/>
                    <a:pt x="176" y="87"/>
                    <a:pt x="176" y="87"/>
                  </a:cubicBezTo>
                  <a:cubicBezTo>
                    <a:pt x="175" y="87"/>
                    <a:pt x="175" y="87"/>
                    <a:pt x="175" y="87"/>
                  </a:cubicBezTo>
                  <a:cubicBezTo>
                    <a:pt x="175" y="86"/>
                    <a:pt x="175" y="86"/>
                    <a:pt x="175" y="86"/>
                  </a:cubicBezTo>
                  <a:lnTo>
                    <a:pt x="175" y="2"/>
                  </a:lnTo>
                  <a:cubicBezTo>
                    <a:pt x="175" y="2"/>
                    <a:pt x="175" y="2"/>
                    <a:pt x="175" y="1"/>
                  </a:cubicBezTo>
                  <a:cubicBezTo>
                    <a:pt x="175" y="1"/>
                    <a:pt x="175" y="1"/>
                    <a:pt x="176" y="1"/>
                  </a:cubicBezTo>
                  <a:cubicBezTo>
                    <a:pt x="176" y="1"/>
                    <a:pt x="177" y="0"/>
                    <a:pt x="177" y="0"/>
                  </a:cubicBezTo>
                  <a:cubicBezTo>
                    <a:pt x="178" y="0"/>
                    <a:pt x="179" y="0"/>
                    <a:pt x="180" y="0"/>
                  </a:cubicBezTo>
                  <a:cubicBezTo>
                    <a:pt x="181" y="0"/>
                    <a:pt x="182" y="0"/>
                    <a:pt x="182" y="0"/>
                  </a:cubicBezTo>
                  <a:cubicBezTo>
                    <a:pt x="183" y="0"/>
                    <a:pt x="184" y="1"/>
                    <a:pt x="184" y="1"/>
                  </a:cubicBezTo>
                  <a:cubicBezTo>
                    <a:pt x="184" y="1"/>
                    <a:pt x="185" y="1"/>
                    <a:pt x="185" y="1"/>
                  </a:cubicBezTo>
                  <a:cubicBezTo>
                    <a:pt x="185" y="2"/>
                    <a:pt x="185" y="2"/>
                    <a:pt x="185" y="2"/>
                  </a:cubicBezTo>
                  <a:lnTo>
                    <a:pt x="185" y="53"/>
                  </a:lnTo>
                  <a:lnTo>
                    <a:pt x="206" y="30"/>
                  </a:lnTo>
                  <a:cubicBezTo>
                    <a:pt x="207" y="29"/>
                    <a:pt x="207" y="29"/>
                    <a:pt x="207" y="29"/>
                  </a:cubicBezTo>
                  <a:cubicBezTo>
                    <a:pt x="208" y="28"/>
                    <a:pt x="208" y="28"/>
                    <a:pt x="209" y="28"/>
                  </a:cubicBezTo>
                  <a:cubicBezTo>
                    <a:pt x="209" y="28"/>
                    <a:pt x="210" y="28"/>
                    <a:pt x="211" y="28"/>
                  </a:cubicBezTo>
                  <a:cubicBezTo>
                    <a:pt x="211" y="28"/>
                    <a:pt x="212" y="28"/>
                    <a:pt x="213" y="28"/>
                  </a:cubicBezTo>
                  <a:cubicBezTo>
                    <a:pt x="214" y="28"/>
                    <a:pt x="215" y="28"/>
                    <a:pt x="216" y="28"/>
                  </a:cubicBezTo>
                  <a:cubicBezTo>
                    <a:pt x="216" y="28"/>
                    <a:pt x="217" y="28"/>
                    <a:pt x="217" y="28"/>
                  </a:cubicBezTo>
                  <a:cubicBezTo>
                    <a:pt x="218" y="28"/>
                    <a:pt x="218" y="28"/>
                    <a:pt x="218" y="29"/>
                  </a:cubicBezTo>
                  <a:cubicBezTo>
                    <a:pt x="219" y="29"/>
                    <a:pt x="219" y="29"/>
                    <a:pt x="219" y="29"/>
                  </a:cubicBezTo>
                  <a:cubicBezTo>
                    <a:pt x="219" y="30"/>
                    <a:pt x="219" y="30"/>
                    <a:pt x="218" y="31"/>
                  </a:cubicBezTo>
                  <a:cubicBezTo>
                    <a:pt x="218" y="31"/>
                    <a:pt x="218" y="32"/>
                    <a:pt x="217" y="33"/>
                  </a:cubicBezTo>
                  <a:lnTo>
                    <a:pt x="197" y="53"/>
                  </a:lnTo>
                  <a:lnTo>
                    <a:pt x="219" y="83"/>
                  </a:lnTo>
                  <a:cubicBezTo>
                    <a:pt x="220" y="83"/>
                    <a:pt x="220" y="84"/>
                    <a:pt x="221" y="84"/>
                  </a:cubicBezTo>
                  <a:cubicBezTo>
                    <a:pt x="221" y="85"/>
                    <a:pt x="221" y="85"/>
                    <a:pt x="221" y="86"/>
                  </a:cubicBezTo>
                  <a:close/>
                  <a:moveTo>
                    <a:pt x="287" y="55"/>
                  </a:moveTo>
                  <a:cubicBezTo>
                    <a:pt x="287" y="57"/>
                    <a:pt x="286" y="58"/>
                    <a:pt x="286" y="59"/>
                  </a:cubicBezTo>
                  <a:cubicBezTo>
                    <a:pt x="285" y="59"/>
                    <a:pt x="284" y="60"/>
                    <a:pt x="283" y="60"/>
                  </a:cubicBezTo>
                  <a:lnTo>
                    <a:pt x="246" y="60"/>
                  </a:lnTo>
                  <a:cubicBezTo>
                    <a:pt x="246" y="63"/>
                    <a:pt x="246" y="66"/>
                    <a:pt x="247" y="68"/>
                  </a:cubicBezTo>
                  <a:cubicBezTo>
                    <a:pt x="247" y="71"/>
                    <a:pt x="248" y="73"/>
                    <a:pt x="250" y="75"/>
                  </a:cubicBezTo>
                  <a:cubicBezTo>
                    <a:pt x="251" y="76"/>
                    <a:pt x="253" y="78"/>
                    <a:pt x="255" y="79"/>
                  </a:cubicBezTo>
                  <a:cubicBezTo>
                    <a:pt x="258" y="80"/>
                    <a:pt x="261" y="80"/>
                    <a:pt x="264" y="80"/>
                  </a:cubicBezTo>
                  <a:cubicBezTo>
                    <a:pt x="267" y="80"/>
                    <a:pt x="269" y="80"/>
                    <a:pt x="271" y="79"/>
                  </a:cubicBezTo>
                  <a:cubicBezTo>
                    <a:pt x="273" y="79"/>
                    <a:pt x="275" y="79"/>
                    <a:pt x="277" y="78"/>
                  </a:cubicBezTo>
                  <a:cubicBezTo>
                    <a:pt x="278" y="77"/>
                    <a:pt x="279" y="77"/>
                    <a:pt x="280" y="77"/>
                  </a:cubicBezTo>
                  <a:cubicBezTo>
                    <a:pt x="281" y="76"/>
                    <a:pt x="282" y="76"/>
                    <a:pt x="283" y="76"/>
                  </a:cubicBezTo>
                  <a:cubicBezTo>
                    <a:pt x="283" y="76"/>
                    <a:pt x="283" y="76"/>
                    <a:pt x="283" y="76"/>
                  </a:cubicBezTo>
                  <a:cubicBezTo>
                    <a:pt x="284" y="76"/>
                    <a:pt x="284" y="76"/>
                    <a:pt x="284" y="77"/>
                  </a:cubicBezTo>
                  <a:cubicBezTo>
                    <a:pt x="284" y="77"/>
                    <a:pt x="284" y="77"/>
                    <a:pt x="284" y="78"/>
                  </a:cubicBezTo>
                  <a:cubicBezTo>
                    <a:pt x="284" y="79"/>
                    <a:pt x="284" y="79"/>
                    <a:pt x="284" y="80"/>
                  </a:cubicBezTo>
                  <a:cubicBezTo>
                    <a:pt x="284" y="80"/>
                    <a:pt x="284" y="81"/>
                    <a:pt x="284" y="81"/>
                  </a:cubicBezTo>
                  <a:cubicBezTo>
                    <a:pt x="284" y="82"/>
                    <a:pt x="284" y="82"/>
                    <a:pt x="284" y="82"/>
                  </a:cubicBezTo>
                  <a:cubicBezTo>
                    <a:pt x="284" y="83"/>
                    <a:pt x="284" y="83"/>
                    <a:pt x="284" y="83"/>
                  </a:cubicBezTo>
                  <a:cubicBezTo>
                    <a:pt x="284" y="83"/>
                    <a:pt x="284" y="84"/>
                    <a:pt x="283" y="84"/>
                  </a:cubicBezTo>
                  <a:cubicBezTo>
                    <a:pt x="283" y="84"/>
                    <a:pt x="282" y="85"/>
                    <a:pt x="281" y="85"/>
                  </a:cubicBezTo>
                  <a:cubicBezTo>
                    <a:pt x="280" y="86"/>
                    <a:pt x="279" y="86"/>
                    <a:pt x="277" y="87"/>
                  </a:cubicBezTo>
                  <a:cubicBezTo>
                    <a:pt x="275" y="87"/>
                    <a:pt x="273" y="88"/>
                    <a:pt x="271" y="88"/>
                  </a:cubicBezTo>
                  <a:cubicBezTo>
                    <a:pt x="268" y="88"/>
                    <a:pt x="266" y="89"/>
                    <a:pt x="263" y="89"/>
                  </a:cubicBezTo>
                  <a:cubicBezTo>
                    <a:pt x="258" y="89"/>
                    <a:pt x="254" y="88"/>
                    <a:pt x="251" y="87"/>
                  </a:cubicBezTo>
                  <a:cubicBezTo>
                    <a:pt x="247" y="85"/>
                    <a:pt x="245" y="83"/>
                    <a:pt x="242" y="81"/>
                  </a:cubicBezTo>
                  <a:cubicBezTo>
                    <a:pt x="240" y="78"/>
                    <a:pt x="238" y="75"/>
                    <a:pt x="237" y="71"/>
                  </a:cubicBezTo>
                  <a:cubicBezTo>
                    <a:pt x="236" y="67"/>
                    <a:pt x="235" y="63"/>
                    <a:pt x="235" y="58"/>
                  </a:cubicBezTo>
                  <a:cubicBezTo>
                    <a:pt x="235" y="53"/>
                    <a:pt x="236" y="49"/>
                    <a:pt x="237" y="45"/>
                  </a:cubicBezTo>
                  <a:cubicBezTo>
                    <a:pt x="238" y="41"/>
                    <a:pt x="240" y="38"/>
                    <a:pt x="242" y="35"/>
                  </a:cubicBezTo>
                  <a:cubicBezTo>
                    <a:pt x="245" y="32"/>
                    <a:pt x="247" y="30"/>
                    <a:pt x="251" y="29"/>
                  </a:cubicBezTo>
                  <a:cubicBezTo>
                    <a:pt x="254" y="27"/>
                    <a:pt x="258" y="27"/>
                    <a:pt x="262" y="27"/>
                  </a:cubicBezTo>
                  <a:cubicBezTo>
                    <a:pt x="266" y="27"/>
                    <a:pt x="270" y="27"/>
                    <a:pt x="273" y="29"/>
                  </a:cubicBezTo>
                  <a:cubicBezTo>
                    <a:pt x="276" y="30"/>
                    <a:pt x="279" y="32"/>
                    <a:pt x="281" y="35"/>
                  </a:cubicBezTo>
                  <a:cubicBezTo>
                    <a:pt x="283" y="37"/>
                    <a:pt x="284" y="40"/>
                    <a:pt x="285" y="43"/>
                  </a:cubicBezTo>
                  <a:cubicBezTo>
                    <a:pt x="286" y="46"/>
                    <a:pt x="287" y="50"/>
                    <a:pt x="287" y="53"/>
                  </a:cubicBezTo>
                  <a:lnTo>
                    <a:pt x="287" y="55"/>
                  </a:lnTo>
                  <a:close/>
                  <a:moveTo>
                    <a:pt x="276" y="52"/>
                  </a:moveTo>
                  <a:cubicBezTo>
                    <a:pt x="276" y="47"/>
                    <a:pt x="275" y="42"/>
                    <a:pt x="273" y="39"/>
                  </a:cubicBezTo>
                  <a:cubicBezTo>
                    <a:pt x="270" y="36"/>
                    <a:pt x="266" y="35"/>
                    <a:pt x="261" y="35"/>
                  </a:cubicBezTo>
                  <a:cubicBezTo>
                    <a:pt x="259" y="35"/>
                    <a:pt x="257" y="35"/>
                    <a:pt x="255" y="36"/>
                  </a:cubicBezTo>
                  <a:cubicBezTo>
                    <a:pt x="253" y="37"/>
                    <a:pt x="251" y="38"/>
                    <a:pt x="250" y="40"/>
                  </a:cubicBezTo>
                  <a:cubicBezTo>
                    <a:pt x="249" y="42"/>
                    <a:pt x="248" y="43"/>
                    <a:pt x="247" y="46"/>
                  </a:cubicBezTo>
                  <a:cubicBezTo>
                    <a:pt x="246" y="48"/>
                    <a:pt x="246" y="50"/>
                    <a:pt x="246" y="52"/>
                  </a:cubicBezTo>
                  <a:lnTo>
                    <a:pt x="276" y="52"/>
                  </a:lnTo>
                  <a:close/>
                  <a:moveTo>
                    <a:pt x="332" y="82"/>
                  </a:moveTo>
                  <a:cubicBezTo>
                    <a:pt x="332" y="83"/>
                    <a:pt x="332" y="84"/>
                    <a:pt x="332" y="85"/>
                  </a:cubicBezTo>
                  <a:cubicBezTo>
                    <a:pt x="332" y="85"/>
                    <a:pt x="331" y="86"/>
                    <a:pt x="331" y="86"/>
                  </a:cubicBezTo>
                  <a:cubicBezTo>
                    <a:pt x="331" y="86"/>
                    <a:pt x="330" y="87"/>
                    <a:pt x="329" y="87"/>
                  </a:cubicBezTo>
                  <a:cubicBezTo>
                    <a:pt x="329" y="87"/>
                    <a:pt x="328" y="88"/>
                    <a:pt x="327" y="88"/>
                  </a:cubicBezTo>
                  <a:cubicBezTo>
                    <a:pt x="326" y="88"/>
                    <a:pt x="325" y="88"/>
                    <a:pt x="324" y="88"/>
                  </a:cubicBezTo>
                  <a:cubicBezTo>
                    <a:pt x="324" y="88"/>
                    <a:pt x="323" y="88"/>
                    <a:pt x="322" y="88"/>
                  </a:cubicBezTo>
                  <a:cubicBezTo>
                    <a:pt x="319" y="88"/>
                    <a:pt x="316" y="88"/>
                    <a:pt x="314" y="87"/>
                  </a:cubicBezTo>
                  <a:cubicBezTo>
                    <a:pt x="312" y="86"/>
                    <a:pt x="310" y="85"/>
                    <a:pt x="309" y="84"/>
                  </a:cubicBezTo>
                  <a:cubicBezTo>
                    <a:pt x="308" y="82"/>
                    <a:pt x="307" y="80"/>
                    <a:pt x="306" y="78"/>
                  </a:cubicBezTo>
                  <a:cubicBezTo>
                    <a:pt x="305" y="75"/>
                    <a:pt x="305" y="73"/>
                    <a:pt x="305" y="69"/>
                  </a:cubicBezTo>
                  <a:lnTo>
                    <a:pt x="305" y="36"/>
                  </a:lnTo>
                  <a:lnTo>
                    <a:pt x="297" y="36"/>
                  </a:lnTo>
                  <a:cubicBezTo>
                    <a:pt x="297" y="36"/>
                    <a:pt x="296" y="36"/>
                    <a:pt x="296" y="35"/>
                  </a:cubicBezTo>
                  <a:cubicBezTo>
                    <a:pt x="295" y="35"/>
                    <a:pt x="295" y="34"/>
                    <a:pt x="295" y="32"/>
                  </a:cubicBezTo>
                  <a:cubicBezTo>
                    <a:pt x="295" y="31"/>
                    <a:pt x="295" y="31"/>
                    <a:pt x="295" y="30"/>
                  </a:cubicBezTo>
                  <a:cubicBezTo>
                    <a:pt x="296" y="30"/>
                    <a:pt x="296" y="29"/>
                    <a:pt x="296" y="29"/>
                  </a:cubicBezTo>
                  <a:cubicBezTo>
                    <a:pt x="296" y="29"/>
                    <a:pt x="296" y="28"/>
                    <a:pt x="296" y="28"/>
                  </a:cubicBezTo>
                  <a:cubicBezTo>
                    <a:pt x="297" y="28"/>
                    <a:pt x="297" y="28"/>
                    <a:pt x="297" y="28"/>
                  </a:cubicBezTo>
                  <a:lnTo>
                    <a:pt x="305" y="28"/>
                  </a:lnTo>
                  <a:lnTo>
                    <a:pt x="305" y="15"/>
                  </a:lnTo>
                  <a:cubicBezTo>
                    <a:pt x="305" y="14"/>
                    <a:pt x="305" y="14"/>
                    <a:pt x="305" y="14"/>
                  </a:cubicBezTo>
                  <a:cubicBezTo>
                    <a:pt x="306" y="13"/>
                    <a:pt x="306" y="13"/>
                    <a:pt x="306" y="13"/>
                  </a:cubicBezTo>
                  <a:cubicBezTo>
                    <a:pt x="307" y="13"/>
                    <a:pt x="307" y="13"/>
                    <a:pt x="308" y="13"/>
                  </a:cubicBezTo>
                  <a:cubicBezTo>
                    <a:pt x="308" y="13"/>
                    <a:pt x="309" y="13"/>
                    <a:pt x="310" y="13"/>
                  </a:cubicBezTo>
                  <a:cubicBezTo>
                    <a:pt x="311" y="13"/>
                    <a:pt x="312" y="13"/>
                    <a:pt x="313" y="13"/>
                  </a:cubicBezTo>
                  <a:cubicBezTo>
                    <a:pt x="314" y="13"/>
                    <a:pt x="314" y="13"/>
                    <a:pt x="314" y="13"/>
                  </a:cubicBezTo>
                  <a:cubicBezTo>
                    <a:pt x="315" y="13"/>
                    <a:pt x="315" y="13"/>
                    <a:pt x="315" y="14"/>
                  </a:cubicBezTo>
                  <a:cubicBezTo>
                    <a:pt x="315" y="14"/>
                    <a:pt x="315" y="14"/>
                    <a:pt x="315" y="15"/>
                  </a:cubicBezTo>
                  <a:lnTo>
                    <a:pt x="315" y="28"/>
                  </a:lnTo>
                  <a:lnTo>
                    <a:pt x="330" y="28"/>
                  </a:lnTo>
                  <a:cubicBezTo>
                    <a:pt x="330" y="28"/>
                    <a:pt x="331" y="28"/>
                    <a:pt x="331" y="28"/>
                  </a:cubicBezTo>
                  <a:cubicBezTo>
                    <a:pt x="331" y="28"/>
                    <a:pt x="331" y="29"/>
                    <a:pt x="331" y="29"/>
                  </a:cubicBezTo>
                  <a:cubicBezTo>
                    <a:pt x="332" y="29"/>
                    <a:pt x="332" y="30"/>
                    <a:pt x="332" y="30"/>
                  </a:cubicBezTo>
                  <a:cubicBezTo>
                    <a:pt x="332" y="31"/>
                    <a:pt x="332" y="31"/>
                    <a:pt x="332" y="32"/>
                  </a:cubicBezTo>
                  <a:cubicBezTo>
                    <a:pt x="332" y="34"/>
                    <a:pt x="332" y="35"/>
                    <a:pt x="331" y="35"/>
                  </a:cubicBezTo>
                  <a:cubicBezTo>
                    <a:pt x="331" y="36"/>
                    <a:pt x="331" y="36"/>
                    <a:pt x="330" y="36"/>
                  </a:cubicBezTo>
                  <a:lnTo>
                    <a:pt x="315" y="36"/>
                  </a:lnTo>
                  <a:lnTo>
                    <a:pt x="315" y="68"/>
                  </a:lnTo>
                  <a:cubicBezTo>
                    <a:pt x="315" y="72"/>
                    <a:pt x="316" y="75"/>
                    <a:pt x="317" y="77"/>
                  </a:cubicBezTo>
                  <a:cubicBezTo>
                    <a:pt x="318" y="79"/>
                    <a:pt x="320" y="80"/>
                    <a:pt x="323" y="80"/>
                  </a:cubicBezTo>
                  <a:cubicBezTo>
                    <a:pt x="324" y="80"/>
                    <a:pt x="325" y="79"/>
                    <a:pt x="326" y="79"/>
                  </a:cubicBezTo>
                  <a:cubicBezTo>
                    <a:pt x="327" y="79"/>
                    <a:pt x="327" y="79"/>
                    <a:pt x="328" y="79"/>
                  </a:cubicBezTo>
                  <a:cubicBezTo>
                    <a:pt x="329" y="78"/>
                    <a:pt x="329" y="78"/>
                    <a:pt x="329" y="78"/>
                  </a:cubicBezTo>
                  <a:cubicBezTo>
                    <a:pt x="330" y="78"/>
                    <a:pt x="330" y="78"/>
                    <a:pt x="331" y="78"/>
                  </a:cubicBezTo>
                  <a:cubicBezTo>
                    <a:pt x="331" y="78"/>
                    <a:pt x="331" y="78"/>
                    <a:pt x="331" y="78"/>
                  </a:cubicBezTo>
                  <a:cubicBezTo>
                    <a:pt x="331" y="78"/>
                    <a:pt x="331" y="78"/>
                    <a:pt x="332" y="79"/>
                  </a:cubicBezTo>
                  <a:cubicBezTo>
                    <a:pt x="332" y="79"/>
                    <a:pt x="332" y="79"/>
                    <a:pt x="332" y="80"/>
                  </a:cubicBezTo>
                  <a:cubicBezTo>
                    <a:pt x="332" y="80"/>
                    <a:pt x="332" y="81"/>
                    <a:pt x="332" y="82"/>
                  </a:cubicBezTo>
                  <a:close/>
                  <a:moveTo>
                    <a:pt x="413" y="83"/>
                  </a:moveTo>
                  <a:cubicBezTo>
                    <a:pt x="413" y="84"/>
                    <a:pt x="413" y="84"/>
                    <a:pt x="413" y="85"/>
                  </a:cubicBezTo>
                  <a:cubicBezTo>
                    <a:pt x="413" y="85"/>
                    <a:pt x="413" y="86"/>
                    <a:pt x="412" y="86"/>
                  </a:cubicBezTo>
                  <a:cubicBezTo>
                    <a:pt x="412" y="87"/>
                    <a:pt x="412" y="87"/>
                    <a:pt x="412" y="87"/>
                  </a:cubicBezTo>
                  <a:cubicBezTo>
                    <a:pt x="411" y="87"/>
                    <a:pt x="411" y="87"/>
                    <a:pt x="411" y="87"/>
                  </a:cubicBezTo>
                  <a:lnTo>
                    <a:pt x="372" y="87"/>
                  </a:lnTo>
                  <a:cubicBezTo>
                    <a:pt x="371" y="87"/>
                    <a:pt x="370" y="87"/>
                    <a:pt x="369" y="86"/>
                  </a:cubicBezTo>
                  <a:cubicBezTo>
                    <a:pt x="368" y="86"/>
                    <a:pt x="368" y="85"/>
                    <a:pt x="368" y="83"/>
                  </a:cubicBezTo>
                  <a:lnTo>
                    <a:pt x="368" y="11"/>
                  </a:lnTo>
                  <a:cubicBezTo>
                    <a:pt x="368" y="9"/>
                    <a:pt x="368" y="8"/>
                    <a:pt x="369" y="7"/>
                  </a:cubicBezTo>
                  <a:cubicBezTo>
                    <a:pt x="370" y="7"/>
                    <a:pt x="371" y="6"/>
                    <a:pt x="372" y="6"/>
                  </a:cubicBezTo>
                  <a:lnTo>
                    <a:pt x="410" y="6"/>
                  </a:lnTo>
                  <a:cubicBezTo>
                    <a:pt x="411" y="6"/>
                    <a:pt x="411" y="7"/>
                    <a:pt x="411" y="7"/>
                  </a:cubicBezTo>
                  <a:cubicBezTo>
                    <a:pt x="411" y="7"/>
                    <a:pt x="412" y="7"/>
                    <a:pt x="412" y="8"/>
                  </a:cubicBezTo>
                  <a:cubicBezTo>
                    <a:pt x="412" y="8"/>
                    <a:pt x="412" y="8"/>
                    <a:pt x="412" y="9"/>
                  </a:cubicBezTo>
                  <a:cubicBezTo>
                    <a:pt x="412" y="9"/>
                    <a:pt x="412" y="10"/>
                    <a:pt x="412" y="11"/>
                  </a:cubicBezTo>
                  <a:cubicBezTo>
                    <a:pt x="412" y="12"/>
                    <a:pt x="412" y="12"/>
                    <a:pt x="412" y="13"/>
                  </a:cubicBezTo>
                  <a:cubicBezTo>
                    <a:pt x="412" y="14"/>
                    <a:pt x="412" y="14"/>
                    <a:pt x="412" y="14"/>
                  </a:cubicBezTo>
                  <a:cubicBezTo>
                    <a:pt x="412" y="15"/>
                    <a:pt x="411" y="15"/>
                    <a:pt x="411" y="15"/>
                  </a:cubicBezTo>
                  <a:cubicBezTo>
                    <a:pt x="411" y="15"/>
                    <a:pt x="411" y="15"/>
                    <a:pt x="410" y="15"/>
                  </a:cubicBezTo>
                  <a:lnTo>
                    <a:pt x="379" y="15"/>
                  </a:lnTo>
                  <a:lnTo>
                    <a:pt x="379" y="41"/>
                  </a:lnTo>
                  <a:lnTo>
                    <a:pt x="406" y="41"/>
                  </a:lnTo>
                  <a:cubicBezTo>
                    <a:pt x="406" y="41"/>
                    <a:pt x="406" y="41"/>
                    <a:pt x="407" y="41"/>
                  </a:cubicBezTo>
                  <a:cubicBezTo>
                    <a:pt x="407" y="41"/>
                    <a:pt x="407" y="41"/>
                    <a:pt x="407" y="42"/>
                  </a:cubicBezTo>
                  <a:cubicBezTo>
                    <a:pt x="408" y="42"/>
                    <a:pt x="408" y="43"/>
                    <a:pt x="408" y="43"/>
                  </a:cubicBezTo>
                  <a:cubicBezTo>
                    <a:pt x="408" y="44"/>
                    <a:pt x="408" y="44"/>
                    <a:pt x="408" y="45"/>
                  </a:cubicBezTo>
                  <a:cubicBezTo>
                    <a:pt x="408" y="46"/>
                    <a:pt x="408" y="47"/>
                    <a:pt x="408" y="47"/>
                  </a:cubicBezTo>
                  <a:cubicBezTo>
                    <a:pt x="408" y="48"/>
                    <a:pt x="408" y="48"/>
                    <a:pt x="407" y="49"/>
                  </a:cubicBezTo>
                  <a:cubicBezTo>
                    <a:pt x="407" y="49"/>
                    <a:pt x="407" y="49"/>
                    <a:pt x="407" y="49"/>
                  </a:cubicBezTo>
                  <a:cubicBezTo>
                    <a:pt x="406" y="49"/>
                    <a:pt x="406" y="49"/>
                    <a:pt x="406" y="49"/>
                  </a:cubicBezTo>
                  <a:lnTo>
                    <a:pt x="379" y="49"/>
                  </a:lnTo>
                  <a:lnTo>
                    <a:pt x="379" y="78"/>
                  </a:lnTo>
                  <a:lnTo>
                    <a:pt x="411" y="78"/>
                  </a:lnTo>
                  <a:cubicBezTo>
                    <a:pt x="411" y="78"/>
                    <a:pt x="411" y="78"/>
                    <a:pt x="412" y="79"/>
                  </a:cubicBezTo>
                  <a:cubicBezTo>
                    <a:pt x="412" y="79"/>
                    <a:pt x="412" y="79"/>
                    <a:pt x="412" y="79"/>
                  </a:cubicBezTo>
                  <a:cubicBezTo>
                    <a:pt x="413" y="80"/>
                    <a:pt x="413" y="80"/>
                    <a:pt x="413" y="81"/>
                  </a:cubicBezTo>
                  <a:cubicBezTo>
                    <a:pt x="413" y="81"/>
                    <a:pt x="413" y="82"/>
                    <a:pt x="413" y="83"/>
                  </a:cubicBezTo>
                  <a:close/>
                  <a:moveTo>
                    <a:pt x="477" y="29"/>
                  </a:moveTo>
                  <a:cubicBezTo>
                    <a:pt x="477" y="30"/>
                    <a:pt x="477" y="30"/>
                    <a:pt x="477" y="30"/>
                  </a:cubicBezTo>
                  <a:cubicBezTo>
                    <a:pt x="477" y="30"/>
                    <a:pt x="477" y="30"/>
                    <a:pt x="477" y="31"/>
                  </a:cubicBezTo>
                  <a:cubicBezTo>
                    <a:pt x="477" y="31"/>
                    <a:pt x="477" y="31"/>
                    <a:pt x="477" y="31"/>
                  </a:cubicBezTo>
                  <a:cubicBezTo>
                    <a:pt x="477" y="31"/>
                    <a:pt x="476" y="32"/>
                    <a:pt x="476" y="32"/>
                  </a:cubicBezTo>
                  <a:lnTo>
                    <a:pt x="457" y="85"/>
                  </a:lnTo>
                  <a:cubicBezTo>
                    <a:pt x="457" y="86"/>
                    <a:pt x="457" y="86"/>
                    <a:pt x="457" y="87"/>
                  </a:cubicBezTo>
                  <a:cubicBezTo>
                    <a:pt x="456" y="87"/>
                    <a:pt x="456" y="87"/>
                    <a:pt x="455" y="87"/>
                  </a:cubicBezTo>
                  <a:cubicBezTo>
                    <a:pt x="455" y="87"/>
                    <a:pt x="454" y="88"/>
                    <a:pt x="453" y="88"/>
                  </a:cubicBezTo>
                  <a:cubicBezTo>
                    <a:pt x="452" y="88"/>
                    <a:pt x="451" y="88"/>
                    <a:pt x="450" y="88"/>
                  </a:cubicBezTo>
                  <a:cubicBezTo>
                    <a:pt x="449" y="88"/>
                    <a:pt x="448" y="88"/>
                    <a:pt x="447" y="88"/>
                  </a:cubicBezTo>
                  <a:cubicBezTo>
                    <a:pt x="446" y="87"/>
                    <a:pt x="445" y="87"/>
                    <a:pt x="445" y="87"/>
                  </a:cubicBezTo>
                  <a:cubicBezTo>
                    <a:pt x="444" y="87"/>
                    <a:pt x="444" y="87"/>
                    <a:pt x="444" y="87"/>
                  </a:cubicBezTo>
                  <a:cubicBezTo>
                    <a:pt x="443" y="86"/>
                    <a:pt x="443" y="86"/>
                    <a:pt x="443" y="85"/>
                  </a:cubicBezTo>
                  <a:lnTo>
                    <a:pt x="424" y="32"/>
                  </a:lnTo>
                  <a:cubicBezTo>
                    <a:pt x="424" y="32"/>
                    <a:pt x="424" y="31"/>
                    <a:pt x="424" y="31"/>
                  </a:cubicBezTo>
                  <a:cubicBezTo>
                    <a:pt x="423" y="30"/>
                    <a:pt x="423" y="30"/>
                    <a:pt x="423" y="30"/>
                  </a:cubicBezTo>
                  <a:cubicBezTo>
                    <a:pt x="423" y="30"/>
                    <a:pt x="423" y="30"/>
                    <a:pt x="423" y="29"/>
                  </a:cubicBezTo>
                  <a:cubicBezTo>
                    <a:pt x="423" y="29"/>
                    <a:pt x="423" y="29"/>
                    <a:pt x="424" y="29"/>
                  </a:cubicBezTo>
                  <a:cubicBezTo>
                    <a:pt x="424" y="28"/>
                    <a:pt x="424" y="28"/>
                    <a:pt x="424" y="28"/>
                  </a:cubicBezTo>
                  <a:cubicBezTo>
                    <a:pt x="425" y="28"/>
                    <a:pt x="425" y="28"/>
                    <a:pt x="426" y="28"/>
                  </a:cubicBezTo>
                  <a:cubicBezTo>
                    <a:pt x="427" y="28"/>
                    <a:pt x="427" y="28"/>
                    <a:pt x="428" y="28"/>
                  </a:cubicBezTo>
                  <a:cubicBezTo>
                    <a:pt x="430" y="28"/>
                    <a:pt x="431" y="28"/>
                    <a:pt x="431" y="28"/>
                  </a:cubicBezTo>
                  <a:cubicBezTo>
                    <a:pt x="432" y="28"/>
                    <a:pt x="433" y="28"/>
                    <a:pt x="433" y="28"/>
                  </a:cubicBezTo>
                  <a:cubicBezTo>
                    <a:pt x="433" y="28"/>
                    <a:pt x="434" y="28"/>
                    <a:pt x="434" y="29"/>
                  </a:cubicBezTo>
                  <a:cubicBezTo>
                    <a:pt x="434" y="29"/>
                    <a:pt x="434" y="29"/>
                    <a:pt x="434" y="30"/>
                  </a:cubicBezTo>
                  <a:lnTo>
                    <a:pt x="450" y="76"/>
                  </a:lnTo>
                  <a:lnTo>
                    <a:pt x="450" y="77"/>
                  </a:lnTo>
                  <a:lnTo>
                    <a:pt x="451" y="76"/>
                  </a:lnTo>
                  <a:lnTo>
                    <a:pt x="466" y="30"/>
                  </a:lnTo>
                  <a:cubicBezTo>
                    <a:pt x="466" y="29"/>
                    <a:pt x="467" y="29"/>
                    <a:pt x="467" y="29"/>
                  </a:cubicBezTo>
                  <a:cubicBezTo>
                    <a:pt x="467" y="28"/>
                    <a:pt x="467" y="28"/>
                    <a:pt x="468" y="28"/>
                  </a:cubicBezTo>
                  <a:cubicBezTo>
                    <a:pt x="468" y="28"/>
                    <a:pt x="469" y="28"/>
                    <a:pt x="469" y="28"/>
                  </a:cubicBezTo>
                  <a:cubicBezTo>
                    <a:pt x="470" y="28"/>
                    <a:pt x="471" y="28"/>
                    <a:pt x="472" y="28"/>
                  </a:cubicBezTo>
                  <a:cubicBezTo>
                    <a:pt x="473" y="28"/>
                    <a:pt x="474" y="28"/>
                    <a:pt x="474" y="28"/>
                  </a:cubicBezTo>
                  <a:cubicBezTo>
                    <a:pt x="475" y="28"/>
                    <a:pt x="476" y="28"/>
                    <a:pt x="476" y="28"/>
                  </a:cubicBezTo>
                  <a:cubicBezTo>
                    <a:pt x="476" y="28"/>
                    <a:pt x="477" y="28"/>
                    <a:pt x="477" y="29"/>
                  </a:cubicBezTo>
                  <a:cubicBezTo>
                    <a:pt x="477" y="29"/>
                    <a:pt x="477" y="29"/>
                    <a:pt x="477" y="29"/>
                  </a:cubicBezTo>
                  <a:close/>
                  <a:moveTo>
                    <a:pt x="543" y="55"/>
                  </a:moveTo>
                  <a:cubicBezTo>
                    <a:pt x="543" y="57"/>
                    <a:pt x="542" y="58"/>
                    <a:pt x="542" y="59"/>
                  </a:cubicBezTo>
                  <a:cubicBezTo>
                    <a:pt x="541" y="59"/>
                    <a:pt x="540" y="60"/>
                    <a:pt x="539" y="60"/>
                  </a:cubicBezTo>
                  <a:lnTo>
                    <a:pt x="502" y="60"/>
                  </a:lnTo>
                  <a:cubicBezTo>
                    <a:pt x="502" y="63"/>
                    <a:pt x="502" y="66"/>
                    <a:pt x="503" y="68"/>
                  </a:cubicBezTo>
                  <a:cubicBezTo>
                    <a:pt x="503" y="71"/>
                    <a:pt x="504" y="73"/>
                    <a:pt x="506" y="75"/>
                  </a:cubicBezTo>
                  <a:cubicBezTo>
                    <a:pt x="507" y="76"/>
                    <a:pt x="509" y="78"/>
                    <a:pt x="511" y="79"/>
                  </a:cubicBezTo>
                  <a:cubicBezTo>
                    <a:pt x="514" y="80"/>
                    <a:pt x="517" y="80"/>
                    <a:pt x="520" y="80"/>
                  </a:cubicBezTo>
                  <a:cubicBezTo>
                    <a:pt x="523" y="80"/>
                    <a:pt x="525" y="80"/>
                    <a:pt x="527" y="79"/>
                  </a:cubicBezTo>
                  <a:cubicBezTo>
                    <a:pt x="529" y="79"/>
                    <a:pt x="531" y="79"/>
                    <a:pt x="533" y="78"/>
                  </a:cubicBezTo>
                  <a:cubicBezTo>
                    <a:pt x="534" y="77"/>
                    <a:pt x="535" y="77"/>
                    <a:pt x="536" y="77"/>
                  </a:cubicBezTo>
                  <a:cubicBezTo>
                    <a:pt x="537" y="76"/>
                    <a:pt x="538" y="76"/>
                    <a:pt x="539" y="76"/>
                  </a:cubicBezTo>
                  <a:cubicBezTo>
                    <a:pt x="539" y="76"/>
                    <a:pt x="539" y="76"/>
                    <a:pt x="539" y="76"/>
                  </a:cubicBezTo>
                  <a:cubicBezTo>
                    <a:pt x="540" y="76"/>
                    <a:pt x="540" y="76"/>
                    <a:pt x="540" y="77"/>
                  </a:cubicBezTo>
                  <a:cubicBezTo>
                    <a:pt x="540" y="77"/>
                    <a:pt x="540" y="77"/>
                    <a:pt x="540" y="78"/>
                  </a:cubicBezTo>
                  <a:cubicBezTo>
                    <a:pt x="540" y="79"/>
                    <a:pt x="540" y="79"/>
                    <a:pt x="540" y="80"/>
                  </a:cubicBezTo>
                  <a:cubicBezTo>
                    <a:pt x="540" y="80"/>
                    <a:pt x="540" y="81"/>
                    <a:pt x="540" y="81"/>
                  </a:cubicBezTo>
                  <a:cubicBezTo>
                    <a:pt x="540" y="82"/>
                    <a:pt x="540" y="82"/>
                    <a:pt x="540" y="82"/>
                  </a:cubicBezTo>
                  <a:cubicBezTo>
                    <a:pt x="540" y="83"/>
                    <a:pt x="540" y="83"/>
                    <a:pt x="540" y="83"/>
                  </a:cubicBezTo>
                  <a:cubicBezTo>
                    <a:pt x="540" y="83"/>
                    <a:pt x="540" y="84"/>
                    <a:pt x="539" y="84"/>
                  </a:cubicBezTo>
                  <a:cubicBezTo>
                    <a:pt x="539" y="84"/>
                    <a:pt x="538" y="85"/>
                    <a:pt x="537" y="85"/>
                  </a:cubicBezTo>
                  <a:cubicBezTo>
                    <a:pt x="536" y="86"/>
                    <a:pt x="535" y="86"/>
                    <a:pt x="533" y="87"/>
                  </a:cubicBezTo>
                  <a:cubicBezTo>
                    <a:pt x="531" y="87"/>
                    <a:pt x="529" y="88"/>
                    <a:pt x="527" y="88"/>
                  </a:cubicBezTo>
                  <a:cubicBezTo>
                    <a:pt x="524" y="88"/>
                    <a:pt x="522" y="89"/>
                    <a:pt x="519" y="89"/>
                  </a:cubicBezTo>
                  <a:cubicBezTo>
                    <a:pt x="514" y="89"/>
                    <a:pt x="510" y="88"/>
                    <a:pt x="507" y="87"/>
                  </a:cubicBezTo>
                  <a:cubicBezTo>
                    <a:pt x="503" y="85"/>
                    <a:pt x="501" y="83"/>
                    <a:pt x="498" y="81"/>
                  </a:cubicBezTo>
                  <a:cubicBezTo>
                    <a:pt x="496" y="78"/>
                    <a:pt x="494" y="75"/>
                    <a:pt x="493" y="71"/>
                  </a:cubicBezTo>
                  <a:cubicBezTo>
                    <a:pt x="492" y="67"/>
                    <a:pt x="491" y="63"/>
                    <a:pt x="491" y="58"/>
                  </a:cubicBezTo>
                  <a:cubicBezTo>
                    <a:pt x="491" y="53"/>
                    <a:pt x="492" y="49"/>
                    <a:pt x="493" y="45"/>
                  </a:cubicBezTo>
                  <a:cubicBezTo>
                    <a:pt x="494" y="41"/>
                    <a:pt x="496" y="38"/>
                    <a:pt x="498" y="35"/>
                  </a:cubicBezTo>
                  <a:cubicBezTo>
                    <a:pt x="501" y="32"/>
                    <a:pt x="503" y="30"/>
                    <a:pt x="507" y="29"/>
                  </a:cubicBezTo>
                  <a:cubicBezTo>
                    <a:pt x="510" y="27"/>
                    <a:pt x="514" y="27"/>
                    <a:pt x="518" y="27"/>
                  </a:cubicBezTo>
                  <a:cubicBezTo>
                    <a:pt x="522" y="27"/>
                    <a:pt x="526" y="27"/>
                    <a:pt x="529" y="29"/>
                  </a:cubicBezTo>
                  <a:cubicBezTo>
                    <a:pt x="532" y="30"/>
                    <a:pt x="535" y="32"/>
                    <a:pt x="537" y="35"/>
                  </a:cubicBezTo>
                  <a:cubicBezTo>
                    <a:pt x="539" y="37"/>
                    <a:pt x="540" y="40"/>
                    <a:pt x="541" y="43"/>
                  </a:cubicBezTo>
                  <a:cubicBezTo>
                    <a:pt x="542" y="46"/>
                    <a:pt x="543" y="50"/>
                    <a:pt x="543" y="53"/>
                  </a:cubicBezTo>
                  <a:lnTo>
                    <a:pt x="543" y="55"/>
                  </a:lnTo>
                  <a:close/>
                  <a:moveTo>
                    <a:pt x="532" y="52"/>
                  </a:moveTo>
                  <a:cubicBezTo>
                    <a:pt x="532" y="47"/>
                    <a:pt x="531" y="42"/>
                    <a:pt x="529" y="39"/>
                  </a:cubicBezTo>
                  <a:cubicBezTo>
                    <a:pt x="526" y="36"/>
                    <a:pt x="522" y="35"/>
                    <a:pt x="517" y="35"/>
                  </a:cubicBezTo>
                  <a:cubicBezTo>
                    <a:pt x="515" y="35"/>
                    <a:pt x="513" y="35"/>
                    <a:pt x="511" y="36"/>
                  </a:cubicBezTo>
                  <a:cubicBezTo>
                    <a:pt x="509" y="37"/>
                    <a:pt x="507" y="38"/>
                    <a:pt x="506" y="40"/>
                  </a:cubicBezTo>
                  <a:cubicBezTo>
                    <a:pt x="505" y="42"/>
                    <a:pt x="504" y="43"/>
                    <a:pt x="503" y="46"/>
                  </a:cubicBezTo>
                  <a:cubicBezTo>
                    <a:pt x="502" y="48"/>
                    <a:pt x="502" y="50"/>
                    <a:pt x="502" y="52"/>
                  </a:cubicBezTo>
                  <a:lnTo>
                    <a:pt x="532" y="52"/>
                  </a:lnTo>
                  <a:close/>
                  <a:moveTo>
                    <a:pt x="607" y="86"/>
                  </a:moveTo>
                  <a:cubicBezTo>
                    <a:pt x="607" y="86"/>
                    <a:pt x="607" y="86"/>
                    <a:pt x="607" y="87"/>
                  </a:cubicBezTo>
                  <a:cubicBezTo>
                    <a:pt x="607" y="87"/>
                    <a:pt x="606" y="87"/>
                    <a:pt x="606" y="87"/>
                  </a:cubicBezTo>
                  <a:cubicBezTo>
                    <a:pt x="606" y="87"/>
                    <a:pt x="605" y="87"/>
                    <a:pt x="605" y="88"/>
                  </a:cubicBezTo>
                  <a:cubicBezTo>
                    <a:pt x="604" y="88"/>
                    <a:pt x="603" y="88"/>
                    <a:pt x="602" y="88"/>
                  </a:cubicBezTo>
                  <a:cubicBezTo>
                    <a:pt x="601" y="88"/>
                    <a:pt x="600" y="88"/>
                    <a:pt x="599" y="88"/>
                  </a:cubicBezTo>
                  <a:cubicBezTo>
                    <a:pt x="599" y="87"/>
                    <a:pt x="598" y="87"/>
                    <a:pt x="598" y="87"/>
                  </a:cubicBezTo>
                  <a:cubicBezTo>
                    <a:pt x="598" y="87"/>
                    <a:pt x="597" y="87"/>
                    <a:pt x="597" y="87"/>
                  </a:cubicBezTo>
                  <a:cubicBezTo>
                    <a:pt x="597" y="86"/>
                    <a:pt x="597" y="86"/>
                    <a:pt x="597" y="86"/>
                  </a:cubicBezTo>
                  <a:lnTo>
                    <a:pt x="597" y="53"/>
                  </a:lnTo>
                  <a:cubicBezTo>
                    <a:pt x="597" y="50"/>
                    <a:pt x="597" y="47"/>
                    <a:pt x="596" y="45"/>
                  </a:cubicBezTo>
                  <a:cubicBezTo>
                    <a:pt x="596" y="43"/>
                    <a:pt x="595" y="41"/>
                    <a:pt x="594" y="40"/>
                  </a:cubicBezTo>
                  <a:cubicBezTo>
                    <a:pt x="593" y="39"/>
                    <a:pt x="592" y="38"/>
                    <a:pt x="590" y="37"/>
                  </a:cubicBezTo>
                  <a:cubicBezTo>
                    <a:pt x="589" y="36"/>
                    <a:pt x="587" y="36"/>
                    <a:pt x="585" y="36"/>
                  </a:cubicBezTo>
                  <a:cubicBezTo>
                    <a:pt x="582" y="36"/>
                    <a:pt x="580" y="37"/>
                    <a:pt x="577" y="38"/>
                  </a:cubicBezTo>
                  <a:cubicBezTo>
                    <a:pt x="575" y="40"/>
                    <a:pt x="572" y="43"/>
                    <a:pt x="569" y="46"/>
                  </a:cubicBezTo>
                  <a:lnTo>
                    <a:pt x="569" y="86"/>
                  </a:lnTo>
                  <a:cubicBezTo>
                    <a:pt x="569" y="86"/>
                    <a:pt x="569" y="86"/>
                    <a:pt x="569" y="87"/>
                  </a:cubicBezTo>
                  <a:cubicBezTo>
                    <a:pt x="569" y="87"/>
                    <a:pt x="568" y="87"/>
                    <a:pt x="568" y="87"/>
                  </a:cubicBezTo>
                  <a:cubicBezTo>
                    <a:pt x="568" y="87"/>
                    <a:pt x="567" y="87"/>
                    <a:pt x="566" y="88"/>
                  </a:cubicBezTo>
                  <a:cubicBezTo>
                    <a:pt x="566" y="88"/>
                    <a:pt x="565" y="88"/>
                    <a:pt x="564" y="88"/>
                  </a:cubicBezTo>
                  <a:cubicBezTo>
                    <a:pt x="563" y="88"/>
                    <a:pt x="562" y="88"/>
                    <a:pt x="561" y="88"/>
                  </a:cubicBezTo>
                  <a:cubicBezTo>
                    <a:pt x="561" y="87"/>
                    <a:pt x="560" y="87"/>
                    <a:pt x="560" y="87"/>
                  </a:cubicBezTo>
                  <a:cubicBezTo>
                    <a:pt x="559" y="87"/>
                    <a:pt x="559" y="87"/>
                    <a:pt x="559" y="87"/>
                  </a:cubicBezTo>
                  <a:cubicBezTo>
                    <a:pt x="559" y="86"/>
                    <a:pt x="559" y="86"/>
                    <a:pt x="559" y="86"/>
                  </a:cubicBezTo>
                  <a:lnTo>
                    <a:pt x="559" y="30"/>
                  </a:lnTo>
                  <a:cubicBezTo>
                    <a:pt x="559" y="29"/>
                    <a:pt x="559" y="29"/>
                    <a:pt x="559" y="29"/>
                  </a:cubicBezTo>
                  <a:cubicBezTo>
                    <a:pt x="559" y="28"/>
                    <a:pt x="559" y="28"/>
                    <a:pt x="560" y="28"/>
                  </a:cubicBezTo>
                  <a:cubicBezTo>
                    <a:pt x="560" y="28"/>
                    <a:pt x="561" y="28"/>
                    <a:pt x="561" y="28"/>
                  </a:cubicBezTo>
                  <a:cubicBezTo>
                    <a:pt x="562" y="28"/>
                    <a:pt x="562" y="28"/>
                    <a:pt x="563" y="28"/>
                  </a:cubicBezTo>
                  <a:cubicBezTo>
                    <a:pt x="564" y="28"/>
                    <a:pt x="565" y="28"/>
                    <a:pt x="566" y="28"/>
                  </a:cubicBezTo>
                  <a:cubicBezTo>
                    <a:pt x="566" y="28"/>
                    <a:pt x="567" y="28"/>
                    <a:pt x="567" y="28"/>
                  </a:cubicBezTo>
                  <a:cubicBezTo>
                    <a:pt x="567" y="28"/>
                    <a:pt x="568" y="28"/>
                    <a:pt x="568" y="29"/>
                  </a:cubicBezTo>
                  <a:cubicBezTo>
                    <a:pt x="568" y="29"/>
                    <a:pt x="568" y="29"/>
                    <a:pt x="568" y="30"/>
                  </a:cubicBezTo>
                  <a:lnTo>
                    <a:pt x="568" y="37"/>
                  </a:lnTo>
                  <a:cubicBezTo>
                    <a:pt x="571" y="33"/>
                    <a:pt x="574" y="31"/>
                    <a:pt x="578" y="29"/>
                  </a:cubicBezTo>
                  <a:cubicBezTo>
                    <a:pt x="581" y="28"/>
                    <a:pt x="584" y="27"/>
                    <a:pt x="587" y="27"/>
                  </a:cubicBezTo>
                  <a:cubicBezTo>
                    <a:pt x="591" y="27"/>
                    <a:pt x="594" y="27"/>
                    <a:pt x="597" y="29"/>
                  </a:cubicBezTo>
                  <a:cubicBezTo>
                    <a:pt x="599" y="30"/>
                    <a:pt x="601" y="32"/>
                    <a:pt x="603" y="34"/>
                  </a:cubicBezTo>
                  <a:cubicBezTo>
                    <a:pt x="604" y="36"/>
                    <a:pt x="605" y="38"/>
                    <a:pt x="606" y="41"/>
                  </a:cubicBezTo>
                  <a:cubicBezTo>
                    <a:pt x="607" y="44"/>
                    <a:pt x="607" y="47"/>
                    <a:pt x="607" y="51"/>
                  </a:cubicBezTo>
                  <a:lnTo>
                    <a:pt x="607" y="86"/>
                  </a:lnTo>
                  <a:close/>
                  <a:moveTo>
                    <a:pt x="652" y="82"/>
                  </a:moveTo>
                  <a:cubicBezTo>
                    <a:pt x="652" y="83"/>
                    <a:pt x="652" y="84"/>
                    <a:pt x="652" y="85"/>
                  </a:cubicBezTo>
                  <a:cubicBezTo>
                    <a:pt x="652" y="85"/>
                    <a:pt x="651" y="86"/>
                    <a:pt x="651" y="86"/>
                  </a:cubicBezTo>
                  <a:cubicBezTo>
                    <a:pt x="651" y="86"/>
                    <a:pt x="650" y="87"/>
                    <a:pt x="649" y="87"/>
                  </a:cubicBezTo>
                  <a:cubicBezTo>
                    <a:pt x="649" y="87"/>
                    <a:pt x="648" y="88"/>
                    <a:pt x="647" y="88"/>
                  </a:cubicBezTo>
                  <a:cubicBezTo>
                    <a:pt x="646" y="88"/>
                    <a:pt x="645" y="88"/>
                    <a:pt x="644" y="88"/>
                  </a:cubicBezTo>
                  <a:cubicBezTo>
                    <a:pt x="644" y="88"/>
                    <a:pt x="643" y="88"/>
                    <a:pt x="642" y="88"/>
                  </a:cubicBezTo>
                  <a:cubicBezTo>
                    <a:pt x="639" y="88"/>
                    <a:pt x="636" y="88"/>
                    <a:pt x="634" y="87"/>
                  </a:cubicBezTo>
                  <a:cubicBezTo>
                    <a:pt x="632" y="86"/>
                    <a:pt x="630" y="85"/>
                    <a:pt x="629" y="84"/>
                  </a:cubicBezTo>
                  <a:cubicBezTo>
                    <a:pt x="628" y="82"/>
                    <a:pt x="627" y="80"/>
                    <a:pt x="626" y="78"/>
                  </a:cubicBezTo>
                  <a:cubicBezTo>
                    <a:pt x="625" y="75"/>
                    <a:pt x="625" y="73"/>
                    <a:pt x="625" y="69"/>
                  </a:cubicBezTo>
                  <a:lnTo>
                    <a:pt x="625" y="36"/>
                  </a:lnTo>
                  <a:lnTo>
                    <a:pt x="617" y="36"/>
                  </a:lnTo>
                  <a:cubicBezTo>
                    <a:pt x="617" y="36"/>
                    <a:pt x="616" y="36"/>
                    <a:pt x="616" y="35"/>
                  </a:cubicBezTo>
                  <a:cubicBezTo>
                    <a:pt x="615" y="35"/>
                    <a:pt x="615" y="34"/>
                    <a:pt x="615" y="32"/>
                  </a:cubicBezTo>
                  <a:cubicBezTo>
                    <a:pt x="615" y="31"/>
                    <a:pt x="615" y="31"/>
                    <a:pt x="615" y="30"/>
                  </a:cubicBezTo>
                  <a:cubicBezTo>
                    <a:pt x="616" y="30"/>
                    <a:pt x="616" y="29"/>
                    <a:pt x="616" y="29"/>
                  </a:cubicBezTo>
                  <a:cubicBezTo>
                    <a:pt x="616" y="29"/>
                    <a:pt x="616" y="28"/>
                    <a:pt x="616" y="28"/>
                  </a:cubicBezTo>
                  <a:cubicBezTo>
                    <a:pt x="617" y="28"/>
                    <a:pt x="617" y="28"/>
                    <a:pt x="617" y="28"/>
                  </a:cubicBezTo>
                  <a:lnTo>
                    <a:pt x="625" y="28"/>
                  </a:lnTo>
                  <a:lnTo>
                    <a:pt x="625" y="15"/>
                  </a:lnTo>
                  <a:cubicBezTo>
                    <a:pt x="625" y="14"/>
                    <a:pt x="625" y="14"/>
                    <a:pt x="625" y="14"/>
                  </a:cubicBezTo>
                  <a:cubicBezTo>
                    <a:pt x="626" y="13"/>
                    <a:pt x="626" y="13"/>
                    <a:pt x="626" y="13"/>
                  </a:cubicBezTo>
                  <a:cubicBezTo>
                    <a:pt x="627" y="13"/>
                    <a:pt x="627" y="13"/>
                    <a:pt x="628" y="13"/>
                  </a:cubicBezTo>
                  <a:cubicBezTo>
                    <a:pt x="628" y="13"/>
                    <a:pt x="629" y="13"/>
                    <a:pt x="630" y="13"/>
                  </a:cubicBezTo>
                  <a:cubicBezTo>
                    <a:pt x="631" y="13"/>
                    <a:pt x="632" y="13"/>
                    <a:pt x="633" y="13"/>
                  </a:cubicBezTo>
                  <a:cubicBezTo>
                    <a:pt x="634" y="13"/>
                    <a:pt x="634" y="13"/>
                    <a:pt x="634" y="13"/>
                  </a:cubicBezTo>
                  <a:cubicBezTo>
                    <a:pt x="635" y="13"/>
                    <a:pt x="635" y="13"/>
                    <a:pt x="635" y="14"/>
                  </a:cubicBezTo>
                  <a:cubicBezTo>
                    <a:pt x="635" y="14"/>
                    <a:pt x="635" y="14"/>
                    <a:pt x="635" y="15"/>
                  </a:cubicBezTo>
                  <a:lnTo>
                    <a:pt x="635" y="28"/>
                  </a:lnTo>
                  <a:lnTo>
                    <a:pt x="650" y="28"/>
                  </a:lnTo>
                  <a:cubicBezTo>
                    <a:pt x="650" y="28"/>
                    <a:pt x="651" y="28"/>
                    <a:pt x="651" y="28"/>
                  </a:cubicBezTo>
                  <a:cubicBezTo>
                    <a:pt x="651" y="28"/>
                    <a:pt x="651" y="29"/>
                    <a:pt x="651" y="29"/>
                  </a:cubicBezTo>
                  <a:cubicBezTo>
                    <a:pt x="652" y="29"/>
                    <a:pt x="652" y="30"/>
                    <a:pt x="652" y="30"/>
                  </a:cubicBezTo>
                  <a:cubicBezTo>
                    <a:pt x="652" y="31"/>
                    <a:pt x="652" y="31"/>
                    <a:pt x="652" y="32"/>
                  </a:cubicBezTo>
                  <a:cubicBezTo>
                    <a:pt x="652" y="34"/>
                    <a:pt x="652" y="35"/>
                    <a:pt x="651" y="35"/>
                  </a:cubicBezTo>
                  <a:cubicBezTo>
                    <a:pt x="651" y="36"/>
                    <a:pt x="651" y="36"/>
                    <a:pt x="650" y="36"/>
                  </a:cubicBezTo>
                  <a:lnTo>
                    <a:pt x="635" y="36"/>
                  </a:lnTo>
                  <a:lnTo>
                    <a:pt x="635" y="68"/>
                  </a:lnTo>
                  <a:cubicBezTo>
                    <a:pt x="635" y="72"/>
                    <a:pt x="636" y="75"/>
                    <a:pt x="637" y="77"/>
                  </a:cubicBezTo>
                  <a:cubicBezTo>
                    <a:pt x="638" y="79"/>
                    <a:pt x="640" y="80"/>
                    <a:pt x="643" y="80"/>
                  </a:cubicBezTo>
                  <a:cubicBezTo>
                    <a:pt x="644" y="80"/>
                    <a:pt x="645" y="79"/>
                    <a:pt x="646" y="79"/>
                  </a:cubicBezTo>
                  <a:cubicBezTo>
                    <a:pt x="647" y="79"/>
                    <a:pt x="647" y="79"/>
                    <a:pt x="648" y="79"/>
                  </a:cubicBezTo>
                  <a:cubicBezTo>
                    <a:pt x="649" y="78"/>
                    <a:pt x="649" y="78"/>
                    <a:pt x="649" y="78"/>
                  </a:cubicBezTo>
                  <a:cubicBezTo>
                    <a:pt x="650" y="78"/>
                    <a:pt x="650" y="78"/>
                    <a:pt x="651" y="78"/>
                  </a:cubicBezTo>
                  <a:cubicBezTo>
                    <a:pt x="651" y="78"/>
                    <a:pt x="651" y="78"/>
                    <a:pt x="651" y="78"/>
                  </a:cubicBezTo>
                  <a:cubicBezTo>
                    <a:pt x="651" y="78"/>
                    <a:pt x="651" y="78"/>
                    <a:pt x="652" y="79"/>
                  </a:cubicBezTo>
                  <a:cubicBezTo>
                    <a:pt x="652" y="79"/>
                    <a:pt x="652" y="79"/>
                    <a:pt x="652" y="80"/>
                  </a:cubicBezTo>
                  <a:cubicBezTo>
                    <a:pt x="652" y="80"/>
                    <a:pt x="652" y="81"/>
                    <a:pt x="652" y="82"/>
                  </a:cubicBezTo>
                  <a:close/>
                </a:path>
              </a:pathLst>
            </a:custGeom>
            <a:solidFill>
              <a:srgbClr val="0000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51" name="Rectangle 169">
              <a:extLst>
                <a:ext uri="{FF2B5EF4-FFF2-40B4-BE49-F238E27FC236}">
                  <a16:creationId xmlns:a16="http://schemas.microsoft.com/office/drawing/2014/main" id="{7E4D038A-AD22-4B9C-9FAA-6D2D762D6C96}"/>
                </a:ext>
              </a:extLst>
            </p:cNvPr>
            <p:cNvSpPr>
              <a:spLocks noChangeArrowheads="1"/>
            </p:cNvSpPr>
            <p:nvPr/>
          </p:nvSpPr>
          <p:spPr bwMode="auto">
            <a:xfrm>
              <a:off x="2531" y="1121"/>
              <a:ext cx="1217" cy="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1" u="none" strike="noStrike" cap="none" normalizeH="0" baseline="0">
                  <a:ln>
                    <a:noFill/>
                  </a:ln>
                  <a:solidFill>
                    <a:srgbClr val="000000"/>
                  </a:solidFill>
                  <a:effectLst/>
                  <a:latin typeface="Calibri" panose="020F0502020204030204" pitchFamily="34" charset="0"/>
                </a:rPr>
                <a:t>Http Request/Respons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52" name="Rectangle 170">
              <a:extLst>
                <a:ext uri="{FF2B5EF4-FFF2-40B4-BE49-F238E27FC236}">
                  <a16:creationId xmlns:a16="http://schemas.microsoft.com/office/drawing/2014/main" id="{C1E24373-8843-4C7D-86B2-FA0E1736E946}"/>
                </a:ext>
              </a:extLst>
            </p:cNvPr>
            <p:cNvSpPr>
              <a:spLocks noChangeArrowheads="1"/>
            </p:cNvSpPr>
            <p:nvPr/>
          </p:nvSpPr>
          <p:spPr bwMode="auto">
            <a:xfrm>
              <a:off x="5043" y="1121"/>
              <a:ext cx="794" cy="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1" u="none" strike="noStrike" cap="none" normalizeH="0" baseline="0">
                  <a:ln>
                    <a:noFill/>
                  </a:ln>
                  <a:solidFill>
                    <a:srgbClr val="000000"/>
                  </a:solidFill>
                  <a:effectLst/>
                  <a:latin typeface="Calibri" panose="020F0502020204030204" pitchFamily="34" charset="0"/>
                </a:rPr>
                <a:t>Async Pub/Su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27819" name="Picture 171">
              <a:extLst>
                <a:ext uri="{FF2B5EF4-FFF2-40B4-BE49-F238E27FC236}">
                  <a16:creationId xmlns:a16="http://schemas.microsoft.com/office/drawing/2014/main" id="{D3C3AB4F-B400-4057-818C-7D486B1C6B3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96" y="3494"/>
              <a:ext cx="1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20" name="Picture 172">
              <a:extLst>
                <a:ext uri="{FF2B5EF4-FFF2-40B4-BE49-F238E27FC236}">
                  <a16:creationId xmlns:a16="http://schemas.microsoft.com/office/drawing/2014/main" id="{E80CD53F-B3C5-4E48-81D0-367BFA84CA8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96" y="3494"/>
              <a:ext cx="1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753" name="Rectangle 173">
              <a:extLst>
                <a:ext uri="{FF2B5EF4-FFF2-40B4-BE49-F238E27FC236}">
                  <a16:creationId xmlns:a16="http://schemas.microsoft.com/office/drawing/2014/main" id="{9645E6ED-6B75-4BE7-92A9-33FFFCA2F0D2}"/>
                </a:ext>
              </a:extLst>
            </p:cNvPr>
            <p:cNvSpPr>
              <a:spLocks noChangeArrowheads="1"/>
            </p:cNvSpPr>
            <p:nvPr/>
          </p:nvSpPr>
          <p:spPr bwMode="auto">
            <a:xfrm>
              <a:off x="3403" y="3598"/>
              <a:ext cx="143"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a:ln>
                    <a:noFill/>
                  </a:ln>
                  <a:solidFill>
                    <a:srgbClr val="00B050"/>
                  </a:solidFill>
                  <a:effectLst/>
                  <a:latin typeface="Segoe UI" panose="020B0502040204020203" pitchFamily="34" charset="0"/>
                </a:rPr>
                <a:t>Us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27822" name="Picture 174">
              <a:extLst>
                <a:ext uri="{FF2B5EF4-FFF2-40B4-BE49-F238E27FC236}">
                  <a16:creationId xmlns:a16="http://schemas.microsoft.com/office/drawing/2014/main" id="{2B906969-48D5-423A-8107-EEAC4D8D84B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21" y="2340"/>
              <a:ext cx="145" cy="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273406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1D81A-8BCD-4818-B552-9CC54C05EFA4}"/>
              </a:ext>
            </a:extLst>
          </p:cNvPr>
          <p:cNvSpPr>
            <a:spLocks noGrp="1"/>
          </p:cNvSpPr>
          <p:nvPr>
            <p:ph type="title" idx="4294967295"/>
          </p:nvPr>
        </p:nvSpPr>
        <p:spPr>
          <a:xfrm>
            <a:off x="1174750" y="457200"/>
            <a:ext cx="11017250" cy="554038"/>
          </a:xfrm>
        </p:spPr>
        <p:txBody>
          <a:bodyPr/>
          <a:lstStyle/>
          <a:p>
            <a:r>
              <a:rPr lang="en-US" err="1"/>
              <a:t>eShop</a:t>
            </a:r>
            <a:r>
              <a:rPr lang="en-US"/>
              <a:t> on Containers Example</a:t>
            </a:r>
          </a:p>
        </p:txBody>
      </p:sp>
      <p:pic>
        <p:nvPicPr>
          <p:cNvPr id="27650" name="Picture 2" descr="https://user-images.githubusercontent.com/1712635/38758862-d4b42498-3f27-11e8-8dad-db60b0fa05d3.png">
            <a:extLst>
              <a:ext uri="{FF2B5EF4-FFF2-40B4-BE49-F238E27FC236}">
                <a16:creationId xmlns:a16="http://schemas.microsoft.com/office/drawing/2014/main" id="{0B4C06BA-1573-4CE2-AFA0-528158A7E6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5" y="309327"/>
            <a:ext cx="11974089" cy="63549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61732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IMING" val="|48.005|58.9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zureDevDays.potx  -  Read-Only" id="{912F6578-1525-4409-9227-17B05265652F}" vid="{AA6010F8-1493-425B-99B4-DAAF8055DCD6}"/>
    </a:ext>
  </a:extLst>
</a:theme>
</file>

<file path=ppt/theme/theme1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TechCon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DevDay.potx" id="{E7D02FA0-2AFC-4089-8C7D-8AD48FE21A9A}" vid="{B039D933-584F-404A-99E2-950EF0DF5A1B}"/>
    </a:ext>
  </a:extLst>
</a:theme>
</file>

<file path=ppt/theme/theme3.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potx" id="{F1420D30-492E-40F3-986D-43082B8AE099}" vid="{5EC74E89-855D-4AD3-A4B7-DB708AB8706B}"/>
    </a:ext>
  </a:extLst>
</a:theme>
</file>

<file path=ppt/theme/theme4.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connect-2017-110617-new.potx" id="{0EF5DE83-587E-4BF7-A112-F56102F7D283}" vid="{78BD83BD-9D07-4F98-9099-E01EEE17F348}"/>
    </a:ext>
  </a:extLst>
</a:theme>
</file>

<file path=ppt/theme/theme5.xml><?xml version="1.0" encoding="utf-8"?>
<a:theme xmlns:a="http://schemas.openxmlformats.org/drawingml/2006/main" name="2_VLAB Template">
  <a:themeElements>
    <a:clrScheme name="Volume Licensing Customer Advisory Board">
      <a:dk1>
        <a:srgbClr val="2F2F2F"/>
      </a:dk1>
      <a:lt1>
        <a:srgbClr val="FFFFFF"/>
      </a:lt1>
      <a:dk2>
        <a:srgbClr val="2F2F2F"/>
      </a:dk2>
      <a:lt2>
        <a:srgbClr val="FFFFFF"/>
      </a:lt2>
      <a:accent1>
        <a:srgbClr val="0078D7"/>
      </a:accent1>
      <a:accent2>
        <a:srgbClr val="00BCF2"/>
      </a:accent2>
      <a:accent3>
        <a:srgbClr val="002050"/>
      </a:accent3>
      <a:accent4>
        <a:srgbClr val="008272"/>
      </a:accent4>
      <a:accent5>
        <a:srgbClr val="00B294"/>
      </a:accent5>
      <a:accent6>
        <a:srgbClr val="5C2D91"/>
      </a:accent6>
      <a:hlink>
        <a:srgbClr val="0078D7"/>
      </a:hlink>
      <a:folHlink>
        <a:srgbClr val="0078D7"/>
      </a:folHlink>
    </a:clrScheme>
    <a:fontScheme name="Sego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6.xml><?xml version="1.0" encoding="utf-8"?>
<a:theme xmlns:a="http://schemas.openxmlformats.org/drawingml/2006/main" name="1_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2017_Final_101117.potx" id="{23E4E62B-6B78-4EA4-A9A8-DFDAC476AD16}" vid="{1A7D0CCB-F126-4FFD-A125-29ED67511E4F}"/>
    </a:ext>
  </a:extLst>
</a:theme>
</file>

<file path=ppt/theme/theme7.xml><?xml version="1.0" encoding="utf-8"?>
<a:theme xmlns:a="http://schemas.openxmlformats.org/drawingml/2006/main" name="3_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connect-2017-110617-new.potx" id="{0EF5DE83-587E-4BF7-A112-F56102F7D283}" vid="{58E5E6FF-14DD-495A-B9CC-3E08C80D2198}"/>
    </a:ext>
  </a:extLst>
</a:theme>
</file>

<file path=ppt/theme/theme8.xml><?xml version="1.0" encoding="utf-8"?>
<a:theme xmlns:a="http://schemas.openxmlformats.org/drawingml/2006/main" name="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connect-2017-110617-new.potx" id="{0EF5DE83-587E-4BF7-A112-F56102F7D283}" vid="{58E5E6FF-14DD-495A-B9CC-3E08C80D2198}"/>
    </a:ext>
  </a:extLst>
</a:theme>
</file>

<file path=ppt/theme/theme9.xml><?xml version="1.0" encoding="utf-8"?>
<a:theme xmlns:a="http://schemas.openxmlformats.org/drawingml/2006/main" name="2_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tx1"/>
          </a:solidFill>
          <a:headEnd type="triangl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connect-2017-110617-new.potx" id="{0EF5DE83-587E-4BF7-A112-F56102F7D283}" vid="{58E5E6FF-14DD-495A-B9CC-3E08C80D2198}"/>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516E657B6488145886F1CBB39B1068E" ma:contentTypeVersion="2" ma:contentTypeDescription="Create a new document." ma:contentTypeScope="" ma:versionID="192c2a488c2420c45bd724bd3cf0cb01">
  <xsd:schema xmlns:xsd="http://www.w3.org/2001/XMLSchema" xmlns:xs="http://www.w3.org/2001/XMLSchema" xmlns:p="http://schemas.microsoft.com/office/2006/metadata/properties" xmlns:ns2="194ce0bd-3a45-48ff-8c2f-123aa841f194" targetNamespace="http://schemas.microsoft.com/office/2006/metadata/properties" ma:root="true" ma:fieldsID="ca4ad714e7016cd138c7a980829d615b" ns2:_="">
    <xsd:import namespace="194ce0bd-3a45-48ff-8c2f-123aa841f19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4ce0bd-3a45-48ff-8c2f-123aa841f1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AC28DBF-102D-4F1A-9C10-7E3F8A98DCF2}">
  <ds:schemaRefs>
    <ds:schemaRef ds:uri="http://schemas.microsoft.com/office/infopath/2007/PartnerControls"/>
    <ds:schemaRef ds:uri="http://purl.org/dc/elements/1.1/"/>
    <ds:schemaRef ds:uri="http://schemas.microsoft.com/office/2006/documentManagement/types"/>
    <ds:schemaRef ds:uri="194ce0bd-3a45-48ff-8c2f-123aa841f194"/>
    <ds:schemaRef ds:uri="http://purl.org/dc/terms/"/>
    <ds:schemaRef ds:uri="http://schemas.openxmlformats.org/package/2006/metadata/core-properties"/>
    <ds:schemaRef ds:uri="http://purl.org/dc/dcmityp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31B2516-C61F-4913-8CB4-290BA0C065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4ce0bd-3a45-48ff-8c2f-123aa841f1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96785BC-8023-46CE-B754-EF5CA04E9E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87</TotalTime>
  <Words>2239</Words>
  <Application>Microsoft Office PowerPoint</Application>
  <PresentationFormat>Widescreen</PresentationFormat>
  <Paragraphs>387</Paragraphs>
  <Slides>32</Slides>
  <Notes>28</Notes>
  <HiddenSlides>1</HiddenSlides>
  <MMClips>0</MMClips>
  <ScaleCrop>false</ScaleCrop>
  <HeadingPairs>
    <vt:vector size="8" baseType="variant">
      <vt:variant>
        <vt:lpstr>Fonts Used</vt:lpstr>
      </vt:variant>
      <vt:variant>
        <vt:i4>13</vt:i4>
      </vt:variant>
      <vt:variant>
        <vt:lpstr>Theme</vt:lpstr>
      </vt:variant>
      <vt:variant>
        <vt:i4>11</vt:i4>
      </vt:variant>
      <vt:variant>
        <vt:lpstr>Embedded OLE Servers</vt:lpstr>
      </vt:variant>
      <vt:variant>
        <vt:i4>1</vt:i4>
      </vt:variant>
      <vt:variant>
        <vt:lpstr>Slide Titles</vt:lpstr>
      </vt:variant>
      <vt:variant>
        <vt:i4>32</vt:i4>
      </vt:variant>
    </vt:vector>
  </HeadingPairs>
  <TitlesOfParts>
    <vt:vector size="57" baseType="lpstr">
      <vt:lpstr>Arial</vt:lpstr>
      <vt:lpstr>Calibri</vt:lpstr>
      <vt:lpstr>Calibri Light</vt:lpstr>
      <vt:lpstr>Consolas</vt:lpstr>
      <vt:lpstr>Corbel</vt:lpstr>
      <vt:lpstr>Segoe Pro</vt:lpstr>
      <vt:lpstr>Segoe Semibold</vt:lpstr>
      <vt:lpstr>Segoe UI</vt:lpstr>
      <vt:lpstr>Segoe UI Light</vt:lpstr>
      <vt:lpstr>Segoe UI Semibold</vt:lpstr>
      <vt:lpstr>Segoe UI Semilight</vt:lpstr>
      <vt:lpstr>Showcard Gothic</vt:lpstr>
      <vt:lpstr>Wingdings</vt:lpstr>
      <vt:lpstr>1_3CMG_MarketResearch_template_White_16-9_internalUse</vt:lpstr>
      <vt:lpstr>Azure TechCon_LIGHT GRAY TEMPLATE</vt:lpstr>
      <vt:lpstr>5-50201_Microsoft_Ready_Template</vt:lpstr>
      <vt:lpstr>5-50111_Build 2017_LIGHT GRAY TEMPLATE</vt:lpstr>
      <vt:lpstr>2_VLAB Template</vt:lpstr>
      <vt:lpstr>1_Microsoft_Light_Template</vt:lpstr>
      <vt:lpstr>3_Microsoft_Light_Template</vt:lpstr>
      <vt:lpstr>Microsoft_Light_Template</vt:lpstr>
      <vt:lpstr>2_Microsoft_Light_Template</vt:lpstr>
      <vt:lpstr>Office Theme</vt:lpstr>
      <vt:lpstr>Server and Cloud 2013</vt:lpstr>
      <vt:lpstr>think-cell Slide</vt:lpstr>
      <vt:lpstr>PowerPoint Presentation</vt:lpstr>
      <vt:lpstr>Session objectives and takeaways</vt:lpstr>
      <vt:lpstr>What are microservices?</vt:lpstr>
      <vt:lpstr>What are micro services?</vt:lpstr>
      <vt:lpstr>Micro service architecture</vt:lpstr>
      <vt:lpstr>Microservices != SOA</vt:lpstr>
      <vt:lpstr>Microservices != Containers</vt:lpstr>
      <vt:lpstr>Microservices architecture—detail view</vt:lpstr>
      <vt:lpstr>eShop on Containers Example</vt:lpstr>
      <vt:lpstr>Microservices: Benefits</vt:lpstr>
      <vt:lpstr>Microservices: Challenges</vt:lpstr>
      <vt:lpstr>Microservice candidates</vt:lpstr>
      <vt:lpstr>Containers</vt:lpstr>
      <vt:lpstr>PowerPoint Presentation</vt:lpstr>
      <vt:lpstr>The container advantage</vt:lpstr>
      <vt:lpstr>Containers are gaining momentum</vt:lpstr>
      <vt:lpstr>PowerPoint Presentation</vt:lpstr>
      <vt:lpstr>PowerPoint Presentation</vt:lpstr>
      <vt:lpstr>PowerPoint Presentation</vt:lpstr>
      <vt:lpstr>Azure Container Instances (AC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raj Mohammad</dc:creator>
  <cp:lastModifiedBy>Hugo Melendez</cp:lastModifiedBy>
  <cp:revision>2</cp:revision>
  <dcterms:modified xsi:type="dcterms:W3CDTF">2019-01-24T20:3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irajm@microsoft.com</vt:lpwstr>
  </property>
  <property fmtid="{D5CDD505-2E9C-101B-9397-08002B2CF9AE}" pid="5" name="MSIP_Label_f42aa342-8706-4288-bd11-ebb85995028c_SetDate">
    <vt:lpwstr>2018-01-17T18:55:26.433141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516E657B6488145886F1CBB39B1068E</vt:lpwstr>
  </property>
</Properties>
</file>